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0.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1.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4.xml" ContentType="application/vnd.openxmlformats-officedocument.theme+xml"/>
  <Override PartName="/ppt/tags/tag6.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5.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6.xml" ContentType="application/vnd.openxmlformats-officedocument.theme+xml"/>
  <Override PartName="/ppt/tags/tag7.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7.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8.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9.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20.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21.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0199" r:id="rId5"/>
    <p:sldMasterId id="2147490205" r:id="rId6"/>
    <p:sldMasterId id="2147490335" r:id="rId7"/>
    <p:sldMasterId id="2147490341" r:id="rId8"/>
    <p:sldMasterId id="2147490413" r:id="rId9"/>
    <p:sldMasterId id="2147490428" r:id="rId10"/>
    <p:sldMasterId id="2147490465" r:id="rId11"/>
    <p:sldMasterId id="2147490480" r:id="rId12"/>
    <p:sldMasterId id="2147490494" r:id="rId13"/>
    <p:sldMasterId id="2147490529" r:id="rId14"/>
    <p:sldMasterId id="2147490542" r:id="rId15"/>
    <p:sldMasterId id="2147490551" r:id="rId16"/>
    <p:sldMasterId id="2147490597" r:id="rId17"/>
    <p:sldMasterId id="2147490614" r:id="rId18"/>
    <p:sldMasterId id="2147490626" r:id="rId19"/>
    <p:sldMasterId id="2147490642" r:id="rId20"/>
    <p:sldMasterId id="2147490654" r:id="rId21"/>
    <p:sldMasterId id="2147490668" r:id="rId22"/>
    <p:sldMasterId id="2147490682" r:id="rId23"/>
    <p:sldMasterId id="2147490692" r:id="rId24"/>
    <p:sldMasterId id="2147490705" r:id="rId25"/>
    <p:sldMasterId id="2147490744" r:id="rId26"/>
  </p:sldMasterIdLst>
  <p:notesMasterIdLst>
    <p:notesMasterId r:id="rId55"/>
  </p:notesMasterIdLst>
  <p:handoutMasterIdLst>
    <p:handoutMasterId r:id="rId56"/>
  </p:handoutMasterIdLst>
  <p:sldIdLst>
    <p:sldId id="1184" r:id="rId27"/>
    <p:sldId id="430" r:id="rId28"/>
    <p:sldId id="1195" r:id="rId29"/>
    <p:sldId id="1305" r:id="rId30"/>
    <p:sldId id="1292" r:id="rId31"/>
    <p:sldId id="1309" r:id="rId32"/>
    <p:sldId id="1294" r:id="rId33"/>
    <p:sldId id="1300" r:id="rId34"/>
    <p:sldId id="1313" r:id="rId35"/>
    <p:sldId id="1312" r:id="rId36"/>
    <p:sldId id="1301" r:id="rId37"/>
    <p:sldId id="1302" r:id="rId38"/>
    <p:sldId id="1303" r:id="rId39"/>
    <p:sldId id="1304" r:id="rId40"/>
    <p:sldId id="1280" r:id="rId41"/>
    <p:sldId id="1297" r:id="rId42"/>
    <p:sldId id="1299" r:id="rId43"/>
    <p:sldId id="1311" r:id="rId44"/>
    <p:sldId id="1029" r:id="rId45"/>
    <p:sldId id="1310" r:id="rId46"/>
    <p:sldId id="1295" r:id="rId47"/>
    <p:sldId id="1262" r:id="rId48"/>
    <p:sldId id="1265" r:id="rId49"/>
    <p:sldId id="1189" r:id="rId50"/>
    <p:sldId id="1306" r:id="rId51"/>
    <p:sldId id="1284" r:id="rId52"/>
    <p:sldId id="1314" r:id="rId53"/>
    <p:sldId id="1308" r:id="rId54"/>
  </p:sldIdLst>
  <p:sldSz cx="9144000" cy="6858000" type="screen4x3"/>
  <p:notesSz cx="6797675" cy="9926638"/>
  <p:defaultTextStyle>
    <a:defPPr>
      <a:defRPr lang="en-US"/>
    </a:defPPr>
    <a:lvl1pPr algn="l" rtl="0" fontAlgn="base">
      <a:spcBef>
        <a:spcPct val="0"/>
      </a:spcBef>
      <a:spcAft>
        <a:spcPct val="0"/>
      </a:spcAft>
      <a:defRPr sz="2400" b="1" kern="1200">
        <a:solidFill>
          <a:schemeClr val="tx1"/>
        </a:solidFill>
        <a:latin typeface="Arial" charset="0"/>
        <a:ea typeface="MS PGothic" pitchFamily="34" charset="-128"/>
        <a:cs typeface="Arial" charset="0"/>
      </a:defRPr>
    </a:lvl1pPr>
    <a:lvl2pPr marL="457200" algn="l" rtl="0" fontAlgn="base">
      <a:spcBef>
        <a:spcPct val="0"/>
      </a:spcBef>
      <a:spcAft>
        <a:spcPct val="0"/>
      </a:spcAft>
      <a:defRPr sz="2400" b="1" kern="1200">
        <a:solidFill>
          <a:schemeClr val="tx1"/>
        </a:solidFill>
        <a:latin typeface="Arial" charset="0"/>
        <a:ea typeface="MS PGothic" pitchFamily="34" charset="-128"/>
        <a:cs typeface="Arial" charset="0"/>
      </a:defRPr>
    </a:lvl2pPr>
    <a:lvl3pPr marL="914400" algn="l" rtl="0" fontAlgn="base">
      <a:spcBef>
        <a:spcPct val="0"/>
      </a:spcBef>
      <a:spcAft>
        <a:spcPct val="0"/>
      </a:spcAft>
      <a:defRPr sz="2400" b="1" kern="1200">
        <a:solidFill>
          <a:schemeClr val="tx1"/>
        </a:solidFill>
        <a:latin typeface="Arial" charset="0"/>
        <a:ea typeface="MS PGothic" pitchFamily="34" charset="-128"/>
        <a:cs typeface="Arial" charset="0"/>
      </a:defRPr>
    </a:lvl3pPr>
    <a:lvl4pPr marL="1371600" algn="l" rtl="0" fontAlgn="base">
      <a:spcBef>
        <a:spcPct val="0"/>
      </a:spcBef>
      <a:spcAft>
        <a:spcPct val="0"/>
      </a:spcAft>
      <a:defRPr sz="2400" b="1" kern="1200">
        <a:solidFill>
          <a:schemeClr val="tx1"/>
        </a:solidFill>
        <a:latin typeface="Arial" charset="0"/>
        <a:ea typeface="MS PGothic" pitchFamily="34" charset="-128"/>
        <a:cs typeface="Arial" charset="0"/>
      </a:defRPr>
    </a:lvl4pPr>
    <a:lvl5pPr marL="1828800" algn="l" rtl="0" fontAlgn="base">
      <a:spcBef>
        <a:spcPct val="0"/>
      </a:spcBef>
      <a:spcAft>
        <a:spcPct val="0"/>
      </a:spcAft>
      <a:defRPr sz="2400" b="1" kern="1200">
        <a:solidFill>
          <a:schemeClr val="tx1"/>
        </a:solidFill>
        <a:latin typeface="Arial" charset="0"/>
        <a:ea typeface="MS PGothic" pitchFamily="34" charset="-128"/>
        <a:cs typeface="Arial" charset="0"/>
      </a:defRPr>
    </a:lvl5pPr>
    <a:lvl6pPr marL="2286000" algn="l" defTabSz="914400" rtl="0" eaLnBrk="1" latinLnBrk="0" hangingPunct="1">
      <a:defRPr sz="2400" b="1" kern="1200">
        <a:solidFill>
          <a:schemeClr val="tx1"/>
        </a:solidFill>
        <a:latin typeface="Arial" charset="0"/>
        <a:ea typeface="MS PGothic" pitchFamily="34" charset="-128"/>
        <a:cs typeface="Arial" charset="0"/>
      </a:defRPr>
    </a:lvl6pPr>
    <a:lvl7pPr marL="2743200" algn="l" defTabSz="914400" rtl="0" eaLnBrk="1" latinLnBrk="0" hangingPunct="1">
      <a:defRPr sz="2400" b="1" kern="1200">
        <a:solidFill>
          <a:schemeClr val="tx1"/>
        </a:solidFill>
        <a:latin typeface="Arial" charset="0"/>
        <a:ea typeface="MS PGothic" pitchFamily="34" charset="-128"/>
        <a:cs typeface="Arial" charset="0"/>
      </a:defRPr>
    </a:lvl7pPr>
    <a:lvl8pPr marL="3200400" algn="l" defTabSz="914400" rtl="0" eaLnBrk="1" latinLnBrk="0" hangingPunct="1">
      <a:defRPr sz="2400" b="1" kern="1200">
        <a:solidFill>
          <a:schemeClr val="tx1"/>
        </a:solidFill>
        <a:latin typeface="Arial" charset="0"/>
        <a:ea typeface="MS PGothic" pitchFamily="34" charset="-128"/>
        <a:cs typeface="Arial" charset="0"/>
      </a:defRPr>
    </a:lvl8pPr>
    <a:lvl9pPr marL="3657600" algn="l" defTabSz="914400" rtl="0" eaLnBrk="1" latinLnBrk="0" hangingPunct="1">
      <a:defRPr sz="2400" b="1" kern="1200">
        <a:solidFill>
          <a:schemeClr val="tx1"/>
        </a:solidFill>
        <a:latin typeface="Arial" charset="0"/>
        <a:ea typeface="MS PGothic" pitchFamily="34" charset="-128"/>
        <a:cs typeface="Arial" charset="0"/>
      </a:defRPr>
    </a:lvl9pPr>
  </p:defaultTextStyle>
  <p:extLst>
    <p:ext uri="{EFAFB233-063F-42B5-8137-9DF3F51BA10A}">
      <p15:sldGuideLst xmlns:p15="http://schemas.microsoft.com/office/powerpoint/2012/main">
        <p15:guide id="1" orient="horz" pos="4179">
          <p15:clr>
            <a:srgbClr val="A4A3A4"/>
          </p15:clr>
        </p15:guide>
        <p15:guide id="2" orient="horz" pos="4287">
          <p15:clr>
            <a:srgbClr val="A4A3A4"/>
          </p15:clr>
        </p15:guide>
        <p15:guide id="3" orient="horz" pos="349">
          <p15:clr>
            <a:srgbClr val="A4A3A4"/>
          </p15:clr>
        </p15:guide>
        <p15:guide id="4" orient="horz" pos="3391">
          <p15:clr>
            <a:srgbClr val="A4A3A4"/>
          </p15:clr>
        </p15:guide>
        <p15:guide id="5" orient="horz" pos="3824">
          <p15:clr>
            <a:srgbClr val="A4A3A4"/>
          </p15:clr>
        </p15:guide>
        <p15:guide id="6" orient="horz" pos="3074">
          <p15:clr>
            <a:srgbClr val="A4A3A4"/>
          </p15:clr>
        </p15:guide>
        <p15:guide id="7" orient="horz" pos="1108">
          <p15:clr>
            <a:srgbClr val="A4A3A4"/>
          </p15:clr>
        </p15:guide>
        <p15:guide id="8" orient="horz" pos="700">
          <p15:clr>
            <a:srgbClr val="A4A3A4"/>
          </p15:clr>
        </p15:guide>
        <p15:guide id="9" pos="1707">
          <p15:clr>
            <a:srgbClr val="A4A3A4"/>
          </p15:clr>
        </p15:guide>
        <p15:guide id="10" pos="215">
          <p15:clr>
            <a:srgbClr val="A4A3A4"/>
          </p15:clr>
        </p15:guide>
        <p15:guide id="11" pos="5624">
          <p15:clr>
            <a:srgbClr val="A4A3A4"/>
          </p15:clr>
        </p15:guide>
        <p15:guide id="12" pos="3567">
          <p15:clr>
            <a:srgbClr val="A4A3A4"/>
          </p15:clr>
        </p15:guide>
        <p15:guide id="13" pos="897">
          <p15:clr>
            <a:srgbClr val="A4A3A4"/>
          </p15:clr>
        </p15:guide>
        <p15:guide id="14" pos="2795">
          <p15:clr>
            <a:srgbClr val="A4A3A4"/>
          </p15:clr>
        </p15:guide>
        <p15:guide id="15" pos="500">
          <p15:clr>
            <a:srgbClr val="A4A3A4"/>
          </p15:clr>
        </p15:guide>
        <p15:guide id="16" pos="4658">
          <p15:clr>
            <a:srgbClr val="A4A3A4"/>
          </p15:clr>
        </p15:guide>
        <p15:guide id="17" pos="4097">
          <p15:clr>
            <a:srgbClr val="A4A3A4"/>
          </p15:clr>
        </p15:guide>
        <p15:guide id="18" pos="3302">
          <p15:clr>
            <a:srgbClr val="A4A3A4"/>
          </p15:clr>
        </p15:guide>
        <p15:guide id="19" pos="2507">
          <p15:clr>
            <a:srgbClr val="A4A3A4"/>
          </p15:clr>
        </p15:guide>
        <p15:guide id="20" pos="4846">
          <p15:clr>
            <a:srgbClr val="A4A3A4"/>
          </p15:clr>
        </p15:guide>
        <p15:guide id="21" orient="horz" pos="3075">
          <p15:clr>
            <a:srgbClr val="A4A3A4"/>
          </p15:clr>
        </p15:guide>
      </p15:sldGuideLst>
    </p:ext>
    <p:ext uri="{2D200454-40CA-4A62-9FC3-DE9A4176ACB9}">
      <p15:notesGuideLst xmlns:p15="http://schemas.microsoft.com/office/powerpoint/2012/main">
        <p15:guide id="1" orient="horz" pos="3109" userDrawn="1">
          <p15:clr>
            <a:srgbClr val="A4A3A4"/>
          </p15:clr>
        </p15:guide>
        <p15:guide id="2" pos="4104" userDrawn="1">
          <p15:clr>
            <a:srgbClr val="A4A3A4"/>
          </p15:clr>
        </p15:guide>
        <p15:guide id="3" orient="horz" pos="3127" userDrawn="1">
          <p15:clr>
            <a:srgbClr val="A4A3A4"/>
          </p15:clr>
        </p15:guide>
        <p15:guide id="4" pos="41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ucy Whitehouse" initials="LW" lastIdx="185" clrIdx="0"/>
  <p:cmAuthor id="1" name="Shona Cowper" initials="SC" lastIdx="224" clrIdx="1"/>
  <p:cmAuthor id="2" name="Liz Beatty" initials="LBt" lastIdx="41" clrIdx="2"/>
  <p:cmAuthor id="3" name="ksnv773" initials="k" lastIdx="53" clrIdx="3"/>
  <p:cmAuthor id="4" name="Paul Williams" initials="PW" lastIdx="1" clrIdx="4"/>
  <p:cmAuthor id="5" name="Han Solo" initials="" lastIdx="1" clrIdx="5"/>
  <p:cmAuthor id="6" name="Tom Gallagher" initials="TG" lastIdx="61" clrIdx="6"/>
  <p:cmAuthor id="7" name="Casey Lloyd" initials="CL" lastIdx="59" clrIdx="7"/>
  <p:cmAuthor id="8" name="Kate Wright" initials="KW" lastIdx="9" clrIdx="8"/>
  <p:cmAuthor id="9" name="Garry Knowles" initials="" lastIdx="0" clrIdx="9"/>
  <p:cmAuthor id="10" name="Hosford, Mandy E" initials="HME" lastIdx="3" clrIdx="10">
    <p:extLst/>
  </p:cmAuthor>
  <p:cmAuthor id="11" name="Neal Innocent" initials="" lastIdx="17" clrIdx="11"/>
  <p:cmAuthor id="12" name="Bogaerds, Tanja" initials="BT" lastIdx="23" clrIdx="12">
    <p:extLst/>
  </p:cmAuthor>
  <p:cmAuthor id="13" name="Ludmila Crowther" initials="LC" lastIdx="6" clrIdx="13"/>
  <p:cmAuthor id="14" name="hl0022" initials="h" lastIdx="0" clrIdx="14"/>
  <p:cmAuthor id="15" name="Hannah Simpson" initials="HS" lastIdx="8" clrIdx="15"/>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58"/>
    <a:srgbClr val="003865"/>
    <a:srgbClr val="FFFFFF"/>
    <a:srgbClr val="BCCEDA"/>
    <a:srgbClr val="E3BFD5"/>
    <a:srgbClr val="830051"/>
    <a:srgbClr val="7A3883"/>
    <a:srgbClr val="FF9933"/>
    <a:srgbClr val="F0AB00"/>
    <a:srgbClr val="9D14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90" autoAdjust="0"/>
    <p:restoredTop sz="86121" autoAdjust="0"/>
  </p:normalViewPr>
  <p:slideViewPr>
    <p:cSldViewPr snapToGrid="0" showGuides="1">
      <p:cViewPr varScale="1">
        <p:scale>
          <a:sx n="68" d="100"/>
          <a:sy n="68" d="100"/>
        </p:scale>
        <p:origin x="600" y="67"/>
      </p:cViewPr>
      <p:guideLst>
        <p:guide orient="horz" pos="4179"/>
        <p:guide orient="horz" pos="4287"/>
        <p:guide orient="horz" pos="349"/>
        <p:guide orient="horz" pos="3391"/>
        <p:guide orient="horz" pos="3824"/>
        <p:guide orient="horz" pos="3074"/>
        <p:guide orient="horz" pos="1108"/>
        <p:guide orient="horz" pos="700"/>
        <p:guide pos="1707"/>
        <p:guide pos="215"/>
        <p:guide pos="5624"/>
        <p:guide pos="3567"/>
        <p:guide pos="897"/>
        <p:guide pos="2795"/>
        <p:guide pos="500"/>
        <p:guide pos="4658"/>
        <p:guide pos="4097"/>
        <p:guide pos="3302"/>
        <p:guide pos="2507"/>
        <p:guide pos="4846"/>
        <p:guide orient="horz" pos="3075"/>
      </p:guideLst>
    </p:cSldViewPr>
  </p:slideViewPr>
  <p:outlineViewPr>
    <p:cViewPr>
      <p:scale>
        <a:sx n="33" d="100"/>
        <a:sy n="33" d="100"/>
      </p:scale>
      <p:origin x="0" y="110742"/>
    </p:cViewPr>
  </p:outlineViewPr>
  <p:notesTextViewPr>
    <p:cViewPr>
      <p:scale>
        <a:sx n="100" d="100"/>
        <a:sy n="100" d="100"/>
      </p:scale>
      <p:origin x="0" y="0"/>
    </p:cViewPr>
  </p:notesTextViewPr>
  <p:sorterViewPr>
    <p:cViewPr varScale="1">
      <p:scale>
        <a:sx n="1" d="1"/>
        <a:sy n="1" d="1"/>
      </p:scale>
      <p:origin x="0" y="-1920"/>
    </p:cViewPr>
  </p:sorterViewPr>
  <p:notesViewPr>
    <p:cSldViewPr snapToGrid="0" showGuides="1">
      <p:cViewPr>
        <p:scale>
          <a:sx n="120" d="100"/>
          <a:sy n="120" d="100"/>
        </p:scale>
        <p:origin x="-1470" y="3474"/>
      </p:cViewPr>
      <p:guideLst>
        <p:guide orient="horz" pos="3109"/>
        <p:guide pos="4104"/>
        <p:guide orient="horz" pos="3127"/>
        <p:guide pos="41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Master" Target="slideMasters/slideMaster22.xml"/><Relationship Id="rId39" Type="http://schemas.openxmlformats.org/officeDocument/2006/relationships/slide" Target="slides/slide13.xml"/><Relationship Id="rId21" Type="http://schemas.openxmlformats.org/officeDocument/2006/relationships/slideMaster" Target="slideMasters/slideMaster17.xml"/><Relationship Id="rId34" Type="http://schemas.openxmlformats.org/officeDocument/2006/relationships/slide" Target="slides/slide8.xml"/><Relationship Id="rId42" Type="http://schemas.openxmlformats.org/officeDocument/2006/relationships/slide" Target="slides/slide16.xml"/><Relationship Id="rId47" Type="http://schemas.openxmlformats.org/officeDocument/2006/relationships/slide" Target="slides/slide21.xml"/><Relationship Id="rId50" Type="http://schemas.openxmlformats.org/officeDocument/2006/relationships/slide" Target="slides/slide24.xml"/><Relationship Id="rId55" Type="http://schemas.openxmlformats.org/officeDocument/2006/relationships/notesMaster" Target="notesMasters/notesMaster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Master" Target="slideMasters/slideMaster16.xml"/><Relationship Id="rId29" Type="http://schemas.openxmlformats.org/officeDocument/2006/relationships/slide" Target="slides/slide3.xml"/><Relationship Id="rId41" Type="http://schemas.openxmlformats.org/officeDocument/2006/relationships/slide" Target="slides/slide15.xml"/><Relationship Id="rId54" Type="http://schemas.openxmlformats.org/officeDocument/2006/relationships/slide" Target="slides/slide28.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slide" Target="slides/slide27.xml"/><Relationship Id="rId58"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handoutMaster" Target="handoutMasters/handoutMaster1.xml"/><Relationship Id="rId8" Type="http://schemas.openxmlformats.org/officeDocument/2006/relationships/slideMaster" Target="slideMasters/slideMaster4.xml"/><Relationship Id="rId51"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C$1</c:f>
              <c:strCache>
                <c:ptCount val="1"/>
                <c:pt idx="0">
                  <c:v>Y-Values</c:v>
                </c:pt>
              </c:strCache>
            </c:strRef>
          </c:tx>
          <c:spPr>
            <a:ln w="19050" cap="rnd">
              <a:noFill/>
              <a:round/>
            </a:ln>
            <a:effectLst/>
          </c:spPr>
          <c:marker>
            <c:symbol val="square"/>
            <c:size val="10"/>
            <c:spPr>
              <a:solidFill>
                <a:schemeClr val="accent1"/>
              </a:solidFill>
              <a:ln w="9525">
                <a:noFill/>
              </a:ln>
              <a:effectLst/>
            </c:spPr>
          </c:marker>
          <c:errBars>
            <c:errDir val="x"/>
            <c:errBarType val="both"/>
            <c:errValType val="cust"/>
            <c:noEndCap val="1"/>
            <c:plus>
              <c:numRef>
                <c:f>Sheet1!$G$2:$G$10</c:f>
                <c:numCache>
                  <c:formatCode>General</c:formatCode>
                  <c:ptCount val="9"/>
                  <c:pt idx="0">
                    <c:v>0.12</c:v>
                  </c:pt>
                  <c:pt idx="1">
                    <c:v>0.17</c:v>
                  </c:pt>
                  <c:pt idx="2">
                    <c:v>0.14000000000000001</c:v>
                  </c:pt>
                  <c:pt idx="3">
                    <c:v>0.3</c:v>
                  </c:pt>
                  <c:pt idx="4">
                    <c:v>0.15</c:v>
                  </c:pt>
                  <c:pt idx="5">
                    <c:v>0.13</c:v>
                  </c:pt>
                </c:numCache>
              </c:numRef>
            </c:plus>
            <c:minus>
              <c:numRef>
                <c:f>Sheet1!$F$2:$F$10</c:f>
                <c:numCache>
                  <c:formatCode>General</c:formatCode>
                  <c:ptCount val="9"/>
                  <c:pt idx="0">
                    <c:v>0.1</c:v>
                  </c:pt>
                  <c:pt idx="1">
                    <c:v>0.14000000000000001</c:v>
                  </c:pt>
                  <c:pt idx="2">
                    <c:v>0.12</c:v>
                  </c:pt>
                  <c:pt idx="3">
                    <c:v>0.22</c:v>
                  </c:pt>
                  <c:pt idx="4">
                    <c:v>0.13</c:v>
                  </c:pt>
                  <c:pt idx="5">
                    <c:v>0.12</c:v>
                  </c:pt>
                </c:numCache>
              </c:numRef>
            </c:minus>
            <c:spPr>
              <a:noFill/>
              <a:ln w="28575" cap="flat" cmpd="sng" algn="ctr">
                <a:solidFill>
                  <a:schemeClr val="accent1"/>
                </a:solidFill>
                <a:round/>
              </a:ln>
              <a:effectLst/>
            </c:spPr>
          </c:errBars>
          <c:xVal>
            <c:numRef>
              <c:f>Sheet1!$B$2:$B$7</c:f>
              <c:numCache>
                <c:formatCode>General</c:formatCode>
                <c:ptCount val="6"/>
                <c:pt idx="0">
                  <c:v>0.94</c:v>
                </c:pt>
                <c:pt idx="1">
                  <c:v>0.88</c:v>
                </c:pt>
                <c:pt idx="2">
                  <c:v>0.9</c:v>
                </c:pt>
                <c:pt idx="3">
                  <c:v>0.96</c:v>
                </c:pt>
                <c:pt idx="4">
                  <c:v>0.91</c:v>
                </c:pt>
                <c:pt idx="5">
                  <c:v>0.98</c:v>
                </c:pt>
              </c:numCache>
            </c:numRef>
          </c:xVal>
          <c:yVal>
            <c:numRef>
              <c:f>Sheet1!$C$2:$C$7</c:f>
              <c:numCache>
                <c:formatCode>General</c:formatCode>
                <c:ptCount val="6"/>
                <c:pt idx="0">
                  <c:v>4</c:v>
                </c:pt>
                <c:pt idx="1">
                  <c:v>2</c:v>
                </c:pt>
                <c:pt idx="2">
                  <c:v>3</c:v>
                </c:pt>
                <c:pt idx="3">
                  <c:v>5</c:v>
                </c:pt>
                <c:pt idx="4">
                  <c:v>1</c:v>
                </c:pt>
                <c:pt idx="5">
                  <c:v>6</c:v>
                </c:pt>
              </c:numCache>
            </c:numRef>
          </c:yVal>
          <c:smooth val="0"/>
          <c:extLst>
            <c:ext xmlns:c16="http://schemas.microsoft.com/office/drawing/2014/chart" uri="{C3380CC4-5D6E-409C-BE32-E72D297353CC}">
              <c16:uniqueId val="{00000000-48E7-4150-AE1F-5DFC15CD5F20}"/>
            </c:ext>
          </c:extLst>
        </c:ser>
        <c:dLbls>
          <c:showLegendKey val="0"/>
          <c:showVal val="0"/>
          <c:showCatName val="0"/>
          <c:showSerName val="0"/>
          <c:showPercent val="0"/>
          <c:showBubbleSize val="0"/>
        </c:dLbls>
        <c:axId val="121297536"/>
        <c:axId val="122122624"/>
        <c:extLst>
          <c:ext xmlns:c15="http://schemas.microsoft.com/office/drawing/2012/chart" uri="{02D57815-91ED-43cb-92C2-25804820EDAC}">
            <c15:filteredScatterSeries>
              <c15:ser>
                <c:idx val="1"/>
                <c:order val="1"/>
                <c:tx>
                  <c:strRef>
                    <c:extLst>
                      <c:ext uri="{02D57815-91ED-43cb-92C2-25804820EDAC}">
                        <c15:formulaRef>
                          <c15:sqref>Sheet1!$D$1</c15:sqref>
                        </c15:formulaRef>
                      </c:ext>
                    </c:extLst>
                    <c:strCache>
                      <c:ptCount val="1"/>
                      <c:pt idx="0">
                        <c:v>95% min</c:v>
                      </c:pt>
                    </c:strCache>
                  </c:strRef>
                </c:tx>
                <c:spPr>
                  <a:ln w="25400" cap="rnd">
                    <a:noFill/>
                    <a:round/>
                  </a:ln>
                  <a:effectLst/>
                </c:spPr>
                <c:marker>
                  <c:symbol val="circle"/>
                  <c:size val="5"/>
                  <c:spPr>
                    <a:solidFill>
                      <a:schemeClr val="accent2"/>
                    </a:solidFill>
                    <a:ln w="9525">
                      <a:solidFill>
                        <a:schemeClr val="accent2"/>
                      </a:solidFill>
                    </a:ln>
                    <a:effectLst/>
                  </c:spPr>
                </c:marker>
                <c:xVal>
                  <c:numRef>
                    <c:extLst>
                      <c:ext uri="{02D57815-91ED-43cb-92C2-25804820EDAC}">
                        <c15:formulaRef>
                          <c15:sqref>Sheet1!$B$2:$B$7</c15:sqref>
                        </c15:formulaRef>
                      </c:ext>
                    </c:extLst>
                    <c:numCache>
                      <c:formatCode>General</c:formatCode>
                      <c:ptCount val="6"/>
                      <c:pt idx="0">
                        <c:v>0.94</c:v>
                      </c:pt>
                      <c:pt idx="1">
                        <c:v>0.88</c:v>
                      </c:pt>
                      <c:pt idx="2">
                        <c:v>0.9</c:v>
                      </c:pt>
                      <c:pt idx="3">
                        <c:v>0.96</c:v>
                      </c:pt>
                      <c:pt idx="4">
                        <c:v>0.91</c:v>
                      </c:pt>
                      <c:pt idx="5">
                        <c:v>0.98</c:v>
                      </c:pt>
                    </c:numCache>
                  </c:numRef>
                </c:xVal>
                <c:yVal>
                  <c:numRef>
                    <c:extLst>
                      <c:ext uri="{02D57815-91ED-43cb-92C2-25804820EDAC}">
                        <c15:formulaRef>
                          <c15:sqref>Sheet1!$D$2:$D$7</c15:sqref>
                        </c15:formulaRef>
                      </c:ext>
                    </c:extLst>
                    <c:numCache>
                      <c:formatCode>General</c:formatCode>
                      <c:ptCount val="6"/>
                      <c:pt idx="0">
                        <c:v>0.84</c:v>
                      </c:pt>
                      <c:pt idx="1">
                        <c:v>0.74</c:v>
                      </c:pt>
                      <c:pt idx="2">
                        <c:v>0.78</c:v>
                      </c:pt>
                      <c:pt idx="3">
                        <c:v>0.74</c:v>
                      </c:pt>
                      <c:pt idx="4">
                        <c:v>0.78</c:v>
                      </c:pt>
                      <c:pt idx="5">
                        <c:v>0.86</c:v>
                      </c:pt>
                    </c:numCache>
                  </c:numRef>
                </c:yVal>
                <c:smooth val="0"/>
                <c:extLst>
                  <c:ext xmlns:c16="http://schemas.microsoft.com/office/drawing/2014/chart" uri="{C3380CC4-5D6E-409C-BE32-E72D297353CC}">
                    <c16:uniqueId val="{00000001-48E7-4150-AE1F-5DFC15CD5F20}"/>
                  </c:ext>
                </c:extLst>
              </c15:ser>
            </c15:filteredScatterSeries>
            <c15:filteredScatterSeries>
              <c15:ser>
                <c:idx val="2"/>
                <c:order val="2"/>
                <c:tx>
                  <c:strRef>
                    <c:extLst xmlns:c15="http://schemas.microsoft.com/office/drawing/2012/chart">
                      <c:ext xmlns:c15="http://schemas.microsoft.com/office/drawing/2012/chart" uri="{02D57815-91ED-43cb-92C2-25804820EDAC}">
                        <c15:formulaRef>
                          <c15:sqref>Sheet1!$E$1</c15:sqref>
                        </c15:formulaRef>
                      </c:ext>
                    </c:extLst>
                    <c:strCache>
                      <c:ptCount val="1"/>
                      <c:pt idx="0">
                        <c:v>95% max</c:v>
                      </c:pt>
                    </c:strCache>
                  </c:strRef>
                </c:tx>
                <c:spPr>
                  <a:ln w="25400" cap="rnd">
                    <a:noFill/>
                    <a:round/>
                  </a:ln>
                  <a:effectLst/>
                </c:spPr>
                <c:marker>
                  <c:symbol val="circle"/>
                  <c:size val="5"/>
                  <c:spPr>
                    <a:solidFill>
                      <a:schemeClr val="accent3"/>
                    </a:solidFill>
                    <a:ln w="9525">
                      <a:solidFill>
                        <a:schemeClr val="accent3"/>
                      </a:solidFill>
                    </a:ln>
                    <a:effectLst/>
                  </c:spPr>
                </c:marker>
                <c:xVal>
                  <c:numRef>
                    <c:extLst xmlns:c15="http://schemas.microsoft.com/office/drawing/2012/chart">
                      <c:ext xmlns:c15="http://schemas.microsoft.com/office/drawing/2012/chart" uri="{02D57815-91ED-43cb-92C2-25804820EDAC}">
                        <c15:formulaRef>
                          <c15:sqref>Sheet1!$B$2:$B$7</c15:sqref>
                        </c15:formulaRef>
                      </c:ext>
                    </c:extLst>
                    <c:numCache>
                      <c:formatCode>General</c:formatCode>
                      <c:ptCount val="6"/>
                      <c:pt idx="0">
                        <c:v>0.94</c:v>
                      </c:pt>
                      <c:pt idx="1">
                        <c:v>0.88</c:v>
                      </c:pt>
                      <c:pt idx="2">
                        <c:v>0.9</c:v>
                      </c:pt>
                      <c:pt idx="3">
                        <c:v>0.96</c:v>
                      </c:pt>
                      <c:pt idx="4">
                        <c:v>0.91</c:v>
                      </c:pt>
                      <c:pt idx="5">
                        <c:v>0.98</c:v>
                      </c:pt>
                    </c:numCache>
                  </c:numRef>
                </c:xVal>
                <c:yVal>
                  <c:numRef>
                    <c:extLst xmlns:c15="http://schemas.microsoft.com/office/drawing/2012/chart">
                      <c:ext xmlns:c15="http://schemas.microsoft.com/office/drawing/2012/chart" uri="{02D57815-91ED-43cb-92C2-25804820EDAC}">
                        <c15:formulaRef>
                          <c15:sqref>Sheet1!$E$2:$E$7</c15:sqref>
                        </c15:formulaRef>
                      </c:ext>
                    </c:extLst>
                    <c:numCache>
                      <c:formatCode>General</c:formatCode>
                      <c:ptCount val="6"/>
                      <c:pt idx="0">
                        <c:v>1.06</c:v>
                      </c:pt>
                      <c:pt idx="1">
                        <c:v>1.05</c:v>
                      </c:pt>
                      <c:pt idx="2">
                        <c:v>1.04</c:v>
                      </c:pt>
                      <c:pt idx="3">
                        <c:v>1.26</c:v>
                      </c:pt>
                      <c:pt idx="4">
                        <c:v>1.06</c:v>
                      </c:pt>
                      <c:pt idx="5">
                        <c:v>1.1100000000000001</c:v>
                      </c:pt>
                    </c:numCache>
                  </c:numRef>
                </c:yVal>
                <c:smooth val="0"/>
                <c:extLst xmlns:c15="http://schemas.microsoft.com/office/drawing/2012/chart">
                  <c:ext xmlns:c16="http://schemas.microsoft.com/office/drawing/2014/chart" uri="{C3380CC4-5D6E-409C-BE32-E72D297353CC}">
                    <c16:uniqueId val="{00000002-48E7-4150-AE1F-5DFC15CD5F20}"/>
                  </c:ext>
                </c:extLst>
              </c15:ser>
            </c15:filteredScatterSeries>
            <c15:filteredScatterSeries>
              <c15:ser>
                <c:idx val="3"/>
                <c:order val="3"/>
                <c:tx>
                  <c:strRef>
                    <c:extLst xmlns:c15="http://schemas.microsoft.com/office/drawing/2012/chart">
                      <c:ext xmlns:c15="http://schemas.microsoft.com/office/drawing/2012/chart" uri="{02D57815-91ED-43cb-92C2-25804820EDAC}">
                        <c15:formulaRef>
                          <c15:sqref>Sheet1!$F$1</c15:sqref>
                        </c15:formulaRef>
                      </c:ext>
                    </c:extLst>
                    <c:strCache>
                      <c:ptCount val="1"/>
                      <c:pt idx="0">
                        <c:v>95% min for graph</c:v>
                      </c:pt>
                    </c:strCache>
                  </c:strRef>
                </c:tx>
                <c:spPr>
                  <a:ln w="25400" cap="rnd">
                    <a:noFill/>
                    <a:round/>
                  </a:ln>
                  <a:effectLst/>
                </c:spPr>
                <c:marker>
                  <c:symbol val="circle"/>
                  <c:size val="5"/>
                  <c:spPr>
                    <a:solidFill>
                      <a:schemeClr val="accent4"/>
                    </a:solidFill>
                    <a:ln w="9525">
                      <a:solidFill>
                        <a:schemeClr val="accent4"/>
                      </a:solidFill>
                    </a:ln>
                    <a:effectLst/>
                  </c:spPr>
                </c:marker>
                <c:xVal>
                  <c:numRef>
                    <c:extLst xmlns:c15="http://schemas.microsoft.com/office/drawing/2012/chart">
                      <c:ext xmlns:c15="http://schemas.microsoft.com/office/drawing/2012/chart" uri="{02D57815-91ED-43cb-92C2-25804820EDAC}">
                        <c15:formulaRef>
                          <c15:sqref>Sheet1!$B$2:$B$7</c15:sqref>
                        </c15:formulaRef>
                      </c:ext>
                    </c:extLst>
                    <c:numCache>
                      <c:formatCode>General</c:formatCode>
                      <c:ptCount val="6"/>
                      <c:pt idx="0">
                        <c:v>0.94</c:v>
                      </c:pt>
                      <c:pt idx="1">
                        <c:v>0.88</c:v>
                      </c:pt>
                      <c:pt idx="2">
                        <c:v>0.9</c:v>
                      </c:pt>
                      <c:pt idx="3">
                        <c:v>0.96</c:v>
                      </c:pt>
                      <c:pt idx="4">
                        <c:v>0.91</c:v>
                      </c:pt>
                      <c:pt idx="5">
                        <c:v>0.98</c:v>
                      </c:pt>
                    </c:numCache>
                  </c:numRef>
                </c:xVal>
                <c:yVal>
                  <c:numRef>
                    <c:extLst xmlns:c15="http://schemas.microsoft.com/office/drawing/2012/chart">
                      <c:ext xmlns:c15="http://schemas.microsoft.com/office/drawing/2012/chart" uri="{02D57815-91ED-43cb-92C2-25804820EDAC}">
                        <c15:formulaRef>
                          <c15:sqref>Sheet1!$F$2:$F$7</c15:sqref>
                        </c15:formulaRef>
                      </c:ext>
                    </c:extLst>
                    <c:numCache>
                      <c:formatCode>General</c:formatCode>
                      <c:ptCount val="6"/>
                      <c:pt idx="0">
                        <c:v>0.1</c:v>
                      </c:pt>
                      <c:pt idx="1">
                        <c:v>0.14000000000000001</c:v>
                      </c:pt>
                      <c:pt idx="2">
                        <c:v>0.12</c:v>
                      </c:pt>
                      <c:pt idx="3">
                        <c:v>0.22</c:v>
                      </c:pt>
                      <c:pt idx="4">
                        <c:v>0.13</c:v>
                      </c:pt>
                      <c:pt idx="5">
                        <c:v>0.12</c:v>
                      </c:pt>
                    </c:numCache>
                  </c:numRef>
                </c:yVal>
                <c:smooth val="0"/>
                <c:extLst xmlns:c15="http://schemas.microsoft.com/office/drawing/2012/chart">
                  <c:ext xmlns:c16="http://schemas.microsoft.com/office/drawing/2014/chart" uri="{C3380CC4-5D6E-409C-BE32-E72D297353CC}">
                    <c16:uniqueId val="{00000003-48E7-4150-AE1F-5DFC15CD5F20}"/>
                  </c:ext>
                </c:extLst>
              </c15:ser>
            </c15:filteredScatterSeries>
            <c15:filteredScatterSeries>
              <c15:ser>
                <c:idx val="4"/>
                <c:order val="4"/>
                <c:tx>
                  <c:strRef>
                    <c:extLst xmlns:c15="http://schemas.microsoft.com/office/drawing/2012/chart">
                      <c:ext xmlns:c15="http://schemas.microsoft.com/office/drawing/2012/chart" uri="{02D57815-91ED-43cb-92C2-25804820EDAC}">
                        <c15:formulaRef>
                          <c15:sqref>Sheet1!$G$1</c15:sqref>
                        </c15:formulaRef>
                      </c:ext>
                    </c:extLst>
                    <c:strCache>
                      <c:ptCount val="1"/>
                      <c:pt idx="0">
                        <c:v>95% max for graph</c:v>
                      </c:pt>
                    </c:strCache>
                  </c:strRef>
                </c:tx>
                <c:spPr>
                  <a:ln w="25400" cap="rnd">
                    <a:noFill/>
                    <a:round/>
                  </a:ln>
                  <a:effectLst/>
                </c:spPr>
                <c:marker>
                  <c:symbol val="circle"/>
                  <c:size val="5"/>
                  <c:spPr>
                    <a:solidFill>
                      <a:schemeClr val="accent5"/>
                    </a:solidFill>
                    <a:ln w="9525">
                      <a:solidFill>
                        <a:schemeClr val="accent5"/>
                      </a:solidFill>
                    </a:ln>
                    <a:effectLst/>
                  </c:spPr>
                </c:marker>
                <c:xVal>
                  <c:numRef>
                    <c:extLst xmlns:c15="http://schemas.microsoft.com/office/drawing/2012/chart">
                      <c:ext xmlns:c15="http://schemas.microsoft.com/office/drawing/2012/chart" uri="{02D57815-91ED-43cb-92C2-25804820EDAC}">
                        <c15:formulaRef>
                          <c15:sqref>Sheet1!$B$2:$B$7</c15:sqref>
                        </c15:formulaRef>
                      </c:ext>
                    </c:extLst>
                    <c:numCache>
                      <c:formatCode>General</c:formatCode>
                      <c:ptCount val="6"/>
                      <c:pt idx="0">
                        <c:v>0.94</c:v>
                      </c:pt>
                      <c:pt idx="1">
                        <c:v>0.88</c:v>
                      </c:pt>
                      <c:pt idx="2">
                        <c:v>0.9</c:v>
                      </c:pt>
                      <c:pt idx="3">
                        <c:v>0.96</c:v>
                      </c:pt>
                      <c:pt idx="4">
                        <c:v>0.91</c:v>
                      </c:pt>
                      <c:pt idx="5">
                        <c:v>0.98</c:v>
                      </c:pt>
                    </c:numCache>
                  </c:numRef>
                </c:xVal>
                <c:yVal>
                  <c:numRef>
                    <c:extLst xmlns:c15="http://schemas.microsoft.com/office/drawing/2012/chart">
                      <c:ext xmlns:c15="http://schemas.microsoft.com/office/drawing/2012/chart" uri="{02D57815-91ED-43cb-92C2-25804820EDAC}">
                        <c15:formulaRef>
                          <c15:sqref>Sheet1!$G$2:$G$7</c15:sqref>
                        </c15:formulaRef>
                      </c:ext>
                    </c:extLst>
                    <c:numCache>
                      <c:formatCode>General</c:formatCode>
                      <c:ptCount val="6"/>
                      <c:pt idx="0">
                        <c:v>0.12</c:v>
                      </c:pt>
                      <c:pt idx="1">
                        <c:v>0.17</c:v>
                      </c:pt>
                      <c:pt idx="2">
                        <c:v>0.14000000000000001</c:v>
                      </c:pt>
                      <c:pt idx="3">
                        <c:v>0.3</c:v>
                      </c:pt>
                      <c:pt idx="4">
                        <c:v>0.15</c:v>
                      </c:pt>
                      <c:pt idx="5">
                        <c:v>0.13</c:v>
                      </c:pt>
                    </c:numCache>
                  </c:numRef>
                </c:yVal>
                <c:smooth val="0"/>
                <c:extLst xmlns:c15="http://schemas.microsoft.com/office/drawing/2012/chart">
                  <c:ext xmlns:c16="http://schemas.microsoft.com/office/drawing/2014/chart" uri="{C3380CC4-5D6E-409C-BE32-E72D297353CC}">
                    <c16:uniqueId val="{00000004-48E7-4150-AE1F-5DFC15CD5F20}"/>
                  </c:ext>
                </c:extLst>
              </c15:ser>
            </c15:filteredScatterSeries>
          </c:ext>
        </c:extLst>
      </c:scatterChart>
      <c:valAx>
        <c:axId val="121297536"/>
        <c:scaling>
          <c:orientation val="minMax"/>
          <c:max val="1.5"/>
          <c:min val="0.5"/>
        </c:scaling>
        <c:delete val="0"/>
        <c:axPos val="b"/>
        <c:numFmt formatCode="General" sourceLinked="1"/>
        <c:majorTickMark val="out"/>
        <c:minorTickMark val="none"/>
        <c:tickLblPos val="nextTo"/>
        <c:spPr>
          <a:noFill/>
          <a:ln w="12700" cap="sq" cmpd="sng" algn="ctr">
            <a:solidFill>
              <a:schemeClr val="bg2">
                <a:lumMod val="10000"/>
              </a:schemeClr>
            </a:solidFill>
            <a:round/>
          </a:ln>
          <a:effectLst/>
        </c:spPr>
        <c:txPr>
          <a:bodyPr rot="-60000000" spcFirstLastPara="1" vertOverflow="ellipsis" vert="horz" wrap="square" anchor="ctr" anchorCtr="1"/>
          <a:lstStyle/>
          <a:p>
            <a:pPr>
              <a:defRPr sz="1200" b="1" i="0" u="none" strike="noStrike" kern="1200" baseline="0">
                <a:solidFill>
                  <a:schemeClr val="bg2">
                    <a:lumMod val="10000"/>
                  </a:schemeClr>
                </a:solidFill>
                <a:latin typeface="+mn-lt"/>
                <a:ea typeface="+mn-ea"/>
                <a:cs typeface="+mn-cs"/>
              </a:defRPr>
            </a:pPr>
            <a:endParaRPr lang="cs-CZ"/>
          </a:p>
        </c:txPr>
        <c:crossAx val="122122624"/>
        <c:crossesAt val="0"/>
        <c:crossBetween val="midCat"/>
        <c:majorUnit val="0.5"/>
      </c:valAx>
      <c:valAx>
        <c:axId val="122122624"/>
        <c:scaling>
          <c:orientation val="minMax"/>
          <c:max val="6.5"/>
          <c:min val="0.5"/>
        </c:scaling>
        <c:delete val="0"/>
        <c:axPos val="l"/>
        <c:numFmt formatCode="General" sourceLinked="1"/>
        <c:majorTickMark val="none"/>
        <c:minorTickMark val="none"/>
        <c:tickLblPos val="none"/>
        <c:spPr>
          <a:noFill/>
          <a:ln w="12700" cap="flat" cmpd="sng" algn="ctr">
            <a:solidFill>
              <a:schemeClr val="bg2">
                <a:lumMod val="1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121297536"/>
        <c:crossesAt val="1"/>
        <c:crossBetween val="midCat"/>
      </c:valAx>
      <c:spPr>
        <a:noFill/>
        <a:ln>
          <a:noFill/>
        </a:ln>
        <a:effectLst/>
      </c:spPr>
    </c:plotArea>
    <c:plotVisOnly val="1"/>
    <c:dispBlanksAs val="gap"/>
    <c:showDLblsOverMax val="0"/>
  </c:chart>
  <c:spPr>
    <a:noFill/>
    <a:ln>
      <a:noFill/>
    </a:ln>
    <a:effectLst/>
  </c:spPr>
  <c:txPr>
    <a:bodyPr/>
    <a:lstStyle/>
    <a:p>
      <a:pPr>
        <a:defRPr/>
      </a:pPr>
      <a:endParaRPr lang="cs-CZ"/>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931172226819897E-2"/>
          <c:y val="4.9539273930973099E-2"/>
          <c:w val="0.91628197956990798"/>
          <c:h val="0.55738049938773304"/>
        </c:manualLayout>
      </c:layout>
      <c:scatterChart>
        <c:scatterStyle val="lineMarker"/>
        <c:varyColors val="0"/>
        <c:ser>
          <c:idx val="2"/>
          <c:order val="0"/>
          <c:tx>
            <c:strRef>
              <c:f>Sheet1!$C$2</c:f>
              <c:strCache>
                <c:ptCount val="1"/>
                <c:pt idx="0">
                  <c:v>Placebo2</c:v>
                </c:pt>
              </c:strCache>
            </c:strRef>
          </c:tx>
          <c:spPr>
            <a:ln w="19050" cap="rnd">
              <a:solidFill>
                <a:srgbClr val="82786F"/>
              </a:solidFill>
              <a:round/>
            </a:ln>
            <a:effectLst/>
          </c:spPr>
          <c:marker>
            <c:symbol val="circle"/>
            <c:size val="5"/>
            <c:spPr>
              <a:noFill/>
              <a:ln w="9525">
                <a:noFill/>
              </a:ln>
              <a:effectLst/>
            </c:spPr>
          </c:marker>
          <c:xVal>
            <c:numRef>
              <c:f>Sheet1!$A$112:$A$245</c:f>
              <c:numCache>
                <c:formatCode>General</c:formatCode>
                <c:ptCount val="134"/>
                <c:pt idx="0">
                  <c:v>0</c:v>
                </c:pt>
                <c:pt idx="1">
                  <c:v>0.71428571428571397</c:v>
                </c:pt>
                <c:pt idx="2">
                  <c:v>1.285714285714286</c:v>
                </c:pt>
                <c:pt idx="3">
                  <c:v>3.1428571428571428</c:v>
                </c:pt>
                <c:pt idx="4">
                  <c:v>3.2857142857142851</c:v>
                </c:pt>
                <c:pt idx="5">
                  <c:v>3.4285714285714279</c:v>
                </c:pt>
                <c:pt idx="6">
                  <c:v>4</c:v>
                </c:pt>
                <c:pt idx="7">
                  <c:v>4.8571428571428488</c:v>
                </c:pt>
                <c:pt idx="8">
                  <c:v>5.7142857142857091</c:v>
                </c:pt>
                <c:pt idx="9">
                  <c:v>6.2857142857142847</c:v>
                </c:pt>
                <c:pt idx="10">
                  <c:v>7.1428571428571441</c:v>
                </c:pt>
                <c:pt idx="11">
                  <c:v>7.7142857142857064</c:v>
                </c:pt>
                <c:pt idx="12">
                  <c:v>8</c:v>
                </c:pt>
                <c:pt idx="13">
                  <c:v>9.28571428571429</c:v>
                </c:pt>
                <c:pt idx="14">
                  <c:v>9.7142857142857117</c:v>
                </c:pt>
                <c:pt idx="15">
                  <c:v>11.285714285714301</c:v>
                </c:pt>
                <c:pt idx="16">
                  <c:v>11.571428571428569</c:v>
                </c:pt>
                <c:pt idx="17">
                  <c:v>12</c:v>
                </c:pt>
                <c:pt idx="18">
                  <c:v>12.285714285714301</c:v>
                </c:pt>
                <c:pt idx="19">
                  <c:v>13.285714285714301</c:v>
                </c:pt>
                <c:pt idx="20">
                  <c:v>13.57142857142858</c:v>
                </c:pt>
                <c:pt idx="21">
                  <c:v>13.71428571428571</c:v>
                </c:pt>
                <c:pt idx="22">
                  <c:v>14.71428571428571</c:v>
                </c:pt>
                <c:pt idx="23">
                  <c:v>15.142857142857141</c:v>
                </c:pt>
                <c:pt idx="24">
                  <c:v>15.285714285714301</c:v>
                </c:pt>
                <c:pt idx="25">
                  <c:v>15.285714285714301</c:v>
                </c:pt>
                <c:pt idx="26">
                  <c:v>16</c:v>
                </c:pt>
                <c:pt idx="27">
                  <c:v>16.857142857142861</c:v>
                </c:pt>
                <c:pt idx="28">
                  <c:v>17</c:v>
                </c:pt>
                <c:pt idx="29">
                  <c:v>17.285714285714221</c:v>
                </c:pt>
                <c:pt idx="30">
                  <c:v>18.285714285714221</c:v>
                </c:pt>
                <c:pt idx="31">
                  <c:v>18.42857142857142</c:v>
                </c:pt>
                <c:pt idx="32">
                  <c:v>20.142857142857139</c:v>
                </c:pt>
                <c:pt idx="33">
                  <c:v>21.285714285714221</c:v>
                </c:pt>
                <c:pt idx="34">
                  <c:v>21.714285714285719</c:v>
                </c:pt>
                <c:pt idx="35">
                  <c:v>21.857142857142861</c:v>
                </c:pt>
                <c:pt idx="36">
                  <c:v>22.57142857142858</c:v>
                </c:pt>
                <c:pt idx="37">
                  <c:v>24</c:v>
                </c:pt>
                <c:pt idx="38">
                  <c:v>24.857142857142861</c:v>
                </c:pt>
                <c:pt idx="39">
                  <c:v>29.14285714285716</c:v>
                </c:pt>
                <c:pt idx="40">
                  <c:v>29.285714285714221</c:v>
                </c:pt>
                <c:pt idx="41">
                  <c:v>29.57142857142858</c:v>
                </c:pt>
                <c:pt idx="42">
                  <c:v>30.14285714285716</c:v>
                </c:pt>
                <c:pt idx="43">
                  <c:v>30.85714285714284</c:v>
                </c:pt>
                <c:pt idx="44">
                  <c:v>31.85714285714284</c:v>
                </c:pt>
                <c:pt idx="45">
                  <c:v>32.571428571428498</c:v>
                </c:pt>
                <c:pt idx="46">
                  <c:v>33.285714285714278</c:v>
                </c:pt>
                <c:pt idx="47">
                  <c:v>34.142857142857153</c:v>
                </c:pt>
                <c:pt idx="48">
                  <c:v>34.714285714285722</c:v>
                </c:pt>
                <c:pt idx="49">
                  <c:v>36.571428571428498</c:v>
                </c:pt>
                <c:pt idx="50">
                  <c:v>36.714285714285722</c:v>
                </c:pt>
                <c:pt idx="51">
                  <c:v>37.571428571428498</c:v>
                </c:pt>
                <c:pt idx="52">
                  <c:v>37.571428571428498</c:v>
                </c:pt>
                <c:pt idx="53">
                  <c:v>39.85714285714279</c:v>
                </c:pt>
                <c:pt idx="54">
                  <c:v>42.285714285714278</c:v>
                </c:pt>
                <c:pt idx="55">
                  <c:v>42.428571428571452</c:v>
                </c:pt>
                <c:pt idx="56">
                  <c:v>43.142857142857153</c:v>
                </c:pt>
                <c:pt idx="57">
                  <c:v>43.285714285714278</c:v>
                </c:pt>
                <c:pt idx="58">
                  <c:v>43.85714285714279</c:v>
                </c:pt>
                <c:pt idx="59">
                  <c:v>47.571428571428498</c:v>
                </c:pt>
                <c:pt idx="60">
                  <c:v>48.142857142857153</c:v>
                </c:pt>
                <c:pt idx="61">
                  <c:v>49.285714285714278</c:v>
                </c:pt>
                <c:pt idx="62">
                  <c:v>51.85714285714279</c:v>
                </c:pt>
                <c:pt idx="63">
                  <c:v>53</c:v>
                </c:pt>
                <c:pt idx="64">
                  <c:v>53.142857142857153</c:v>
                </c:pt>
                <c:pt idx="65">
                  <c:v>53.571428571428498</c:v>
                </c:pt>
                <c:pt idx="66">
                  <c:v>54.571428571428498</c:v>
                </c:pt>
                <c:pt idx="67">
                  <c:v>54.714285714285673</c:v>
                </c:pt>
                <c:pt idx="68">
                  <c:v>55</c:v>
                </c:pt>
                <c:pt idx="69">
                  <c:v>56.142857142857153</c:v>
                </c:pt>
                <c:pt idx="70">
                  <c:v>57.714285714285673</c:v>
                </c:pt>
                <c:pt idx="71">
                  <c:v>58.142857142857153</c:v>
                </c:pt>
                <c:pt idx="72">
                  <c:v>58.714285714285673</c:v>
                </c:pt>
                <c:pt idx="73">
                  <c:v>60.285714285714313</c:v>
                </c:pt>
                <c:pt idx="74">
                  <c:v>61.714285714285673</c:v>
                </c:pt>
                <c:pt idx="75">
                  <c:v>62</c:v>
                </c:pt>
                <c:pt idx="76">
                  <c:v>63.85714285714279</c:v>
                </c:pt>
                <c:pt idx="77">
                  <c:v>64.57142857142847</c:v>
                </c:pt>
                <c:pt idx="78">
                  <c:v>64.857142857142847</c:v>
                </c:pt>
                <c:pt idx="79">
                  <c:v>64.857142857142847</c:v>
                </c:pt>
                <c:pt idx="80">
                  <c:v>65.285714285714306</c:v>
                </c:pt>
                <c:pt idx="81">
                  <c:v>66.285714285714306</c:v>
                </c:pt>
                <c:pt idx="82">
                  <c:v>66.857142857142847</c:v>
                </c:pt>
                <c:pt idx="83">
                  <c:v>67.428571428571374</c:v>
                </c:pt>
                <c:pt idx="84">
                  <c:v>67.714285714285694</c:v>
                </c:pt>
                <c:pt idx="85">
                  <c:v>68.285714285714306</c:v>
                </c:pt>
                <c:pt idx="86">
                  <c:v>68.428571428571374</c:v>
                </c:pt>
                <c:pt idx="87">
                  <c:v>70.57142857142847</c:v>
                </c:pt>
                <c:pt idx="88">
                  <c:v>72.285714285714306</c:v>
                </c:pt>
                <c:pt idx="89">
                  <c:v>72.714285714285694</c:v>
                </c:pt>
                <c:pt idx="90">
                  <c:v>73.57142857142847</c:v>
                </c:pt>
                <c:pt idx="91">
                  <c:v>78.142857142857025</c:v>
                </c:pt>
                <c:pt idx="92">
                  <c:v>78.428571428571374</c:v>
                </c:pt>
                <c:pt idx="93">
                  <c:v>79.57142857142847</c:v>
                </c:pt>
                <c:pt idx="94">
                  <c:v>80.285714285714306</c:v>
                </c:pt>
                <c:pt idx="95">
                  <c:v>82.142857142857025</c:v>
                </c:pt>
                <c:pt idx="96">
                  <c:v>82.57142857142847</c:v>
                </c:pt>
                <c:pt idx="97">
                  <c:v>83</c:v>
                </c:pt>
                <c:pt idx="98">
                  <c:v>83.857142857142819</c:v>
                </c:pt>
                <c:pt idx="99">
                  <c:v>85</c:v>
                </c:pt>
                <c:pt idx="100">
                  <c:v>85.142857142857025</c:v>
                </c:pt>
                <c:pt idx="101">
                  <c:v>85.714285714285694</c:v>
                </c:pt>
                <c:pt idx="102">
                  <c:v>85.857142857142819</c:v>
                </c:pt>
                <c:pt idx="103">
                  <c:v>86.714285714285694</c:v>
                </c:pt>
                <c:pt idx="104">
                  <c:v>87.285714285714306</c:v>
                </c:pt>
                <c:pt idx="105">
                  <c:v>88.285714285714306</c:v>
                </c:pt>
                <c:pt idx="106">
                  <c:v>88.285714285714306</c:v>
                </c:pt>
                <c:pt idx="107">
                  <c:v>89.428571428571374</c:v>
                </c:pt>
                <c:pt idx="108">
                  <c:v>90</c:v>
                </c:pt>
                <c:pt idx="109">
                  <c:v>90.428571428571374</c:v>
                </c:pt>
                <c:pt idx="110">
                  <c:v>90.857142857142819</c:v>
                </c:pt>
                <c:pt idx="111">
                  <c:v>91.428571428571374</c:v>
                </c:pt>
                <c:pt idx="112">
                  <c:v>91.857142857142819</c:v>
                </c:pt>
                <c:pt idx="113">
                  <c:v>92.428571428571374</c:v>
                </c:pt>
                <c:pt idx="114">
                  <c:v>94.428571428571374</c:v>
                </c:pt>
                <c:pt idx="115">
                  <c:v>95.714285714285694</c:v>
                </c:pt>
                <c:pt idx="116">
                  <c:v>96.428571428571374</c:v>
                </c:pt>
                <c:pt idx="117">
                  <c:v>96.57142857142847</c:v>
                </c:pt>
                <c:pt idx="118">
                  <c:v>98.57142857142847</c:v>
                </c:pt>
                <c:pt idx="119">
                  <c:v>99</c:v>
                </c:pt>
                <c:pt idx="120">
                  <c:v>99.142857142857025</c:v>
                </c:pt>
                <c:pt idx="121">
                  <c:v>101.4285714285714</c:v>
                </c:pt>
                <c:pt idx="122">
                  <c:v>102.4285714285714</c:v>
                </c:pt>
                <c:pt idx="123">
                  <c:v>103.28571428571431</c:v>
                </c:pt>
                <c:pt idx="124">
                  <c:v>103.8571428571429</c:v>
                </c:pt>
                <c:pt idx="125">
                  <c:v>104.5714285714286</c:v>
                </c:pt>
                <c:pt idx="126">
                  <c:v>106.1428571428571</c:v>
                </c:pt>
                <c:pt idx="127">
                  <c:v>106.4285714285714</c:v>
                </c:pt>
                <c:pt idx="128">
                  <c:v>107.28571428571431</c:v>
                </c:pt>
                <c:pt idx="129">
                  <c:v>110.28571428571431</c:v>
                </c:pt>
                <c:pt idx="130">
                  <c:v>110.4285714285714</c:v>
                </c:pt>
                <c:pt idx="131">
                  <c:v>111.1428571428571</c:v>
                </c:pt>
                <c:pt idx="132">
                  <c:v>111.8571428571429</c:v>
                </c:pt>
                <c:pt idx="133">
                  <c:v>111.8571428571429</c:v>
                </c:pt>
              </c:numCache>
            </c:numRef>
          </c:xVal>
          <c:yVal>
            <c:numRef>
              <c:f>Sheet1!$C$112:$C$245</c:f>
              <c:numCache>
                <c:formatCode>General</c:formatCode>
                <c:ptCount val="134"/>
                <c:pt idx="0">
                  <c:v>0</c:v>
                </c:pt>
                <c:pt idx="1">
                  <c:v>6.0642813826561399E-2</c:v>
                </c:pt>
                <c:pt idx="2">
                  <c:v>0.12128562765312299</c:v>
                </c:pt>
                <c:pt idx="3">
                  <c:v>0.18192844147968401</c:v>
                </c:pt>
                <c:pt idx="4">
                  <c:v>0.303287776587358</c:v>
                </c:pt>
                <c:pt idx="5">
                  <c:v>0.36396745535998098</c:v>
                </c:pt>
                <c:pt idx="6">
                  <c:v>0.42464713413260502</c:v>
                </c:pt>
                <c:pt idx="7">
                  <c:v>0.485326812905229</c:v>
                </c:pt>
                <c:pt idx="8">
                  <c:v>0.60668614790335695</c:v>
                </c:pt>
                <c:pt idx="9">
                  <c:v>0.66736582668974798</c:v>
                </c:pt>
                <c:pt idx="10">
                  <c:v>0.72804550547612701</c:v>
                </c:pt>
                <c:pt idx="11">
                  <c:v>0.78872518426250604</c:v>
                </c:pt>
                <c:pt idx="12">
                  <c:v>0.84940486304888596</c:v>
                </c:pt>
                <c:pt idx="13">
                  <c:v>0.97083851468116</c:v>
                </c:pt>
                <c:pt idx="14">
                  <c:v>1.031555351888592</c:v>
                </c:pt>
                <c:pt idx="15">
                  <c:v>1.0922721890960221</c:v>
                </c:pt>
                <c:pt idx="16">
                  <c:v>1.2137058406443519</c:v>
                </c:pt>
                <c:pt idx="17">
                  <c:v>1.2744226778658381</c:v>
                </c:pt>
                <c:pt idx="18">
                  <c:v>1.3351395150873251</c:v>
                </c:pt>
                <c:pt idx="19">
                  <c:v>1.395856352308811</c:v>
                </c:pt>
                <c:pt idx="20">
                  <c:v>1.456573189530286</c:v>
                </c:pt>
                <c:pt idx="21">
                  <c:v>1.517290026751783</c:v>
                </c:pt>
                <c:pt idx="22">
                  <c:v>1.6387236781304819</c:v>
                </c:pt>
                <c:pt idx="23">
                  <c:v>1.699440515366202</c:v>
                </c:pt>
                <c:pt idx="24">
                  <c:v>1.76019487845931</c:v>
                </c:pt>
                <c:pt idx="25">
                  <c:v>1.76019487845931</c:v>
                </c:pt>
                <c:pt idx="26">
                  <c:v>1.820986837074112</c:v>
                </c:pt>
                <c:pt idx="27">
                  <c:v>1.8818164610908019</c:v>
                </c:pt>
                <c:pt idx="28">
                  <c:v>1.94264608510748</c:v>
                </c:pt>
                <c:pt idx="29">
                  <c:v>2.0034757091241691</c:v>
                </c:pt>
                <c:pt idx="30">
                  <c:v>2.0643053331408581</c:v>
                </c:pt>
                <c:pt idx="31">
                  <c:v>2.12513495715754</c:v>
                </c:pt>
                <c:pt idx="32">
                  <c:v>2.1860024105423981</c:v>
                </c:pt>
                <c:pt idx="33">
                  <c:v>2.2468698639272482</c:v>
                </c:pt>
                <c:pt idx="34">
                  <c:v>2.3077373173120979</c:v>
                </c:pt>
                <c:pt idx="35">
                  <c:v>2.4294722004680862</c:v>
                </c:pt>
                <c:pt idx="36">
                  <c:v>2.4903396538676681</c:v>
                </c:pt>
                <c:pt idx="37">
                  <c:v>2.5512831915839982</c:v>
                </c:pt>
                <c:pt idx="38">
                  <c:v>2.6122648666831338</c:v>
                </c:pt>
                <c:pt idx="39">
                  <c:v>2.67328475085188</c:v>
                </c:pt>
                <c:pt idx="40">
                  <c:v>2.7343046350206239</c:v>
                </c:pt>
                <c:pt idx="41">
                  <c:v>2.7953245191893679</c:v>
                </c:pt>
                <c:pt idx="42">
                  <c:v>2.917364263496125</c:v>
                </c:pt>
                <c:pt idx="43">
                  <c:v>2.9784225249656182</c:v>
                </c:pt>
                <c:pt idx="44">
                  <c:v>3.039557734464692</c:v>
                </c:pt>
                <c:pt idx="45">
                  <c:v>3.100692943963768</c:v>
                </c:pt>
                <c:pt idx="46">
                  <c:v>3.1618281534628521</c:v>
                </c:pt>
                <c:pt idx="47">
                  <c:v>3.2229633629619281</c:v>
                </c:pt>
                <c:pt idx="48">
                  <c:v>3.2840985724610041</c:v>
                </c:pt>
                <c:pt idx="49">
                  <c:v>3.3452337819600779</c:v>
                </c:pt>
                <c:pt idx="50">
                  <c:v>3.4063689914591522</c:v>
                </c:pt>
                <c:pt idx="51">
                  <c:v>3.5287168212877931</c:v>
                </c:pt>
                <c:pt idx="52">
                  <c:v>3.5287168212877931</c:v>
                </c:pt>
                <c:pt idx="53">
                  <c:v>3.6510646510853242</c:v>
                </c:pt>
                <c:pt idx="54">
                  <c:v>3.7122774435560442</c:v>
                </c:pt>
                <c:pt idx="55">
                  <c:v>3.773490236026765</c:v>
                </c:pt>
                <c:pt idx="56">
                  <c:v>3.8347030284974881</c:v>
                </c:pt>
                <c:pt idx="57">
                  <c:v>3.8959158209682032</c:v>
                </c:pt>
                <c:pt idx="58">
                  <c:v>3.9571286134389312</c:v>
                </c:pt>
                <c:pt idx="59">
                  <c:v>4.0183804446803588</c:v>
                </c:pt>
                <c:pt idx="60">
                  <c:v>4.079632275921786</c:v>
                </c:pt>
                <c:pt idx="61">
                  <c:v>4.1408841071632061</c:v>
                </c:pt>
                <c:pt idx="62">
                  <c:v>4.2022535795657889</c:v>
                </c:pt>
                <c:pt idx="63">
                  <c:v>4.32499249920183</c:v>
                </c:pt>
                <c:pt idx="64">
                  <c:v>4.3863619716205564</c:v>
                </c:pt>
                <c:pt idx="65">
                  <c:v>4.4477314440392828</c:v>
                </c:pt>
                <c:pt idx="66">
                  <c:v>4.5091403569929884</c:v>
                </c:pt>
                <c:pt idx="67">
                  <c:v>4.5705492699466879</c:v>
                </c:pt>
                <c:pt idx="68">
                  <c:v>4.6319581829003882</c:v>
                </c:pt>
                <c:pt idx="69">
                  <c:v>4.6933670958540903</c:v>
                </c:pt>
                <c:pt idx="70">
                  <c:v>4.8778314603421631</c:v>
                </c:pt>
                <c:pt idx="71">
                  <c:v>4.9393196106586901</c:v>
                </c:pt>
                <c:pt idx="72">
                  <c:v>5.0008077609752064</c:v>
                </c:pt>
                <c:pt idx="73">
                  <c:v>5.062375610773671</c:v>
                </c:pt>
                <c:pt idx="74">
                  <c:v>5.1239834137517466</c:v>
                </c:pt>
                <c:pt idx="75">
                  <c:v>5.185591216729839</c:v>
                </c:pt>
                <c:pt idx="76">
                  <c:v>5.3089671291939506</c:v>
                </c:pt>
                <c:pt idx="77">
                  <c:v>5.3706953122909624</c:v>
                </c:pt>
                <c:pt idx="78">
                  <c:v>5.4324637879356867</c:v>
                </c:pt>
                <c:pt idx="79">
                  <c:v>5.4324637879356867</c:v>
                </c:pt>
                <c:pt idx="80">
                  <c:v>5.4942322635803986</c:v>
                </c:pt>
                <c:pt idx="81">
                  <c:v>5.5560007392251176</c:v>
                </c:pt>
                <c:pt idx="82">
                  <c:v>5.6177692148698402</c:v>
                </c:pt>
                <c:pt idx="83">
                  <c:v>5.6795376905145556</c:v>
                </c:pt>
                <c:pt idx="84">
                  <c:v>5.7413061661592781</c:v>
                </c:pt>
                <c:pt idx="85">
                  <c:v>5.8030746418039882</c:v>
                </c:pt>
                <c:pt idx="86">
                  <c:v>5.8648431174487063</c:v>
                </c:pt>
                <c:pt idx="87">
                  <c:v>5.9266927606041397</c:v>
                </c:pt>
                <c:pt idx="88">
                  <c:v>5.9885830943142597</c:v>
                </c:pt>
                <c:pt idx="89">
                  <c:v>6.0504734280243824</c:v>
                </c:pt>
                <c:pt idx="90">
                  <c:v>6.1123637617345201</c:v>
                </c:pt>
                <c:pt idx="91">
                  <c:v>6.236307808993848</c:v>
                </c:pt>
                <c:pt idx="92">
                  <c:v>6.3603338297578853</c:v>
                </c:pt>
                <c:pt idx="93">
                  <c:v>6.4223468537117014</c:v>
                </c:pt>
                <c:pt idx="94">
                  <c:v>6.5464551197394876</c:v>
                </c:pt>
                <c:pt idx="95">
                  <c:v>6.608509266406319</c:v>
                </c:pt>
                <c:pt idx="96">
                  <c:v>6.6705634130731601</c:v>
                </c:pt>
                <c:pt idx="97">
                  <c:v>6.7326588465974</c:v>
                </c:pt>
                <c:pt idx="98">
                  <c:v>6.7948370740330066</c:v>
                </c:pt>
                <c:pt idx="99">
                  <c:v>6.8570153014686133</c:v>
                </c:pt>
                <c:pt idx="100">
                  <c:v>6.9191935289042261</c:v>
                </c:pt>
                <c:pt idx="101">
                  <c:v>6.9813717563398301</c:v>
                </c:pt>
                <c:pt idx="102">
                  <c:v>7.0435499837754199</c:v>
                </c:pt>
                <c:pt idx="103">
                  <c:v>7.10572821121103</c:v>
                </c:pt>
                <c:pt idx="104">
                  <c:v>7.1679064386466154</c:v>
                </c:pt>
                <c:pt idx="105">
                  <c:v>7.2300846660822264</c:v>
                </c:pt>
                <c:pt idx="106">
                  <c:v>7.2300846660822264</c:v>
                </c:pt>
                <c:pt idx="107">
                  <c:v>7.2922628935178277</c:v>
                </c:pt>
                <c:pt idx="108">
                  <c:v>7.3544411209534273</c:v>
                </c:pt>
                <c:pt idx="109">
                  <c:v>7.4166193483890304</c:v>
                </c:pt>
                <c:pt idx="110">
                  <c:v>7.4787975758246397</c:v>
                </c:pt>
                <c:pt idx="111">
                  <c:v>7.54101761780458</c:v>
                </c:pt>
                <c:pt idx="112">
                  <c:v>7.6655414715859802</c:v>
                </c:pt>
                <c:pt idx="113">
                  <c:v>7.7278454247090798</c:v>
                </c:pt>
                <c:pt idx="114">
                  <c:v>7.7901493778321651</c:v>
                </c:pt>
                <c:pt idx="115">
                  <c:v>7.8524533309552469</c:v>
                </c:pt>
                <c:pt idx="116">
                  <c:v>7.9147572840783456</c:v>
                </c:pt>
                <c:pt idx="117">
                  <c:v>7.97706123720143</c:v>
                </c:pt>
                <c:pt idx="118">
                  <c:v>8.0394074016748682</c:v>
                </c:pt>
                <c:pt idx="119">
                  <c:v>8.1017958634104996</c:v>
                </c:pt>
                <c:pt idx="120">
                  <c:v>8.1641843251461523</c:v>
                </c:pt>
                <c:pt idx="121">
                  <c:v>8.2265727868817695</c:v>
                </c:pt>
                <c:pt idx="122">
                  <c:v>8.2889612486173956</c:v>
                </c:pt>
                <c:pt idx="123">
                  <c:v>8.3513921803746491</c:v>
                </c:pt>
                <c:pt idx="124">
                  <c:v>8.4138656690042595</c:v>
                </c:pt>
                <c:pt idx="125">
                  <c:v>8.4763818016533996</c:v>
                </c:pt>
                <c:pt idx="126">
                  <c:v>8.5388979343025486</c:v>
                </c:pt>
                <c:pt idx="127">
                  <c:v>8.6014140669516923</c:v>
                </c:pt>
                <c:pt idx="128">
                  <c:v>8.6639301996008307</c:v>
                </c:pt>
                <c:pt idx="129">
                  <c:v>8.8624868730799697</c:v>
                </c:pt>
                <c:pt idx="130">
                  <c:v>9.3103370604337972</c:v>
                </c:pt>
                <c:pt idx="131">
                  <c:v>9.6449852631628197</c:v>
                </c:pt>
                <c:pt idx="132">
                  <c:v>10.141441388090501</c:v>
                </c:pt>
                <c:pt idx="133">
                  <c:v>10.141441388090501</c:v>
                </c:pt>
              </c:numCache>
            </c:numRef>
          </c:yVal>
          <c:smooth val="0"/>
          <c:extLst>
            <c:ext xmlns:c16="http://schemas.microsoft.com/office/drawing/2014/chart" uri="{C3380CC4-5D6E-409C-BE32-E72D297353CC}">
              <c16:uniqueId val="{00000000-D650-4B43-B0CB-40DA843799D3}"/>
            </c:ext>
          </c:extLst>
        </c:ser>
        <c:ser>
          <c:idx val="1"/>
          <c:order val="1"/>
          <c:tx>
            <c:strRef>
              <c:f>Sheet1!$B$2</c:f>
              <c:strCache>
                <c:ptCount val="1"/>
                <c:pt idx="0">
                  <c:v>Semaglutide</c:v>
                </c:pt>
              </c:strCache>
            </c:strRef>
          </c:tx>
          <c:spPr>
            <a:ln w="19050" cap="rnd">
              <a:solidFill>
                <a:srgbClr val="001965"/>
              </a:solidFill>
              <a:round/>
            </a:ln>
            <a:effectLst/>
          </c:spPr>
          <c:marker>
            <c:symbol val="square"/>
            <c:size val="5"/>
            <c:spPr>
              <a:noFill/>
              <a:ln w="9525">
                <a:noFill/>
              </a:ln>
              <a:effectLst/>
            </c:spPr>
          </c:marker>
          <c:xVal>
            <c:numRef>
              <c:f>Sheet1!$A$3:$A$111</c:f>
              <c:numCache>
                <c:formatCode>General</c:formatCode>
                <c:ptCount val="109"/>
                <c:pt idx="0">
                  <c:v>0</c:v>
                </c:pt>
                <c:pt idx="1">
                  <c:v>0.14285714285714299</c:v>
                </c:pt>
                <c:pt idx="2">
                  <c:v>0.57142857142857095</c:v>
                </c:pt>
                <c:pt idx="3">
                  <c:v>1</c:v>
                </c:pt>
                <c:pt idx="4">
                  <c:v>1.285714285714286</c:v>
                </c:pt>
                <c:pt idx="5">
                  <c:v>3.7142857142857149</c:v>
                </c:pt>
                <c:pt idx="6">
                  <c:v>4.8571428571428488</c:v>
                </c:pt>
                <c:pt idx="7">
                  <c:v>5.1428571428571441</c:v>
                </c:pt>
                <c:pt idx="8">
                  <c:v>6.7142857142857046</c:v>
                </c:pt>
                <c:pt idx="9">
                  <c:v>8.7142857142857117</c:v>
                </c:pt>
                <c:pt idx="10">
                  <c:v>9</c:v>
                </c:pt>
                <c:pt idx="11">
                  <c:v>9.28571428571429</c:v>
                </c:pt>
                <c:pt idx="12">
                  <c:v>10.285714285714301</c:v>
                </c:pt>
                <c:pt idx="13">
                  <c:v>10.428571428571431</c:v>
                </c:pt>
                <c:pt idx="14">
                  <c:v>10.571428571428569</c:v>
                </c:pt>
                <c:pt idx="15">
                  <c:v>11.428571428571431</c:v>
                </c:pt>
                <c:pt idx="16">
                  <c:v>12.428571428571431</c:v>
                </c:pt>
                <c:pt idx="17">
                  <c:v>12.71428571428571</c:v>
                </c:pt>
                <c:pt idx="18">
                  <c:v>13.71428571428571</c:v>
                </c:pt>
                <c:pt idx="19">
                  <c:v>14</c:v>
                </c:pt>
                <c:pt idx="20">
                  <c:v>14</c:v>
                </c:pt>
                <c:pt idx="21">
                  <c:v>14.285714285714301</c:v>
                </c:pt>
                <c:pt idx="22">
                  <c:v>15.57142857142858</c:v>
                </c:pt>
                <c:pt idx="23">
                  <c:v>16.857142857142861</c:v>
                </c:pt>
                <c:pt idx="24">
                  <c:v>18.857142857142861</c:v>
                </c:pt>
                <c:pt idx="25">
                  <c:v>19.285714285714221</c:v>
                </c:pt>
                <c:pt idx="26">
                  <c:v>21</c:v>
                </c:pt>
                <c:pt idx="27">
                  <c:v>21.714285714285719</c:v>
                </c:pt>
                <c:pt idx="28">
                  <c:v>22.57142857142858</c:v>
                </c:pt>
                <c:pt idx="29">
                  <c:v>24</c:v>
                </c:pt>
                <c:pt idx="30">
                  <c:v>24.142857142857139</c:v>
                </c:pt>
                <c:pt idx="31">
                  <c:v>24.57142857142858</c:v>
                </c:pt>
                <c:pt idx="32">
                  <c:v>24.714285714285719</c:v>
                </c:pt>
                <c:pt idx="33">
                  <c:v>30.14285714285716</c:v>
                </c:pt>
                <c:pt idx="34">
                  <c:v>30.42857142857142</c:v>
                </c:pt>
                <c:pt idx="35">
                  <c:v>31.14285714285716</c:v>
                </c:pt>
                <c:pt idx="36">
                  <c:v>31.714285714285719</c:v>
                </c:pt>
                <c:pt idx="37">
                  <c:v>32.142857142857153</c:v>
                </c:pt>
                <c:pt idx="38">
                  <c:v>32.285714285714278</c:v>
                </c:pt>
                <c:pt idx="39">
                  <c:v>33.142857142857153</c:v>
                </c:pt>
                <c:pt idx="40">
                  <c:v>33.428571428571452</c:v>
                </c:pt>
                <c:pt idx="41">
                  <c:v>35.285714285714278</c:v>
                </c:pt>
                <c:pt idx="42">
                  <c:v>35.285714285714278</c:v>
                </c:pt>
                <c:pt idx="43">
                  <c:v>36.428571428571452</c:v>
                </c:pt>
                <c:pt idx="44">
                  <c:v>36.571428571428498</c:v>
                </c:pt>
                <c:pt idx="45">
                  <c:v>37.571428571428498</c:v>
                </c:pt>
                <c:pt idx="46">
                  <c:v>37.85714285714279</c:v>
                </c:pt>
                <c:pt idx="47">
                  <c:v>40.85714285714279</c:v>
                </c:pt>
                <c:pt idx="48">
                  <c:v>41.571428571428498</c:v>
                </c:pt>
                <c:pt idx="49">
                  <c:v>42.142857142857153</c:v>
                </c:pt>
                <c:pt idx="50">
                  <c:v>45.142857142857153</c:v>
                </c:pt>
                <c:pt idx="51">
                  <c:v>49.85714285714279</c:v>
                </c:pt>
                <c:pt idx="52">
                  <c:v>52.85714285714279</c:v>
                </c:pt>
                <c:pt idx="53">
                  <c:v>54.85714285714279</c:v>
                </c:pt>
                <c:pt idx="54">
                  <c:v>55</c:v>
                </c:pt>
                <c:pt idx="55">
                  <c:v>56</c:v>
                </c:pt>
                <c:pt idx="56">
                  <c:v>56.142857142857153</c:v>
                </c:pt>
                <c:pt idx="57">
                  <c:v>58.571428571428498</c:v>
                </c:pt>
                <c:pt idx="58">
                  <c:v>61</c:v>
                </c:pt>
                <c:pt idx="59">
                  <c:v>61.142857142857153</c:v>
                </c:pt>
                <c:pt idx="60">
                  <c:v>63.714285714285673</c:v>
                </c:pt>
                <c:pt idx="61">
                  <c:v>64.57142857142847</c:v>
                </c:pt>
                <c:pt idx="62">
                  <c:v>67.428571428571374</c:v>
                </c:pt>
                <c:pt idx="63">
                  <c:v>68.285714285714306</c:v>
                </c:pt>
                <c:pt idx="64">
                  <c:v>68.285714285714306</c:v>
                </c:pt>
                <c:pt idx="65">
                  <c:v>69.142857142857025</c:v>
                </c:pt>
                <c:pt idx="66">
                  <c:v>69.428571428571374</c:v>
                </c:pt>
                <c:pt idx="67">
                  <c:v>70.857142857142847</c:v>
                </c:pt>
                <c:pt idx="68">
                  <c:v>72.428571428571374</c:v>
                </c:pt>
                <c:pt idx="69">
                  <c:v>72.57142857142847</c:v>
                </c:pt>
                <c:pt idx="70">
                  <c:v>72.714285714285694</c:v>
                </c:pt>
                <c:pt idx="71">
                  <c:v>73.57142857142847</c:v>
                </c:pt>
                <c:pt idx="72">
                  <c:v>75.428571428571374</c:v>
                </c:pt>
                <c:pt idx="73">
                  <c:v>75.57142857142847</c:v>
                </c:pt>
                <c:pt idx="74">
                  <c:v>77.428571428571374</c:v>
                </c:pt>
                <c:pt idx="75">
                  <c:v>77.857142857142819</c:v>
                </c:pt>
                <c:pt idx="76">
                  <c:v>78.285714285714306</c:v>
                </c:pt>
                <c:pt idx="77">
                  <c:v>78.714285714285694</c:v>
                </c:pt>
                <c:pt idx="78">
                  <c:v>79.142857142857025</c:v>
                </c:pt>
                <c:pt idx="79">
                  <c:v>80</c:v>
                </c:pt>
                <c:pt idx="80">
                  <c:v>80.285714285714306</c:v>
                </c:pt>
                <c:pt idx="81">
                  <c:v>80.428571428571374</c:v>
                </c:pt>
                <c:pt idx="82">
                  <c:v>82.285714285714306</c:v>
                </c:pt>
                <c:pt idx="83">
                  <c:v>82.428571428571374</c:v>
                </c:pt>
                <c:pt idx="84">
                  <c:v>82.57142857142847</c:v>
                </c:pt>
                <c:pt idx="85">
                  <c:v>84.57142857142847</c:v>
                </c:pt>
                <c:pt idx="86">
                  <c:v>84.57142857142847</c:v>
                </c:pt>
                <c:pt idx="87">
                  <c:v>85.285714285714306</c:v>
                </c:pt>
                <c:pt idx="88">
                  <c:v>87.285714285714306</c:v>
                </c:pt>
                <c:pt idx="89">
                  <c:v>87.857142857142819</c:v>
                </c:pt>
                <c:pt idx="90">
                  <c:v>88.857142857142819</c:v>
                </c:pt>
                <c:pt idx="91">
                  <c:v>90.285714285714306</c:v>
                </c:pt>
                <c:pt idx="92">
                  <c:v>90.857142857142819</c:v>
                </c:pt>
                <c:pt idx="93">
                  <c:v>91.142857142857025</c:v>
                </c:pt>
                <c:pt idx="94">
                  <c:v>94.142857142857025</c:v>
                </c:pt>
                <c:pt idx="95">
                  <c:v>96.285714285714306</c:v>
                </c:pt>
                <c:pt idx="96">
                  <c:v>97.714285714285694</c:v>
                </c:pt>
                <c:pt idx="97">
                  <c:v>98</c:v>
                </c:pt>
                <c:pt idx="98">
                  <c:v>98.142857142857025</c:v>
                </c:pt>
                <c:pt idx="99">
                  <c:v>98.428571428571374</c:v>
                </c:pt>
                <c:pt idx="100">
                  <c:v>99.285714285714306</c:v>
                </c:pt>
                <c:pt idx="101">
                  <c:v>103</c:v>
                </c:pt>
                <c:pt idx="102">
                  <c:v>105.5714285714286</c:v>
                </c:pt>
                <c:pt idx="103">
                  <c:v>106.8571428571429</c:v>
                </c:pt>
                <c:pt idx="104">
                  <c:v>107.28571428571431</c:v>
                </c:pt>
                <c:pt idx="105">
                  <c:v>108.71428571428569</c:v>
                </c:pt>
                <c:pt idx="106">
                  <c:v>110</c:v>
                </c:pt>
                <c:pt idx="107">
                  <c:v>111.1428571428571</c:v>
                </c:pt>
                <c:pt idx="108">
                  <c:v>111.1428571428571</c:v>
                </c:pt>
              </c:numCache>
            </c:numRef>
          </c:xVal>
          <c:yVal>
            <c:numRef>
              <c:f>Sheet1!$B$3:$B$111</c:f>
              <c:numCache>
                <c:formatCode>General</c:formatCode>
                <c:ptCount val="109"/>
                <c:pt idx="0">
                  <c:v>0</c:v>
                </c:pt>
                <c:pt idx="1">
                  <c:v>6.06796116504826E-2</c:v>
                </c:pt>
                <c:pt idx="2">
                  <c:v>0.121432997904802</c:v>
                </c:pt>
                <c:pt idx="3">
                  <c:v>0.182186384159122</c:v>
                </c:pt>
                <c:pt idx="4">
                  <c:v>0.242939770413442</c:v>
                </c:pt>
                <c:pt idx="5">
                  <c:v>0.30376724616318901</c:v>
                </c:pt>
                <c:pt idx="6">
                  <c:v>0.36459472191293602</c:v>
                </c:pt>
                <c:pt idx="7">
                  <c:v>0.42542219766268402</c:v>
                </c:pt>
                <c:pt idx="8">
                  <c:v>0.48624967341243103</c:v>
                </c:pt>
                <c:pt idx="9">
                  <c:v>0.54711435251125695</c:v>
                </c:pt>
                <c:pt idx="10">
                  <c:v>0.60797903161009503</c:v>
                </c:pt>
                <c:pt idx="11">
                  <c:v>0.66884371070892201</c:v>
                </c:pt>
                <c:pt idx="12">
                  <c:v>0.72970838980774799</c:v>
                </c:pt>
                <c:pt idx="13">
                  <c:v>0.79061040920050896</c:v>
                </c:pt>
                <c:pt idx="14">
                  <c:v>0.85151242859326004</c:v>
                </c:pt>
                <c:pt idx="15">
                  <c:v>0.912414447986021</c:v>
                </c:pt>
                <c:pt idx="16">
                  <c:v>0.97331646737877098</c:v>
                </c:pt>
                <c:pt idx="17">
                  <c:v>1.0951204831433301</c:v>
                </c:pt>
                <c:pt idx="18">
                  <c:v>1.156022502550258</c:v>
                </c:pt>
                <c:pt idx="19">
                  <c:v>1.216924521957196</c:v>
                </c:pt>
                <c:pt idx="20">
                  <c:v>1.216924521957196</c:v>
                </c:pt>
                <c:pt idx="21">
                  <c:v>1.2778265413641241</c:v>
                </c:pt>
                <c:pt idx="22">
                  <c:v>1.338766154610205</c:v>
                </c:pt>
                <c:pt idx="23">
                  <c:v>1.3997434313996919</c:v>
                </c:pt>
                <c:pt idx="24">
                  <c:v>1.460720708189178</c:v>
                </c:pt>
                <c:pt idx="25">
                  <c:v>1.5216979849786649</c:v>
                </c:pt>
                <c:pt idx="26">
                  <c:v>1.5826752617681521</c:v>
                </c:pt>
                <c:pt idx="27">
                  <c:v>1.6436525385576399</c:v>
                </c:pt>
                <c:pt idx="28">
                  <c:v>1.7046298153471251</c:v>
                </c:pt>
                <c:pt idx="29">
                  <c:v>1.765607092136612</c:v>
                </c:pt>
                <c:pt idx="30">
                  <c:v>1.8265843689261101</c:v>
                </c:pt>
                <c:pt idx="31">
                  <c:v>1.8875616457155959</c:v>
                </c:pt>
                <c:pt idx="32">
                  <c:v>1.9485389225050831</c:v>
                </c:pt>
                <c:pt idx="33">
                  <c:v>2.0095921361274249</c:v>
                </c:pt>
                <c:pt idx="34">
                  <c:v>2.0706453497497832</c:v>
                </c:pt>
                <c:pt idx="35">
                  <c:v>2.1317366502178201</c:v>
                </c:pt>
                <c:pt idx="36">
                  <c:v>2.192827950685849</c:v>
                </c:pt>
                <c:pt idx="37">
                  <c:v>2.2539192511538699</c:v>
                </c:pt>
                <c:pt idx="38">
                  <c:v>2.3150105516218988</c:v>
                </c:pt>
                <c:pt idx="39">
                  <c:v>2.3761018520899402</c:v>
                </c:pt>
                <c:pt idx="40">
                  <c:v>2.4371931525579709</c:v>
                </c:pt>
                <c:pt idx="41">
                  <c:v>2.4982844530259891</c:v>
                </c:pt>
                <c:pt idx="42">
                  <c:v>2.4982844530259891</c:v>
                </c:pt>
                <c:pt idx="43">
                  <c:v>2.559414055249797</c:v>
                </c:pt>
                <c:pt idx="44">
                  <c:v>2.6205436574736058</c:v>
                </c:pt>
                <c:pt idx="45">
                  <c:v>2.6817116576887572</c:v>
                </c:pt>
                <c:pt idx="46">
                  <c:v>2.742918128344296</c:v>
                </c:pt>
                <c:pt idx="47">
                  <c:v>2.8041245989998478</c:v>
                </c:pt>
                <c:pt idx="48">
                  <c:v>2.8653310696553862</c:v>
                </c:pt>
                <c:pt idx="49">
                  <c:v>2.9265375403109251</c:v>
                </c:pt>
                <c:pt idx="50">
                  <c:v>2.9877440109664648</c:v>
                </c:pt>
                <c:pt idx="51">
                  <c:v>3.0489891220706551</c:v>
                </c:pt>
                <c:pt idx="52">
                  <c:v>3.1102342331748352</c:v>
                </c:pt>
                <c:pt idx="53">
                  <c:v>3.171518082489722</c:v>
                </c:pt>
                <c:pt idx="54">
                  <c:v>3.232801931804596</c:v>
                </c:pt>
                <c:pt idx="55">
                  <c:v>3.2940857811194841</c:v>
                </c:pt>
                <c:pt idx="56">
                  <c:v>3.3553696304343661</c:v>
                </c:pt>
                <c:pt idx="57">
                  <c:v>3.416692365440432</c:v>
                </c:pt>
                <c:pt idx="58">
                  <c:v>3.4780540602527341</c:v>
                </c:pt>
                <c:pt idx="59">
                  <c:v>3.5394157550650438</c:v>
                </c:pt>
                <c:pt idx="60">
                  <c:v>3.6008947762536598</c:v>
                </c:pt>
                <c:pt idx="61">
                  <c:v>3.6623737974422652</c:v>
                </c:pt>
                <c:pt idx="62">
                  <c:v>3.7238528186308808</c:v>
                </c:pt>
                <c:pt idx="63">
                  <c:v>3.7853318398194951</c:v>
                </c:pt>
                <c:pt idx="64">
                  <c:v>3.7853318398194951</c:v>
                </c:pt>
                <c:pt idx="65">
                  <c:v>3.8468501698451791</c:v>
                </c:pt>
                <c:pt idx="66">
                  <c:v>3.908368499870873</c:v>
                </c:pt>
                <c:pt idx="67">
                  <c:v>3.9699262394609618</c:v>
                </c:pt>
                <c:pt idx="68">
                  <c:v>4.0314839790510506</c:v>
                </c:pt>
                <c:pt idx="69">
                  <c:v>4.0930417186411461</c:v>
                </c:pt>
                <c:pt idx="70">
                  <c:v>4.1545994582312273</c:v>
                </c:pt>
                <c:pt idx="71">
                  <c:v>4.2161967593506224</c:v>
                </c:pt>
                <c:pt idx="72">
                  <c:v>4.2779131274180546</c:v>
                </c:pt>
                <c:pt idx="73">
                  <c:v>4.3396294954854904</c:v>
                </c:pt>
                <c:pt idx="74">
                  <c:v>4.4013857062695454</c:v>
                </c:pt>
                <c:pt idx="75">
                  <c:v>4.4631419170536031</c:v>
                </c:pt>
                <c:pt idx="76">
                  <c:v>4.5248981278376634</c:v>
                </c:pt>
                <c:pt idx="77">
                  <c:v>4.5866943102791939</c:v>
                </c:pt>
                <c:pt idx="78">
                  <c:v>4.6484904927207271</c:v>
                </c:pt>
                <c:pt idx="79">
                  <c:v>4.7102866751622567</c:v>
                </c:pt>
                <c:pt idx="80">
                  <c:v>4.7720828576037846</c:v>
                </c:pt>
                <c:pt idx="81">
                  <c:v>4.8956751964807976</c:v>
                </c:pt>
                <c:pt idx="82">
                  <c:v>4.9575517903672646</c:v>
                </c:pt>
                <c:pt idx="83">
                  <c:v>5.0194283842537502</c:v>
                </c:pt>
                <c:pt idx="84">
                  <c:v>5.081304978140234</c:v>
                </c:pt>
                <c:pt idx="85">
                  <c:v>5.1431815720267</c:v>
                </c:pt>
                <c:pt idx="86">
                  <c:v>5.1431815720267</c:v>
                </c:pt>
                <c:pt idx="87">
                  <c:v>5.2050581659132007</c:v>
                </c:pt>
                <c:pt idx="88">
                  <c:v>5.2669347597996756</c:v>
                </c:pt>
                <c:pt idx="89">
                  <c:v>5.3288113536861532</c:v>
                </c:pt>
                <c:pt idx="90">
                  <c:v>5.3906879475726388</c:v>
                </c:pt>
                <c:pt idx="91">
                  <c:v>5.4525645414591066</c:v>
                </c:pt>
                <c:pt idx="92">
                  <c:v>5.514441135345594</c:v>
                </c:pt>
                <c:pt idx="93">
                  <c:v>5.5763177292320716</c:v>
                </c:pt>
                <c:pt idx="94">
                  <c:v>5.6381943231185456</c:v>
                </c:pt>
                <c:pt idx="95">
                  <c:v>5.7001115184445919</c:v>
                </c:pt>
                <c:pt idx="96">
                  <c:v>5.7620287137706301</c:v>
                </c:pt>
                <c:pt idx="97">
                  <c:v>5.823945909096655</c:v>
                </c:pt>
                <c:pt idx="98">
                  <c:v>5.8858631044227003</c:v>
                </c:pt>
                <c:pt idx="99">
                  <c:v>6.0096974682930604</c:v>
                </c:pt>
                <c:pt idx="100">
                  <c:v>6.0716554791906958</c:v>
                </c:pt>
                <c:pt idx="101">
                  <c:v>6.1956532667453104</c:v>
                </c:pt>
                <c:pt idx="102">
                  <c:v>6.2576931786059404</c:v>
                </c:pt>
                <c:pt idx="103">
                  <c:v>6.319774176500899</c:v>
                </c:pt>
                <c:pt idx="104">
                  <c:v>6.4440184805322449</c:v>
                </c:pt>
                <c:pt idx="105">
                  <c:v>6.5061406462158136</c:v>
                </c:pt>
                <c:pt idx="106">
                  <c:v>6.6395127708289268</c:v>
                </c:pt>
                <c:pt idx="107">
                  <c:v>6.9705783283791751</c:v>
                </c:pt>
                <c:pt idx="108">
                  <c:v>6.9705783283791751</c:v>
                </c:pt>
              </c:numCache>
            </c:numRef>
          </c:yVal>
          <c:smooth val="0"/>
          <c:extLst>
            <c:ext xmlns:c16="http://schemas.microsoft.com/office/drawing/2014/chart" uri="{C3380CC4-5D6E-409C-BE32-E72D297353CC}">
              <c16:uniqueId val="{00000001-D650-4B43-B0CB-40DA843799D3}"/>
            </c:ext>
          </c:extLst>
        </c:ser>
        <c:ser>
          <c:idx val="0"/>
          <c:order val="2"/>
          <c:tx>
            <c:strRef>
              <c:f>Sheet1!$D$2</c:f>
              <c:strCache>
                <c:ptCount val="1"/>
                <c:pt idx="0">
                  <c:v>Placebo</c:v>
                </c:pt>
              </c:strCache>
            </c:strRef>
          </c:tx>
          <c:spPr>
            <a:ln w="19050" cap="rnd">
              <a:solidFill>
                <a:srgbClr val="82786F"/>
              </a:solidFill>
              <a:round/>
            </a:ln>
            <a:effectLst/>
          </c:spPr>
          <c:marker>
            <c:symbol val="none"/>
          </c:marker>
          <c:xVal>
            <c:numRef>
              <c:f>Sheet1!$D$4:$D$7</c:f>
              <c:numCache>
                <c:formatCode>General</c:formatCode>
                <c:ptCount val="4"/>
              </c:numCache>
            </c:numRef>
          </c:xVal>
          <c:yVal>
            <c:numLit>
              <c:formatCode>General</c:formatCode>
              <c:ptCount val="1"/>
              <c:pt idx="0">
                <c:v>1</c:v>
              </c:pt>
            </c:numLit>
          </c:yVal>
          <c:smooth val="0"/>
          <c:extLst>
            <c:ext xmlns:c16="http://schemas.microsoft.com/office/drawing/2014/chart" uri="{C3380CC4-5D6E-409C-BE32-E72D297353CC}">
              <c16:uniqueId val="{00000002-D650-4B43-B0CB-40DA843799D3}"/>
            </c:ext>
          </c:extLst>
        </c:ser>
        <c:dLbls>
          <c:showLegendKey val="0"/>
          <c:showVal val="0"/>
          <c:showCatName val="0"/>
          <c:showSerName val="0"/>
          <c:showPercent val="0"/>
          <c:showBubbleSize val="0"/>
        </c:dLbls>
        <c:axId val="127655936"/>
        <c:axId val="127657856"/>
      </c:scatterChart>
      <c:valAx>
        <c:axId val="127655936"/>
        <c:scaling>
          <c:orientation val="minMax"/>
          <c:max val="109"/>
          <c:min val="0"/>
        </c:scaling>
        <c:delete val="0"/>
        <c:axPos val="b"/>
        <c:title>
          <c:tx>
            <c:rich>
              <a:bodyPr rot="0" vert="horz"/>
              <a:lstStyle/>
              <a:p>
                <a:pPr>
                  <a:defRPr b="0"/>
                </a:pPr>
                <a:r>
                  <a:rPr lang="en-GB" b="0"/>
                  <a:t>Time since randomisation (weeks)</a:t>
                </a:r>
              </a:p>
            </c:rich>
          </c:tx>
          <c:layout>
            <c:manualLayout>
              <c:xMode val="edge"/>
              <c:yMode val="edge"/>
              <c:x val="0.35099953462504901"/>
              <c:y val="0.68272945107489202"/>
            </c:manualLayout>
          </c:layout>
          <c:overlay val="0"/>
          <c:spPr>
            <a:noFill/>
            <a:ln>
              <a:noFill/>
            </a:ln>
            <a:effectLst/>
          </c:spPr>
        </c:title>
        <c:numFmt formatCode="General" sourceLinked="0"/>
        <c:majorTickMark val="out"/>
        <c:minorTickMark val="none"/>
        <c:tickLblPos val="low"/>
        <c:spPr>
          <a:noFill/>
          <a:ln w="19050" cap="flat" cmpd="sng" algn="ctr">
            <a:solidFill>
              <a:srgbClr val="001965"/>
            </a:solidFill>
            <a:round/>
          </a:ln>
          <a:effectLst/>
        </c:spPr>
        <c:txPr>
          <a:bodyPr rot="-60000000" vert="horz"/>
          <a:lstStyle/>
          <a:p>
            <a:pPr>
              <a:defRPr/>
            </a:pPr>
            <a:endParaRPr lang="cs-CZ"/>
          </a:p>
        </c:txPr>
        <c:crossAx val="127657856"/>
        <c:crossesAt val="0"/>
        <c:crossBetween val="midCat"/>
        <c:majorUnit val="8"/>
      </c:valAx>
      <c:valAx>
        <c:axId val="127657856"/>
        <c:scaling>
          <c:orientation val="minMax"/>
          <c:max val="15"/>
          <c:min val="0"/>
        </c:scaling>
        <c:delete val="0"/>
        <c:axPos val="l"/>
        <c:numFmt formatCode="General" sourceLinked="1"/>
        <c:majorTickMark val="out"/>
        <c:minorTickMark val="none"/>
        <c:tickLblPos val="nextTo"/>
        <c:spPr>
          <a:noFill/>
          <a:ln w="19050" cap="flat" cmpd="sng" algn="ctr">
            <a:solidFill>
              <a:srgbClr val="001965"/>
            </a:solidFill>
            <a:round/>
          </a:ln>
          <a:effectLst/>
        </c:spPr>
        <c:txPr>
          <a:bodyPr rot="-60000000" vert="horz"/>
          <a:lstStyle/>
          <a:p>
            <a:pPr>
              <a:defRPr/>
            </a:pPr>
            <a:endParaRPr lang="cs-CZ"/>
          </a:p>
        </c:txPr>
        <c:crossAx val="127655936"/>
        <c:crossesAt val="-25"/>
        <c:crossBetween val="midCat"/>
        <c:majorUnit val="5"/>
      </c:valAx>
      <c:spPr>
        <a:noFill/>
        <a:ln w="19050">
          <a:noFill/>
        </a:ln>
        <a:effectLst/>
      </c:spPr>
    </c:plotArea>
    <c:plotVisOnly val="1"/>
    <c:dispBlanksAs val="gap"/>
    <c:showDLblsOverMax val="0"/>
  </c:chart>
  <c:spPr>
    <a:noFill/>
    <a:ln>
      <a:noFill/>
    </a:ln>
    <a:effectLst/>
  </c:spPr>
  <c:txPr>
    <a:bodyPr/>
    <a:lstStyle/>
    <a:p>
      <a:pPr>
        <a:defRPr sz="1200"/>
      </a:pPr>
      <a:endParaRPr lang="cs-CZ"/>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299015492765276E-2"/>
          <c:y val="7.7094693276450604E-2"/>
          <c:w val="0.85860314724186904"/>
          <c:h val="0.51260294295133202"/>
        </c:manualLayout>
      </c:layout>
      <c:scatterChart>
        <c:scatterStyle val="lineMarker"/>
        <c:varyColors val="0"/>
        <c:ser>
          <c:idx val="2"/>
          <c:order val="0"/>
          <c:tx>
            <c:strRef>
              <c:f>Sheet1!$C$2</c:f>
              <c:strCache>
                <c:ptCount val="1"/>
                <c:pt idx="0">
                  <c:v>Placebo2</c:v>
                </c:pt>
              </c:strCache>
            </c:strRef>
          </c:tx>
          <c:spPr>
            <a:ln w="19050" cap="rnd">
              <a:solidFill>
                <a:schemeClr val="accent3"/>
              </a:solidFill>
              <a:round/>
            </a:ln>
            <a:effectLst/>
          </c:spPr>
          <c:marker>
            <c:symbol val="circle"/>
            <c:size val="5"/>
            <c:spPr>
              <a:noFill/>
              <a:ln w="9525">
                <a:noFill/>
              </a:ln>
              <a:effectLst/>
            </c:spPr>
          </c:marker>
          <c:xVal>
            <c:numRef>
              <c:f>Sheet1!$A$3:$A$107</c:f>
              <c:numCache>
                <c:formatCode>General</c:formatCode>
                <c:ptCount val="105"/>
                <c:pt idx="0">
                  <c:v>0</c:v>
                </c:pt>
                <c:pt idx="1">
                  <c:v>4.1428571428571441</c:v>
                </c:pt>
                <c:pt idx="2">
                  <c:v>4.7142857142857091</c:v>
                </c:pt>
                <c:pt idx="3">
                  <c:v>8.1428571428571281</c:v>
                </c:pt>
                <c:pt idx="4">
                  <c:v>15.857142857142859</c:v>
                </c:pt>
                <c:pt idx="5">
                  <c:v>16</c:v>
                </c:pt>
                <c:pt idx="6">
                  <c:v>16.142857142857139</c:v>
                </c:pt>
                <c:pt idx="7">
                  <c:v>16.285714285714221</c:v>
                </c:pt>
                <c:pt idx="8">
                  <c:v>16.42857142857142</c:v>
                </c:pt>
                <c:pt idx="9">
                  <c:v>16.57142857142858</c:v>
                </c:pt>
                <c:pt idx="10">
                  <c:v>29.42857142857142</c:v>
                </c:pt>
                <c:pt idx="11">
                  <c:v>30</c:v>
                </c:pt>
                <c:pt idx="12">
                  <c:v>30.14285714285716</c:v>
                </c:pt>
                <c:pt idx="13">
                  <c:v>31.14285714285716</c:v>
                </c:pt>
                <c:pt idx="14">
                  <c:v>32</c:v>
                </c:pt>
                <c:pt idx="15">
                  <c:v>34</c:v>
                </c:pt>
                <c:pt idx="16">
                  <c:v>38</c:v>
                </c:pt>
                <c:pt idx="17">
                  <c:v>38.285714285714278</c:v>
                </c:pt>
                <c:pt idx="18">
                  <c:v>43.142857142857153</c:v>
                </c:pt>
                <c:pt idx="19">
                  <c:v>43.85714285714279</c:v>
                </c:pt>
                <c:pt idx="20">
                  <c:v>44.142857142857153</c:v>
                </c:pt>
                <c:pt idx="21">
                  <c:v>44.285714285714278</c:v>
                </c:pt>
                <c:pt idx="22">
                  <c:v>44.428571428571452</c:v>
                </c:pt>
                <c:pt idx="23">
                  <c:v>44.571428571428498</c:v>
                </c:pt>
                <c:pt idx="24">
                  <c:v>44.85714285714279</c:v>
                </c:pt>
                <c:pt idx="25">
                  <c:v>45.142857142857153</c:v>
                </c:pt>
                <c:pt idx="26">
                  <c:v>49.142857142857153</c:v>
                </c:pt>
                <c:pt idx="27">
                  <c:v>52.571428571428498</c:v>
                </c:pt>
                <c:pt idx="28">
                  <c:v>55</c:v>
                </c:pt>
                <c:pt idx="29">
                  <c:v>55.142857142857153</c:v>
                </c:pt>
                <c:pt idx="30">
                  <c:v>55.714285714285673</c:v>
                </c:pt>
                <c:pt idx="31">
                  <c:v>56</c:v>
                </c:pt>
                <c:pt idx="32">
                  <c:v>58.142857142857153</c:v>
                </c:pt>
                <c:pt idx="33">
                  <c:v>68.142857142857025</c:v>
                </c:pt>
                <c:pt idx="34">
                  <c:v>74.57142857142847</c:v>
                </c:pt>
                <c:pt idx="35">
                  <c:v>78.142857142857025</c:v>
                </c:pt>
                <c:pt idx="36">
                  <c:v>79.714285714285694</c:v>
                </c:pt>
                <c:pt idx="37">
                  <c:v>80.142857142857025</c:v>
                </c:pt>
                <c:pt idx="38">
                  <c:v>80.285714285714306</c:v>
                </c:pt>
                <c:pt idx="39">
                  <c:v>80.857142857142819</c:v>
                </c:pt>
                <c:pt idx="40">
                  <c:v>81</c:v>
                </c:pt>
                <c:pt idx="41">
                  <c:v>81.142857142857025</c:v>
                </c:pt>
                <c:pt idx="42">
                  <c:v>81.428571428571374</c:v>
                </c:pt>
                <c:pt idx="43">
                  <c:v>92.142857142857025</c:v>
                </c:pt>
                <c:pt idx="44">
                  <c:v>94.142857142857025</c:v>
                </c:pt>
                <c:pt idx="45">
                  <c:v>106.8571428571429</c:v>
                </c:pt>
                <c:pt idx="46">
                  <c:v>107.5714285714286</c:v>
                </c:pt>
                <c:pt idx="47">
                  <c:v>109.1428571428571</c:v>
                </c:pt>
                <c:pt idx="48">
                  <c:v>0</c:v>
                </c:pt>
                <c:pt idx="49">
                  <c:v>0.14285714285714299</c:v>
                </c:pt>
                <c:pt idx="50">
                  <c:v>2.4285714285714279</c:v>
                </c:pt>
                <c:pt idx="51">
                  <c:v>10.285714285714301</c:v>
                </c:pt>
                <c:pt idx="52">
                  <c:v>12.71428571428571</c:v>
                </c:pt>
                <c:pt idx="53">
                  <c:v>15.71428571428571</c:v>
                </c:pt>
                <c:pt idx="54">
                  <c:v>15.857142857142859</c:v>
                </c:pt>
                <c:pt idx="55">
                  <c:v>16.142857142857139</c:v>
                </c:pt>
                <c:pt idx="56">
                  <c:v>16.285714285714221</c:v>
                </c:pt>
                <c:pt idx="57">
                  <c:v>16.42857142857142</c:v>
                </c:pt>
                <c:pt idx="58">
                  <c:v>16.57142857142858</c:v>
                </c:pt>
                <c:pt idx="59">
                  <c:v>16.71428571428573</c:v>
                </c:pt>
                <c:pt idx="60">
                  <c:v>16.857142857142861</c:v>
                </c:pt>
                <c:pt idx="61">
                  <c:v>17</c:v>
                </c:pt>
                <c:pt idx="62">
                  <c:v>17.42857142857142</c:v>
                </c:pt>
                <c:pt idx="63">
                  <c:v>17.857142857142861</c:v>
                </c:pt>
                <c:pt idx="64">
                  <c:v>24.285714285714221</c:v>
                </c:pt>
                <c:pt idx="65">
                  <c:v>27.42857142857142</c:v>
                </c:pt>
                <c:pt idx="66">
                  <c:v>28</c:v>
                </c:pt>
                <c:pt idx="67">
                  <c:v>28.714285714285719</c:v>
                </c:pt>
                <c:pt idx="68">
                  <c:v>28.85714285714284</c:v>
                </c:pt>
                <c:pt idx="69">
                  <c:v>29.85714285714284</c:v>
                </c:pt>
                <c:pt idx="70">
                  <c:v>30.14285714285716</c:v>
                </c:pt>
                <c:pt idx="71">
                  <c:v>30.285714285714221</c:v>
                </c:pt>
                <c:pt idx="72">
                  <c:v>31.14285714285716</c:v>
                </c:pt>
                <c:pt idx="73">
                  <c:v>32.85714285714279</c:v>
                </c:pt>
                <c:pt idx="74">
                  <c:v>33.142857142857153</c:v>
                </c:pt>
                <c:pt idx="75">
                  <c:v>39</c:v>
                </c:pt>
                <c:pt idx="76">
                  <c:v>42.142857142857153</c:v>
                </c:pt>
                <c:pt idx="77">
                  <c:v>43.285714285714278</c:v>
                </c:pt>
                <c:pt idx="78">
                  <c:v>44.142857142857153</c:v>
                </c:pt>
                <c:pt idx="79">
                  <c:v>44.428571428571452</c:v>
                </c:pt>
                <c:pt idx="80">
                  <c:v>45</c:v>
                </c:pt>
                <c:pt idx="81">
                  <c:v>45.285714285714278</c:v>
                </c:pt>
                <c:pt idx="82">
                  <c:v>46.285714285714278</c:v>
                </c:pt>
                <c:pt idx="83">
                  <c:v>46.571428571428498</c:v>
                </c:pt>
                <c:pt idx="84">
                  <c:v>46.714285714285722</c:v>
                </c:pt>
                <c:pt idx="85">
                  <c:v>54.142857142857153</c:v>
                </c:pt>
                <c:pt idx="86">
                  <c:v>55</c:v>
                </c:pt>
                <c:pt idx="87">
                  <c:v>55.142857142857153</c:v>
                </c:pt>
                <c:pt idx="88">
                  <c:v>56.142857142857153</c:v>
                </c:pt>
                <c:pt idx="89">
                  <c:v>56.571428571428498</c:v>
                </c:pt>
                <c:pt idx="90">
                  <c:v>57.142857142857153</c:v>
                </c:pt>
                <c:pt idx="91">
                  <c:v>58.142857142857153</c:v>
                </c:pt>
                <c:pt idx="92">
                  <c:v>60.571428571428498</c:v>
                </c:pt>
                <c:pt idx="93">
                  <c:v>61.285714285714313</c:v>
                </c:pt>
                <c:pt idx="94">
                  <c:v>69</c:v>
                </c:pt>
                <c:pt idx="95">
                  <c:v>78.142857142857025</c:v>
                </c:pt>
                <c:pt idx="96">
                  <c:v>79.142857142857025</c:v>
                </c:pt>
                <c:pt idx="97">
                  <c:v>79.857142857142819</c:v>
                </c:pt>
                <c:pt idx="98">
                  <c:v>80.142857142857025</c:v>
                </c:pt>
                <c:pt idx="99">
                  <c:v>80.285714285714306</c:v>
                </c:pt>
                <c:pt idx="100">
                  <c:v>81.142857142857025</c:v>
                </c:pt>
                <c:pt idx="101">
                  <c:v>81.428571428571374</c:v>
                </c:pt>
                <c:pt idx="102">
                  <c:v>81.857142857142819</c:v>
                </c:pt>
                <c:pt idx="103">
                  <c:v>83.142857142857025</c:v>
                </c:pt>
                <c:pt idx="104">
                  <c:v>92.285714285714306</c:v>
                </c:pt>
              </c:numCache>
            </c:numRef>
          </c:xVal>
          <c:yVal>
            <c:numRef>
              <c:f>Sheet1!$C$3:$C$107</c:f>
              <c:numCache>
                <c:formatCode>General</c:formatCode>
                <c:ptCount val="105"/>
                <c:pt idx="48">
                  <c:v>0</c:v>
                </c:pt>
                <c:pt idx="49">
                  <c:v>6.0642813826561399E-2</c:v>
                </c:pt>
                <c:pt idx="50">
                  <c:v>0.12128562765312299</c:v>
                </c:pt>
                <c:pt idx="51">
                  <c:v>0.182113102910342</c:v>
                </c:pt>
                <c:pt idx="52">
                  <c:v>0.24305198379989101</c:v>
                </c:pt>
                <c:pt idx="53">
                  <c:v>0.36515348850766299</c:v>
                </c:pt>
                <c:pt idx="54">
                  <c:v>0.48732985612967</c:v>
                </c:pt>
                <c:pt idx="55">
                  <c:v>1.5258291761362179</c:v>
                </c:pt>
                <c:pt idx="56">
                  <c:v>1.709207440899307</c:v>
                </c:pt>
                <c:pt idx="57">
                  <c:v>1.8314596468247399</c:v>
                </c:pt>
                <c:pt idx="58">
                  <c:v>2.0148379112850949</c:v>
                </c:pt>
                <c:pt idx="59">
                  <c:v>2.075964026125221</c:v>
                </c:pt>
                <c:pt idx="60">
                  <c:v>2.137090140965336</c:v>
                </c:pt>
                <c:pt idx="61">
                  <c:v>2.2593423468129101</c:v>
                </c:pt>
                <c:pt idx="62">
                  <c:v>2.3204684616679452</c:v>
                </c:pt>
                <c:pt idx="63">
                  <c:v>2.3815945765229731</c:v>
                </c:pt>
                <c:pt idx="64">
                  <c:v>2.443028437708294</c:v>
                </c:pt>
                <c:pt idx="65">
                  <c:v>2.5045010095811939</c:v>
                </c:pt>
                <c:pt idx="66">
                  <c:v>2.565973581454096</c:v>
                </c:pt>
                <c:pt idx="67">
                  <c:v>2.6274461533269959</c:v>
                </c:pt>
                <c:pt idx="68">
                  <c:v>2.7503912725880002</c:v>
                </c:pt>
                <c:pt idx="69">
                  <c:v>2.8733363918179928</c:v>
                </c:pt>
                <c:pt idx="70">
                  <c:v>3.0577540245009911</c:v>
                </c:pt>
                <c:pt idx="71">
                  <c:v>3.1807771545426018</c:v>
                </c:pt>
                <c:pt idx="72">
                  <c:v>3.2422887319539448</c:v>
                </c:pt>
                <c:pt idx="73">
                  <c:v>3.3039178474113</c:v>
                </c:pt>
                <c:pt idx="74">
                  <c:v>3.4271760533074032</c:v>
                </c:pt>
                <c:pt idx="75">
                  <c:v>3.4889233831965818</c:v>
                </c:pt>
                <c:pt idx="76">
                  <c:v>3.55067071308578</c:v>
                </c:pt>
                <c:pt idx="77">
                  <c:v>3.6124972062184129</c:v>
                </c:pt>
                <c:pt idx="78">
                  <c:v>3.9216292750508188</c:v>
                </c:pt>
                <c:pt idx="79">
                  <c:v>3.983455768438815</c:v>
                </c:pt>
                <c:pt idx="80">
                  <c:v>4.1071884028630876</c:v>
                </c:pt>
                <c:pt idx="81">
                  <c:v>4.230921037254233</c:v>
                </c:pt>
                <c:pt idx="82">
                  <c:v>4.2927873673335268</c:v>
                </c:pt>
                <c:pt idx="83">
                  <c:v>4.3546536974128154</c:v>
                </c:pt>
                <c:pt idx="84">
                  <c:v>4.416520027492111</c:v>
                </c:pt>
                <c:pt idx="85">
                  <c:v>4.4785872222794607</c:v>
                </c:pt>
                <c:pt idx="86">
                  <c:v>4.5406544170667864</c:v>
                </c:pt>
                <c:pt idx="87">
                  <c:v>4.6027216118541423</c:v>
                </c:pt>
                <c:pt idx="88">
                  <c:v>4.7889231076303709</c:v>
                </c:pt>
                <c:pt idx="89">
                  <c:v>4.9130574709616122</c:v>
                </c:pt>
                <c:pt idx="90">
                  <c:v>4.9751652061210008</c:v>
                </c:pt>
                <c:pt idx="91">
                  <c:v>5.0373135611202704</c:v>
                </c:pt>
                <c:pt idx="92">
                  <c:v>5.0996250351615302</c:v>
                </c:pt>
                <c:pt idx="93">
                  <c:v>5.161936509202774</c:v>
                </c:pt>
                <c:pt idx="94">
                  <c:v>5.224701607475974</c:v>
                </c:pt>
                <c:pt idx="95">
                  <c:v>5.2877590249028081</c:v>
                </c:pt>
                <c:pt idx="96">
                  <c:v>5.3508584526010701</c:v>
                </c:pt>
                <c:pt idx="97">
                  <c:v>5.4139999746473757</c:v>
                </c:pt>
                <c:pt idx="98">
                  <c:v>5.603424445916005</c:v>
                </c:pt>
                <c:pt idx="99">
                  <c:v>5.6665659680257479</c:v>
                </c:pt>
                <c:pt idx="100">
                  <c:v>5.9193009968410149</c:v>
                </c:pt>
                <c:pt idx="101">
                  <c:v>5.9824848108122417</c:v>
                </c:pt>
                <c:pt idx="102">
                  <c:v>6.0457111155796897</c:v>
                </c:pt>
                <c:pt idx="103">
                  <c:v>6.1090226310004612</c:v>
                </c:pt>
                <c:pt idx="104">
                  <c:v>6.1727207160540596</c:v>
                </c:pt>
              </c:numCache>
            </c:numRef>
          </c:yVal>
          <c:smooth val="0"/>
          <c:extLst>
            <c:ext xmlns:c16="http://schemas.microsoft.com/office/drawing/2014/chart" uri="{C3380CC4-5D6E-409C-BE32-E72D297353CC}">
              <c16:uniqueId val="{00000000-70FE-4E6E-A808-36D20CDF3CCF}"/>
            </c:ext>
          </c:extLst>
        </c:ser>
        <c:ser>
          <c:idx val="1"/>
          <c:order val="1"/>
          <c:tx>
            <c:strRef>
              <c:f>Sheet1!$B$2</c:f>
              <c:strCache>
                <c:ptCount val="1"/>
                <c:pt idx="0">
                  <c:v>Semaglutide</c:v>
                </c:pt>
              </c:strCache>
            </c:strRef>
          </c:tx>
          <c:spPr>
            <a:ln w="19050" cap="rnd">
              <a:solidFill>
                <a:srgbClr val="001965"/>
              </a:solidFill>
              <a:round/>
            </a:ln>
            <a:effectLst/>
          </c:spPr>
          <c:marker>
            <c:symbol val="square"/>
            <c:size val="5"/>
            <c:spPr>
              <a:noFill/>
              <a:ln w="9525">
                <a:noFill/>
              </a:ln>
              <a:effectLst/>
            </c:spPr>
          </c:marker>
          <c:xVal>
            <c:numRef>
              <c:f>Sheet1!$A$3:$A$107</c:f>
              <c:numCache>
                <c:formatCode>General</c:formatCode>
                <c:ptCount val="105"/>
                <c:pt idx="0">
                  <c:v>0</c:v>
                </c:pt>
                <c:pt idx="1">
                  <c:v>4.1428571428571441</c:v>
                </c:pt>
                <c:pt idx="2">
                  <c:v>4.7142857142857091</c:v>
                </c:pt>
                <c:pt idx="3">
                  <c:v>8.1428571428571281</c:v>
                </c:pt>
                <c:pt idx="4">
                  <c:v>15.857142857142859</c:v>
                </c:pt>
                <c:pt idx="5">
                  <c:v>16</c:v>
                </c:pt>
                <c:pt idx="6">
                  <c:v>16.142857142857139</c:v>
                </c:pt>
                <c:pt idx="7">
                  <c:v>16.285714285714221</c:v>
                </c:pt>
                <c:pt idx="8">
                  <c:v>16.42857142857142</c:v>
                </c:pt>
                <c:pt idx="9">
                  <c:v>16.57142857142858</c:v>
                </c:pt>
                <c:pt idx="10">
                  <c:v>29.42857142857142</c:v>
                </c:pt>
                <c:pt idx="11">
                  <c:v>30</c:v>
                </c:pt>
                <c:pt idx="12">
                  <c:v>30.14285714285716</c:v>
                </c:pt>
                <c:pt idx="13">
                  <c:v>31.14285714285716</c:v>
                </c:pt>
                <c:pt idx="14">
                  <c:v>32</c:v>
                </c:pt>
                <c:pt idx="15">
                  <c:v>34</c:v>
                </c:pt>
                <c:pt idx="16">
                  <c:v>38</c:v>
                </c:pt>
                <c:pt idx="17">
                  <c:v>38.285714285714278</c:v>
                </c:pt>
                <c:pt idx="18">
                  <c:v>43.142857142857153</c:v>
                </c:pt>
                <c:pt idx="19">
                  <c:v>43.85714285714279</c:v>
                </c:pt>
                <c:pt idx="20">
                  <c:v>44.142857142857153</c:v>
                </c:pt>
                <c:pt idx="21">
                  <c:v>44.285714285714278</c:v>
                </c:pt>
                <c:pt idx="22">
                  <c:v>44.428571428571452</c:v>
                </c:pt>
                <c:pt idx="23">
                  <c:v>44.571428571428498</c:v>
                </c:pt>
                <c:pt idx="24">
                  <c:v>44.85714285714279</c:v>
                </c:pt>
                <c:pt idx="25">
                  <c:v>45.142857142857153</c:v>
                </c:pt>
                <c:pt idx="26">
                  <c:v>49.142857142857153</c:v>
                </c:pt>
                <c:pt idx="27">
                  <c:v>52.571428571428498</c:v>
                </c:pt>
                <c:pt idx="28">
                  <c:v>55</c:v>
                </c:pt>
                <c:pt idx="29">
                  <c:v>55.142857142857153</c:v>
                </c:pt>
                <c:pt idx="30">
                  <c:v>55.714285714285673</c:v>
                </c:pt>
                <c:pt idx="31">
                  <c:v>56</c:v>
                </c:pt>
                <c:pt idx="32">
                  <c:v>58.142857142857153</c:v>
                </c:pt>
                <c:pt idx="33">
                  <c:v>68.142857142857025</c:v>
                </c:pt>
                <c:pt idx="34">
                  <c:v>74.57142857142847</c:v>
                </c:pt>
                <c:pt idx="35">
                  <c:v>78.142857142857025</c:v>
                </c:pt>
                <c:pt idx="36">
                  <c:v>79.714285714285694</c:v>
                </c:pt>
                <c:pt idx="37">
                  <c:v>80.142857142857025</c:v>
                </c:pt>
                <c:pt idx="38">
                  <c:v>80.285714285714306</c:v>
                </c:pt>
                <c:pt idx="39">
                  <c:v>80.857142857142819</c:v>
                </c:pt>
                <c:pt idx="40">
                  <c:v>81</c:v>
                </c:pt>
                <c:pt idx="41">
                  <c:v>81.142857142857025</c:v>
                </c:pt>
                <c:pt idx="42">
                  <c:v>81.428571428571374</c:v>
                </c:pt>
                <c:pt idx="43">
                  <c:v>92.142857142857025</c:v>
                </c:pt>
                <c:pt idx="44">
                  <c:v>94.142857142857025</c:v>
                </c:pt>
                <c:pt idx="45">
                  <c:v>106.8571428571429</c:v>
                </c:pt>
                <c:pt idx="46">
                  <c:v>107.5714285714286</c:v>
                </c:pt>
                <c:pt idx="47">
                  <c:v>109.1428571428571</c:v>
                </c:pt>
                <c:pt idx="48">
                  <c:v>0</c:v>
                </c:pt>
                <c:pt idx="49">
                  <c:v>0.14285714285714299</c:v>
                </c:pt>
                <c:pt idx="50">
                  <c:v>2.4285714285714279</c:v>
                </c:pt>
                <c:pt idx="51">
                  <c:v>10.285714285714301</c:v>
                </c:pt>
                <c:pt idx="52">
                  <c:v>12.71428571428571</c:v>
                </c:pt>
                <c:pt idx="53">
                  <c:v>15.71428571428571</c:v>
                </c:pt>
                <c:pt idx="54">
                  <c:v>15.857142857142859</c:v>
                </c:pt>
                <c:pt idx="55">
                  <c:v>16.142857142857139</c:v>
                </c:pt>
                <c:pt idx="56">
                  <c:v>16.285714285714221</c:v>
                </c:pt>
                <c:pt idx="57">
                  <c:v>16.42857142857142</c:v>
                </c:pt>
                <c:pt idx="58">
                  <c:v>16.57142857142858</c:v>
                </c:pt>
                <c:pt idx="59">
                  <c:v>16.71428571428573</c:v>
                </c:pt>
                <c:pt idx="60">
                  <c:v>16.857142857142861</c:v>
                </c:pt>
                <c:pt idx="61">
                  <c:v>17</c:v>
                </c:pt>
                <c:pt idx="62">
                  <c:v>17.42857142857142</c:v>
                </c:pt>
                <c:pt idx="63">
                  <c:v>17.857142857142861</c:v>
                </c:pt>
                <c:pt idx="64">
                  <c:v>24.285714285714221</c:v>
                </c:pt>
                <c:pt idx="65">
                  <c:v>27.42857142857142</c:v>
                </c:pt>
                <c:pt idx="66">
                  <c:v>28</c:v>
                </c:pt>
                <c:pt idx="67">
                  <c:v>28.714285714285719</c:v>
                </c:pt>
                <c:pt idx="68">
                  <c:v>28.85714285714284</c:v>
                </c:pt>
                <c:pt idx="69">
                  <c:v>29.85714285714284</c:v>
                </c:pt>
                <c:pt idx="70">
                  <c:v>30.14285714285716</c:v>
                </c:pt>
                <c:pt idx="71">
                  <c:v>30.285714285714221</c:v>
                </c:pt>
                <c:pt idx="72">
                  <c:v>31.14285714285716</c:v>
                </c:pt>
                <c:pt idx="73">
                  <c:v>32.85714285714279</c:v>
                </c:pt>
                <c:pt idx="74">
                  <c:v>33.142857142857153</c:v>
                </c:pt>
                <c:pt idx="75">
                  <c:v>39</c:v>
                </c:pt>
                <c:pt idx="76">
                  <c:v>42.142857142857153</c:v>
                </c:pt>
                <c:pt idx="77">
                  <c:v>43.285714285714278</c:v>
                </c:pt>
                <c:pt idx="78">
                  <c:v>44.142857142857153</c:v>
                </c:pt>
                <c:pt idx="79">
                  <c:v>44.428571428571452</c:v>
                </c:pt>
                <c:pt idx="80">
                  <c:v>45</c:v>
                </c:pt>
                <c:pt idx="81">
                  <c:v>45.285714285714278</c:v>
                </c:pt>
                <c:pt idx="82">
                  <c:v>46.285714285714278</c:v>
                </c:pt>
                <c:pt idx="83">
                  <c:v>46.571428571428498</c:v>
                </c:pt>
                <c:pt idx="84">
                  <c:v>46.714285714285722</c:v>
                </c:pt>
                <c:pt idx="85">
                  <c:v>54.142857142857153</c:v>
                </c:pt>
                <c:pt idx="86">
                  <c:v>55</c:v>
                </c:pt>
                <c:pt idx="87">
                  <c:v>55.142857142857153</c:v>
                </c:pt>
                <c:pt idx="88">
                  <c:v>56.142857142857153</c:v>
                </c:pt>
                <c:pt idx="89">
                  <c:v>56.571428571428498</c:v>
                </c:pt>
                <c:pt idx="90">
                  <c:v>57.142857142857153</c:v>
                </c:pt>
                <c:pt idx="91">
                  <c:v>58.142857142857153</c:v>
                </c:pt>
                <c:pt idx="92">
                  <c:v>60.571428571428498</c:v>
                </c:pt>
                <c:pt idx="93">
                  <c:v>61.285714285714313</c:v>
                </c:pt>
                <c:pt idx="94">
                  <c:v>69</c:v>
                </c:pt>
                <c:pt idx="95">
                  <c:v>78.142857142857025</c:v>
                </c:pt>
                <c:pt idx="96">
                  <c:v>79.142857142857025</c:v>
                </c:pt>
                <c:pt idx="97">
                  <c:v>79.857142857142819</c:v>
                </c:pt>
                <c:pt idx="98">
                  <c:v>80.142857142857025</c:v>
                </c:pt>
                <c:pt idx="99">
                  <c:v>80.285714285714306</c:v>
                </c:pt>
                <c:pt idx="100">
                  <c:v>81.142857142857025</c:v>
                </c:pt>
                <c:pt idx="101">
                  <c:v>81.428571428571374</c:v>
                </c:pt>
                <c:pt idx="102">
                  <c:v>81.857142857142819</c:v>
                </c:pt>
                <c:pt idx="103">
                  <c:v>83.142857142857025</c:v>
                </c:pt>
                <c:pt idx="104">
                  <c:v>92.285714285714306</c:v>
                </c:pt>
              </c:numCache>
            </c:numRef>
          </c:xVal>
          <c:yVal>
            <c:numRef>
              <c:f>Sheet1!$B$3:$B$107</c:f>
              <c:numCache>
                <c:formatCode>General</c:formatCode>
                <c:ptCount val="105"/>
                <c:pt idx="0">
                  <c:v>0</c:v>
                </c:pt>
                <c:pt idx="1">
                  <c:v>6.0901339829477798E-2</c:v>
                </c:pt>
                <c:pt idx="2">
                  <c:v>0.121802679658956</c:v>
                </c:pt>
                <c:pt idx="3">
                  <c:v>0.18277838009872499</c:v>
                </c:pt>
                <c:pt idx="4">
                  <c:v>0.24397839335433799</c:v>
                </c:pt>
                <c:pt idx="5">
                  <c:v>0.305178406609941</c:v>
                </c:pt>
                <c:pt idx="6">
                  <c:v>0.61117811308705206</c:v>
                </c:pt>
                <c:pt idx="7">
                  <c:v>0.85597798158524296</c:v>
                </c:pt>
                <c:pt idx="8">
                  <c:v>0.91721579629705496</c:v>
                </c:pt>
                <c:pt idx="9">
                  <c:v>0.97845361100886696</c:v>
                </c:pt>
                <c:pt idx="10">
                  <c:v>1.0398432863895191</c:v>
                </c:pt>
                <c:pt idx="11">
                  <c:v>1.1626226135408311</c:v>
                </c:pt>
                <c:pt idx="12">
                  <c:v>1.2854019406627999</c:v>
                </c:pt>
                <c:pt idx="13">
                  <c:v>1.3468298174887701</c:v>
                </c:pt>
                <c:pt idx="14">
                  <c:v>1.408295967135198</c:v>
                </c:pt>
                <c:pt idx="15">
                  <c:v>1.469838853547722</c:v>
                </c:pt>
                <c:pt idx="16">
                  <c:v>1.5315358862004751</c:v>
                </c:pt>
                <c:pt idx="17">
                  <c:v>1.5932329188532259</c:v>
                </c:pt>
                <c:pt idx="18">
                  <c:v>1.655046214758471</c:v>
                </c:pt>
                <c:pt idx="19">
                  <c:v>1.716859510663715</c:v>
                </c:pt>
                <c:pt idx="20">
                  <c:v>1.9641124989267851</c:v>
                </c:pt>
                <c:pt idx="21">
                  <c:v>2.025925794955207</c:v>
                </c:pt>
                <c:pt idx="22">
                  <c:v>2.0877390909836322</c:v>
                </c:pt>
                <c:pt idx="23">
                  <c:v>2.1495523870120441</c:v>
                </c:pt>
                <c:pt idx="24">
                  <c:v>2.2113656830404671</c:v>
                </c:pt>
                <c:pt idx="25">
                  <c:v>2.273178979068879</c:v>
                </c:pt>
                <c:pt idx="26">
                  <c:v>2.33503139743656</c:v>
                </c:pt>
                <c:pt idx="27">
                  <c:v>2.3969622589473878</c:v>
                </c:pt>
                <c:pt idx="28">
                  <c:v>2.458932441640115</c:v>
                </c:pt>
                <c:pt idx="29">
                  <c:v>2.5209026243328552</c:v>
                </c:pt>
                <c:pt idx="30">
                  <c:v>2.5828728070255931</c:v>
                </c:pt>
                <c:pt idx="31">
                  <c:v>2.6448429897183221</c:v>
                </c:pt>
                <c:pt idx="32">
                  <c:v>2.7068921656330902</c:v>
                </c:pt>
                <c:pt idx="33">
                  <c:v>2.7691796866538101</c:v>
                </c:pt>
                <c:pt idx="34">
                  <c:v>2.8318688035547428</c:v>
                </c:pt>
                <c:pt idx="35">
                  <c:v>3.0204226564103158</c:v>
                </c:pt>
                <c:pt idx="36">
                  <c:v>3.083314729914588</c:v>
                </c:pt>
                <c:pt idx="37">
                  <c:v>3.1462068034188571</c:v>
                </c:pt>
                <c:pt idx="38">
                  <c:v>3.2719909239257832</c:v>
                </c:pt>
                <c:pt idx="39">
                  <c:v>3.3349239161678641</c:v>
                </c:pt>
                <c:pt idx="40">
                  <c:v>3.3978569084099348</c:v>
                </c:pt>
                <c:pt idx="41">
                  <c:v>3.4607899006520162</c:v>
                </c:pt>
                <c:pt idx="42">
                  <c:v>3.523722892894098</c:v>
                </c:pt>
                <c:pt idx="43">
                  <c:v>3.5868618177024252</c:v>
                </c:pt>
                <c:pt idx="44">
                  <c:v>3.6500007425107408</c:v>
                </c:pt>
                <c:pt idx="45">
                  <c:v>3.7136401079383989</c:v>
                </c:pt>
                <c:pt idx="46">
                  <c:v>3.7774059091914221</c:v>
                </c:pt>
                <c:pt idx="47">
                  <c:v>3.8411717104444469</c:v>
                </c:pt>
              </c:numCache>
            </c:numRef>
          </c:yVal>
          <c:smooth val="0"/>
          <c:extLst>
            <c:ext xmlns:c16="http://schemas.microsoft.com/office/drawing/2014/chart" uri="{C3380CC4-5D6E-409C-BE32-E72D297353CC}">
              <c16:uniqueId val="{00000001-70FE-4E6E-A808-36D20CDF3CCF}"/>
            </c:ext>
          </c:extLst>
        </c:ser>
        <c:ser>
          <c:idx val="0"/>
          <c:order val="2"/>
          <c:tx>
            <c:strRef>
              <c:f>Sheet1!$D$2</c:f>
              <c:strCache>
                <c:ptCount val="1"/>
                <c:pt idx="0">
                  <c:v>Placebo</c:v>
                </c:pt>
              </c:strCache>
            </c:strRef>
          </c:tx>
          <c:spPr>
            <a:ln w="19050" cap="rnd">
              <a:solidFill>
                <a:srgbClr val="82786F"/>
              </a:solidFill>
              <a:round/>
            </a:ln>
            <a:effectLst/>
          </c:spPr>
          <c:marker>
            <c:symbol val="none"/>
          </c:marker>
          <c:xVal>
            <c:numRef>
              <c:f>Sheet1!$D$4:$D$7</c:f>
              <c:numCache>
                <c:formatCode>General</c:formatCode>
                <c:ptCount val="4"/>
              </c:numCache>
            </c:numRef>
          </c:xVal>
          <c:yVal>
            <c:numLit>
              <c:formatCode>General</c:formatCode>
              <c:ptCount val="1"/>
              <c:pt idx="0">
                <c:v>1</c:v>
              </c:pt>
            </c:numLit>
          </c:yVal>
          <c:smooth val="0"/>
          <c:extLst>
            <c:ext xmlns:c16="http://schemas.microsoft.com/office/drawing/2014/chart" uri="{C3380CC4-5D6E-409C-BE32-E72D297353CC}">
              <c16:uniqueId val="{00000002-70FE-4E6E-A808-36D20CDF3CCF}"/>
            </c:ext>
          </c:extLst>
        </c:ser>
        <c:dLbls>
          <c:showLegendKey val="0"/>
          <c:showVal val="0"/>
          <c:showCatName val="0"/>
          <c:showSerName val="0"/>
          <c:showPercent val="0"/>
          <c:showBubbleSize val="0"/>
        </c:dLbls>
        <c:axId val="127076992"/>
        <c:axId val="127226624"/>
      </c:scatterChart>
      <c:valAx>
        <c:axId val="127076992"/>
        <c:scaling>
          <c:orientation val="minMax"/>
          <c:max val="109"/>
          <c:min val="0"/>
        </c:scaling>
        <c:delete val="0"/>
        <c:axPos val="b"/>
        <c:title>
          <c:tx>
            <c:rich>
              <a:bodyPr rot="0" vert="horz"/>
              <a:lstStyle/>
              <a:p>
                <a:pPr>
                  <a:defRPr b="0"/>
                </a:pPr>
                <a:r>
                  <a:rPr lang="en-GB" b="0"/>
                  <a:t>Weeks since randomisation</a:t>
                </a:r>
              </a:p>
            </c:rich>
          </c:tx>
          <c:layout>
            <c:manualLayout>
              <c:xMode val="edge"/>
              <c:yMode val="edge"/>
              <c:x val="0.42294241645436476"/>
              <c:y val="0.66309039711677398"/>
            </c:manualLayout>
          </c:layout>
          <c:overlay val="0"/>
          <c:spPr>
            <a:noFill/>
            <a:ln>
              <a:noFill/>
            </a:ln>
            <a:effectLst/>
          </c:spPr>
        </c:title>
        <c:numFmt formatCode="General" sourceLinked="0"/>
        <c:majorTickMark val="out"/>
        <c:minorTickMark val="none"/>
        <c:tickLblPos val="low"/>
        <c:spPr>
          <a:noFill/>
          <a:ln w="19050" cap="flat" cmpd="sng" algn="ctr">
            <a:solidFill>
              <a:srgbClr val="001965"/>
            </a:solidFill>
            <a:round/>
          </a:ln>
          <a:effectLst/>
        </c:spPr>
        <c:txPr>
          <a:bodyPr rot="-60000000" vert="horz"/>
          <a:lstStyle/>
          <a:p>
            <a:pPr>
              <a:defRPr/>
            </a:pPr>
            <a:endParaRPr lang="cs-CZ"/>
          </a:p>
        </c:txPr>
        <c:crossAx val="127226624"/>
        <c:crossesAt val="0"/>
        <c:crossBetween val="midCat"/>
        <c:majorUnit val="8"/>
      </c:valAx>
      <c:valAx>
        <c:axId val="127226624"/>
        <c:scaling>
          <c:orientation val="minMax"/>
          <c:max val="8"/>
          <c:min val="0"/>
        </c:scaling>
        <c:delete val="0"/>
        <c:axPos val="l"/>
        <c:title>
          <c:tx>
            <c:rich>
              <a:bodyPr rot="-5400000" vert="horz"/>
              <a:lstStyle/>
              <a:p>
                <a:pPr>
                  <a:defRPr b="0"/>
                </a:pPr>
                <a:r>
                  <a:rPr lang="en-GB" b="0"/>
                  <a:t>Subjects with an event (%)</a:t>
                </a:r>
              </a:p>
            </c:rich>
          </c:tx>
          <c:layout>
            <c:manualLayout>
              <c:xMode val="edge"/>
              <c:yMode val="edge"/>
              <c:x val="2.0680940955168356E-2"/>
              <c:y val="0.11696435744710962"/>
            </c:manualLayout>
          </c:layout>
          <c:overlay val="0"/>
          <c:spPr>
            <a:noFill/>
            <a:ln>
              <a:noFill/>
            </a:ln>
            <a:effectLst/>
          </c:spPr>
        </c:title>
        <c:numFmt formatCode="General" sourceLinked="1"/>
        <c:majorTickMark val="out"/>
        <c:minorTickMark val="none"/>
        <c:tickLblPos val="nextTo"/>
        <c:spPr>
          <a:noFill/>
          <a:ln w="19050" cap="flat" cmpd="sng" algn="ctr">
            <a:solidFill>
              <a:srgbClr val="001965"/>
            </a:solidFill>
            <a:round/>
          </a:ln>
          <a:effectLst/>
        </c:spPr>
        <c:txPr>
          <a:bodyPr rot="-60000000" vert="horz"/>
          <a:lstStyle/>
          <a:p>
            <a:pPr>
              <a:defRPr/>
            </a:pPr>
            <a:endParaRPr lang="cs-CZ"/>
          </a:p>
        </c:txPr>
        <c:crossAx val="127076992"/>
        <c:crossesAt val="-25"/>
        <c:crossBetween val="midCat"/>
        <c:majorUnit val="2"/>
      </c:valAx>
      <c:spPr>
        <a:noFill/>
        <a:ln w="19050">
          <a:noFill/>
        </a:ln>
        <a:effectLst/>
      </c:spPr>
    </c:plotArea>
    <c:plotVisOnly val="1"/>
    <c:dispBlanksAs val="gap"/>
    <c:showDLblsOverMax val="0"/>
  </c:chart>
  <c:spPr>
    <a:noFill/>
    <a:ln>
      <a:noFill/>
    </a:ln>
    <a:effectLst/>
  </c:spPr>
  <c:txPr>
    <a:bodyPr/>
    <a:lstStyle/>
    <a:p>
      <a:pPr>
        <a:defRPr sz="1200"/>
      </a:pPr>
      <a:endParaRPr lang="cs-CZ"/>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EED93C-5DE0-43D0-BBDD-02AD12817EB2}" type="doc">
      <dgm:prSet loTypeId="urn:microsoft.com/office/officeart/2005/8/layout/pyramid1" loCatId="pyramid" qsTypeId="urn:microsoft.com/office/officeart/2005/8/quickstyle/3d1" qsCatId="3D" csTypeId="urn:microsoft.com/office/officeart/2005/8/colors/accent1_2#1" csCatId="accent1" phldr="1"/>
      <dgm:spPr/>
    </dgm:pt>
    <dgm:pt modelId="{DCEC8937-AE1E-4104-B3F6-1347967E1BB0}">
      <dgm:prSet phldrT="[Text]" custT="1"/>
      <dgm:spPr>
        <a:solidFill>
          <a:srgbClr val="002060"/>
        </a:solidFill>
      </dgm:spPr>
      <dgm:t>
        <a:bodyPr/>
        <a:lstStyle/>
        <a:p>
          <a:endParaRPr lang="en-GB" sz="800" b="1" dirty="0">
            <a:solidFill>
              <a:schemeClr val="accent2"/>
            </a:solidFill>
            <a:ea typeface="MS PGothic" pitchFamily="34" charset="-128"/>
          </a:endParaRPr>
        </a:p>
      </dgm:t>
    </dgm:pt>
    <dgm:pt modelId="{C7FCBA2B-4C3A-4F59-B6F7-97666A6E7BDF}" type="parTrans" cxnId="{DBF2E318-F6EC-47F3-B151-814BB6A24507}">
      <dgm:prSet/>
      <dgm:spPr/>
      <dgm:t>
        <a:bodyPr/>
        <a:lstStyle/>
        <a:p>
          <a:endParaRPr lang="en-GB"/>
        </a:p>
      </dgm:t>
    </dgm:pt>
    <dgm:pt modelId="{6AF6DA6A-8B93-44B3-9156-5AAA6DDA2A57}" type="sibTrans" cxnId="{DBF2E318-F6EC-47F3-B151-814BB6A24507}">
      <dgm:prSet/>
      <dgm:spPr/>
      <dgm:t>
        <a:bodyPr/>
        <a:lstStyle/>
        <a:p>
          <a:endParaRPr lang="en-GB"/>
        </a:p>
      </dgm:t>
    </dgm:pt>
    <dgm:pt modelId="{1F1D8553-8B6D-43C6-9BD3-5C4B1277EACD}">
      <dgm:prSet phldrT="[Text]" custT="1"/>
      <dgm:spPr>
        <a:solidFill>
          <a:schemeClr val="tx2">
            <a:lumMod val="20000"/>
            <a:lumOff val="80000"/>
          </a:schemeClr>
        </a:solidFill>
      </dgm:spPr>
      <dgm:t>
        <a:bodyPr/>
        <a:lstStyle/>
        <a:p>
          <a:endParaRPr lang="en-GB" sz="700" b="1" dirty="0">
            <a:solidFill>
              <a:schemeClr val="accent2"/>
            </a:solidFill>
          </a:endParaRPr>
        </a:p>
      </dgm:t>
    </dgm:pt>
    <dgm:pt modelId="{6CD5E61F-20BC-49CF-A6C6-A16F8CC28663}" type="parTrans" cxnId="{70DAA0B3-1618-485F-B34A-6CD911021C0F}">
      <dgm:prSet/>
      <dgm:spPr/>
      <dgm:t>
        <a:bodyPr/>
        <a:lstStyle/>
        <a:p>
          <a:endParaRPr lang="en-GB"/>
        </a:p>
      </dgm:t>
    </dgm:pt>
    <dgm:pt modelId="{37420C55-4E4F-4724-AF91-FCB94C31959F}" type="sibTrans" cxnId="{70DAA0B3-1618-485F-B34A-6CD911021C0F}">
      <dgm:prSet/>
      <dgm:spPr/>
      <dgm:t>
        <a:bodyPr/>
        <a:lstStyle/>
        <a:p>
          <a:endParaRPr lang="en-GB"/>
        </a:p>
      </dgm:t>
    </dgm:pt>
    <dgm:pt modelId="{2A8D32F8-B24A-4B5E-AE03-14743A711BF0}">
      <dgm:prSet phldrT="[Text]" custT="1"/>
      <dgm:spPr>
        <a:solidFill>
          <a:schemeClr val="tx2">
            <a:lumMod val="20000"/>
            <a:lumOff val="80000"/>
          </a:schemeClr>
        </a:solidFill>
      </dgm:spPr>
      <dgm:t>
        <a:bodyPr/>
        <a:lstStyle/>
        <a:p>
          <a:endParaRPr lang="en-GB" sz="700" b="1" dirty="0">
            <a:solidFill>
              <a:schemeClr val="accent2"/>
            </a:solidFill>
          </a:endParaRPr>
        </a:p>
      </dgm:t>
    </dgm:pt>
    <dgm:pt modelId="{C3029D68-FD03-4CC6-9944-C7CBA5E88659}" type="parTrans" cxnId="{30A8F9A3-5F64-406D-BF4E-D39A2AEDED56}">
      <dgm:prSet/>
      <dgm:spPr/>
      <dgm:t>
        <a:bodyPr/>
        <a:lstStyle/>
        <a:p>
          <a:endParaRPr lang="en-GB"/>
        </a:p>
      </dgm:t>
    </dgm:pt>
    <dgm:pt modelId="{22BDC1DF-1252-48CA-B410-7E89334901E4}" type="sibTrans" cxnId="{30A8F9A3-5F64-406D-BF4E-D39A2AEDED56}">
      <dgm:prSet/>
      <dgm:spPr/>
      <dgm:t>
        <a:bodyPr/>
        <a:lstStyle/>
        <a:p>
          <a:endParaRPr lang="en-GB"/>
        </a:p>
      </dgm:t>
    </dgm:pt>
    <dgm:pt modelId="{2639B79F-C5E3-4C8D-BBBA-8DDFC54AC3F9}" type="pres">
      <dgm:prSet presAssocID="{C3EED93C-5DE0-43D0-BBDD-02AD12817EB2}" presName="Name0" presStyleCnt="0">
        <dgm:presLayoutVars>
          <dgm:dir/>
          <dgm:animLvl val="lvl"/>
          <dgm:resizeHandles val="exact"/>
        </dgm:presLayoutVars>
      </dgm:prSet>
      <dgm:spPr/>
    </dgm:pt>
    <dgm:pt modelId="{2BADDD82-6CE3-4D34-A9CB-F9DDE2A20411}" type="pres">
      <dgm:prSet presAssocID="{DCEC8937-AE1E-4104-B3F6-1347967E1BB0}" presName="Name8" presStyleCnt="0"/>
      <dgm:spPr/>
    </dgm:pt>
    <dgm:pt modelId="{BB4E7D41-1448-4AC2-AC5E-29BDC4C79900}" type="pres">
      <dgm:prSet presAssocID="{DCEC8937-AE1E-4104-B3F6-1347967E1BB0}" presName="level" presStyleLbl="node1" presStyleIdx="0" presStyleCnt="3" custAng="0" custLinFactNeighborY="-4856">
        <dgm:presLayoutVars>
          <dgm:chMax val="1"/>
          <dgm:bulletEnabled val="1"/>
        </dgm:presLayoutVars>
      </dgm:prSet>
      <dgm:spPr/>
    </dgm:pt>
    <dgm:pt modelId="{EE8CA35B-3C5D-42E6-8121-8171B37FA949}" type="pres">
      <dgm:prSet presAssocID="{DCEC8937-AE1E-4104-B3F6-1347967E1BB0}" presName="levelTx" presStyleLbl="revTx" presStyleIdx="0" presStyleCnt="0">
        <dgm:presLayoutVars>
          <dgm:chMax val="1"/>
          <dgm:bulletEnabled val="1"/>
        </dgm:presLayoutVars>
      </dgm:prSet>
      <dgm:spPr/>
    </dgm:pt>
    <dgm:pt modelId="{677D6330-F1C0-4250-81DB-BBC1F9FBE6D3}" type="pres">
      <dgm:prSet presAssocID="{1F1D8553-8B6D-43C6-9BD3-5C4B1277EACD}" presName="Name8" presStyleCnt="0"/>
      <dgm:spPr/>
    </dgm:pt>
    <dgm:pt modelId="{65836F00-2C3A-4C4C-96DC-39988B9F6FA3}" type="pres">
      <dgm:prSet presAssocID="{1F1D8553-8B6D-43C6-9BD3-5C4B1277EACD}" presName="level" presStyleLbl="node1" presStyleIdx="1" presStyleCnt="3">
        <dgm:presLayoutVars>
          <dgm:chMax val="1"/>
          <dgm:bulletEnabled val="1"/>
        </dgm:presLayoutVars>
      </dgm:prSet>
      <dgm:spPr/>
    </dgm:pt>
    <dgm:pt modelId="{1BB90C1B-3C66-4ED0-8D6C-59EB2107150B}" type="pres">
      <dgm:prSet presAssocID="{1F1D8553-8B6D-43C6-9BD3-5C4B1277EACD}" presName="levelTx" presStyleLbl="revTx" presStyleIdx="0" presStyleCnt="0">
        <dgm:presLayoutVars>
          <dgm:chMax val="1"/>
          <dgm:bulletEnabled val="1"/>
        </dgm:presLayoutVars>
      </dgm:prSet>
      <dgm:spPr/>
    </dgm:pt>
    <dgm:pt modelId="{B71A8643-51A0-4743-8810-7CE0B247B63F}" type="pres">
      <dgm:prSet presAssocID="{2A8D32F8-B24A-4B5E-AE03-14743A711BF0}" presName="Name8" presStyleCnt="0"/>
      <dgm:spPr/>
    </dgm:pt>
    <dgm:pt modelId="{6FC38C09-2547-435F-ABD0-5A9B390DCC6E}" type="pres">
      <dgm:prSet presAssocID="{2A8D32F8-B24A-4B5E-AE03-14743A711BF0}" presName="level" presStyleLbl="node1" presStyleIdx="2" presStyleCnt="3" custLinFactNeighborY="4862">
        <dgm:presLayoutVars>
          <dgm:chMax val="1"/>
          <dgm:bulletEnabled val="1"/>
        </dgm:presLayoutVars>
      </dgm:prSet>
      <dgm:spPr/>
    </dgm:pt>
    <dgm:pt modelId="{9E5B9038-8306-466F-AFBE-44230869C25B}" type="pres">
      <dgm:prSet presAssocID="{2A8D32F8-B24A-4B5E-AE03-14743A711BF0}" presName="levelTx" presStyleLbl="revTx" presStyleIdx="0" presStyleCnt="0">
        <dgm:presLayoutVars>
          <dgm:chMax val="1"/>
          <dgm:bulletEnabled val="1"/>
        </dgm:presLayoutVars>
      </dgm:prSet>
      <dgm:spPr/>
    </dgm:pt>
  </dgm:ptLst>
  <dgm:cxnLst>
    <dgm:cxn modelId="{7D7FD500-14A2-474F-885E-538600D740CD}" type="presOf" srcId="{2A8D32F8-B24A-4B5E-AE03-14743A711BF0}" destId="{6FC38C09-2547-435F-ABD0-5A9B390DCC6E}" srcOrd="0" destOrd="0" presId="urn:microsoft.com/office/officeart/2005/8/layout/pyramid1"/>
    <dgm:cxn modelId="{0502F10F-96BB-4162-92A3-38CF1458D1E9}" type="presOf" srcId="{C3EED93C-5DE0-43D0-BBDD-02AD12817EB2}" destId="{2639B79F-C5E3-4C8D-BBBA-8DDFC54AC3F9}" srcOrd="0" destOrd="0" presId="urn:microsoft.com/office/officeart/2005/8/layout/pyramid1"/>
    <dgm:cxn modelId="{DBF2E318-F6EC-47F3-B151-814BB6A24507}" srcId="{C3EED93C-5DE0-43D0-BBDD-02AD12817EB2}" destId="{DCEC8937-AE1E-4104-B3F6-1347967E1BB0}" srcOrd="0" destOrd="0" parTransId="{C7FCBA2B-4C3A-4F59-B6F7-97666A6E7BDF}" sibTransId="{6AF6DA6A-8B93-44B3-9156-5AAA6DDA2A57}"/>
    <dgm:cxn modelId="{6DC9FE2B-7DD3-4F1A-A566-56C347FEA28E}" type="presOf" srcId="{DCEC8937-AE1E-4104-B3F6-1347967E1BB0}" destId="{EE8CA35B-3C5D-42E6-8121-8171B37FA949}" srcOrd="1" destOrd="0" presId="urn:microsoft.com/office/officeart/2005/8/layout/pyramid1"/>
    <dgm:cxn modelId="{A7776E57-4CAB-4AD7-96E7-ABAC2FCC1556}" type="presOf" srcId="{1F1D8553-8B6D-43C6-9BD3-5C4B1277EACD}" destId="{65836F00-2C3A-4C4C-96DC-39988B9F6FA3}" srcOrd="0" destOrd="0" presId="urn:microsoft.com/office/officeart/2005/8/layout/pyramid1"/>
    <dgm:cxn modelId="{30A8F9A3-5F64-406D-BF4E-D39A2AEDED56}" srcId="{C3EED93C-5DE0-43D0-BBDD-02AD12817EB2}" destId="{2A8D32F8-B24A-4B5E-AE03-14743A711BF0}" srcOrd="2" destOrd="0" parTransId="{C3029D68-FD03-4CC6-9944-C7CBA5E88659}" sibTransId="{22BDC1DF-1252-48CA-B410-7E89334901E4}"/>
    <dgm:cxn modelId="{70DAA0B3-1618-485F-B34A-6CD911021C0F}" srcId="{C3EED93C-5DE0-43D0-BBDD-02AD12817EB2}" destId="{1F1D8553-8B6D-43C6-9BD3-5C4B1277EACD}" srcOrd="1" destOrd="0" parTransId="{6CD5E61F-20BC-49CF-A6C6-A16F8CC28663}" sibTransId="{37420C55-4E4F-4724-AF91-FCB94C31959F}"/>
    <dgm:cxn modelId="{E8933BE6-CAB5-45B4-8B7A-DE2199FC0DDE}" type="presOf" srcId="{1F1D8553-8B6D-43C6-9BD3-5C4B1277EACD}" destId="{1BB90C1B-3C66-4ED0-8D6C-59EB2107150B}" srcOrd="1" destOrd="0" presId="urn:microsoft.com/office/officeart/2005/8/layout/pyramid1"/>
    <dgm:cxn modelId="{C967EBF6-6519-4BEC-86AC-4920848109F7}" type="presOf" srcId="{DCEC8937-AE1E-4104-B3F6-1347967E1BB0}" destId="{BB4E7D41-1448-4AC2-AC5E-29BDC4C79900}" srcOrd="0" destOrd="0" presId="urn:microsoft.com/office/officeart/2005/8/layout/pyramid1"/>
    <dgm:cxn modelId="{72AD47F8-BD88-4BEE-B16A-587A19019A21}" type="presOf" srcId="{2A8D32F8-B24A-4B5E-AE03-14743A711BF0}" destId="{9E5B9038-8306-466F-AFBE-44230869C25B}" srcOrd="1" destOrd="0" presId="urn:microsoft.com/office/officeart/2005/8/layout/pyramid1"/>
    <dgm:cxn modelId="{501A668A-BCE5-45A3-9E43-56AD53D096B0}" type="presParOf" srcId="{2639B79F-C5E3-4C8D-BBBA-8DDFC54AC3F9}" destId="{2BADDD82-6CE3-4D34-A9CB-F9DDE2A20411}" srcOrd="0" destOrd="0" presId="urn:microsoft.com/office/officeart/2005/8/layout/pyramid1"/>
    <dgm:cxn modelId="{AFD7BAAE-C16E-4BB5-82F8-081FA094279F}" type="presParOf" srcId="{2BADDD82-6CE3-4D34-A9CB-F9DDE2A20411}" destId="{BB4E7D41-1448-4AC2-AC5E-29BDC4C79900}" srcOrd="0" destOrd="0" presId="urn:microsoft.com/office/officeart/2005/8/layout/pyramid1"/>
    <dgm:cxn modelId="{AACAB7AD-39F9-47BA-AFA8-3CBB41AFEA3C}" type="presParOf" srcId="{2BADDD82-6CE3-4D34-A9CB-F9DDE2A20411}" destId="{EE8CA35B-3C5D-42E6-8121-8171B37FA949}" srcOrd="1" destOrd="0" presId="urn:microsoft.com/office/officeart/2005/8/layout/pyramid1"/>
    <dgm:cxn modelId="{3570D01B-683C-40FC-ACE1-AE050FD92052}" type="presParOf" srcId="{2639B79F-C5E3-4C8D-BBBA-8DDFC54AC3F9}" destId="{677D6330-F1C0-4250-81DB-BBC1F9FBE6D3}" srcOrd="1" destOrd="0" presId="urn:microsoft.com/office/officeart/2005/8/layout/pyramid1"/>
    <dgm:cxn modelId="{30E26C2C-D5B0-4355-A27B-912D92FD655D}" type="presParOf" srcId="{677D6330-F1C0-4250-81DB-BBC1F9FBE6D3}" destId="{65836F00-2C3A-4C4C-96DC-39988B9F6FA3}" srcOrd="0" destOrd="0" presId="urn:microsoft.com/office/officeart/2005/8/layout/pyramid1"/>
    <dgm:cxn modelId="{A539AEFF-670C-47E6-9E0E-7B466C95A9A0}" type="presParOf" srcId="{677D6330-F1C0-4250-81DB-BBC1F9FBE6D3}" destId="{1BB90C1B-3C66-4ED0-8D6C-59EB2107150B}" srcOrd="1" destOrd="0" presId="urn:microsoft.com/office/officeart/2005/8/layout/pyramid1"/>
    <dgm:cxn modelId="{A5E03E1C-8DC9-425B-9CCF-BC4750705790}" type="presParOf" srcId="{2639B79F-C5E3-4C8D-BBBA-8DDFC54AC3F9}" destId="{B71A8643-51A0-4743-8810-7CE0B247B63F}" srcOrd="2" destOrd="0" presId="urn:microsoft.com/office/officeart/2005/8/layout/pyramid1"/>
    <dgm:cxn modelId="{45BDC06E-8870-4EFA-BD49-EE812123DEC1}" type="presParOf" srcId="{B71A8643-51A0-4743-8810-7CE0B247B63F}" destId="{6FC38C09-2547-435F-ABD0-5A9B390DCC6E}" srcOrd="0" destOrd="0" presId="urn:microsoft.com/office/officeart/2005/8/layout/pyramid1"/>
    <dgm:cxn modelId="{5F2CEAAA-DDBA-4DC0-AD99-3B47AFAB1879}" type="presParOf" srcId="{B71A8643-51A0-4743-8810-7CE0B247B63F}" destId="{9E5B9038-8306-466F-AFBE-44230869C25B}"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4E7D41-1448-4AC2-AC5E-29BDC4C79900}">
      <dsp:nvSpPr>
        <dsp:cNvPr id="0" name=""/>
        <dsp:cNvSpPr/>
      </dsp:nvSpPr>
      <dsp:spPr>
        <a:xfrm>
          <a:off x="154736" y="0"/>
          <a:ext cx="154737" cy="119029"/>
        </a:xfrm>
        <a:prstGeom prst="trapezoid">
          <a:avLst>
            <a:gd name="adj" fmla="val 65000"/>
          </a:avLst>
        </a:prstGeom>
        <a:solidFill>
          <a:srgbClr val="00206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endParaRPr lang="en-GB" sz="800" b="1" kern="1200" dirty="0">
            <a:solidFill>
              <a:schemeClr val="accent2"/>
            </a:solidFill>
            <a:ea typeface="MS PGothic" pitchFamily="34" charset="-128"/>
          </a:endParaRPr>
        </a:p>
      </dsp:txBody>
      <dsp:txXfrm>
        <a:off x="154736" y="0"/>
        <a:ext cx="154737" cy="119029"/>
      </dsp:txXfrm>
    </dsp:sp>
    <dsp:sp modelId="{65836F00-2C3A-4C4C-96DC-39988B9F6FA3}">
      <dsp:nvSpPr>
        <dsp:cNvPr id="0" name=""/>
        <dsp:cNvSpPr/>
      </dsp:nvSpPr>
      <dsp:spPr>
        <a:xfrm>
          <a:off x="77368" y="119029"/>
          <a:ext cx="309474" cy="119029"/>
        </a:xfrm>
        <a:prstGeom prst="trapezoid">
          <a:avLst>
            <a:gd name="adj" fmla="val 65000"/>
          </a:avLst>
        </a:prstGeom>
        <a:solidFill>
          <a:schemeClr val="tx2">
            <a:lumMod val="20000"/>
            <a:lumOff val="80000"/>
          </a:schemeClr>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GB" sz="700" b="1" kern="1200" dirty="0">
            <a:solidFill>
              <a:schemeClr val="accent2"/>
            </a:solidFill>
          </a:endParaRPr>
        </a:p>
      </dsp:txBody>
      <dsp:txXfrm>
        <a:off x="131526" y="119029"/>
        <a:ext cx="201158" cy="119029"/>
      </dsp:txXfrm>
    </dsp:sp>
    <dsp:sp modelId="{6FC38C09-2547-435F-ABD0-5A9B390DCC6E}">
      <dsp:nvSpPr>
        <dsp:cNvPr id="0" name=""/>
        <dsp:cNvSpPr/>
      </dsp:nvSpPr>
      <dsp:spPr>
        <a:xfrm>
          <a:off x="0" y="238058"/>
          <a:ext cx="464211" cy="119029"/>
        </a:xfrm>
        <a:prstGeom prst="trapezoid">
          <a:avLst>
            <a:gd name="adj" fmla="val 65000"/>
          </a:avLst>
        </a:prstGeom>
        <a:solidFill>
          <a:schemeClr val="tx2">
            <a:lumMod val="20000"/>
            <a:lumOff val="80000"/>
          </a:schemeClr>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GB" sz="700" b="1" kern="1200" dirty="0">
            <a:solidFill>
              <a:schemeClr val="accent2"/>
            </a:solidFill>
          </a:endParaRPr>
        </a:p>
      </dsp:txBody>
      <dsp:txXfrm>
        <a:off x="81236" y="238058"/>
        <a:ext cx="301737" cy="119029"/>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6050" name="Rectangle 2"/>
          <p:cNvSpPr>
            <a:spLocks noGrp="1" noChangeArrowheads="1"/>
          </p:cNvSpPr>
          <p:nvPr>
            <p:ph type="hdr" sz="quarter"/>
          </p:nvPr>
        </p:nvSpPr>
        <p:spPr bwMode="auto">
          <a:xfrm>
            <a:off x="0" y="2"/>
            <a:ext cx="2943912" cy="495652"/>
          </a:xfrm>
          <a:prstGeom prst="rect">
            <a:avLst/>
          </a:prstGeom>
          <a:noFill/>
          <a:ln w="9525">
            <a:noFill/>
            <a:miter lim="800000"/>
            <a:headEnd/>
            <a:tailEnd/>
          </a:ln>
        </p:spPr>
        <p:txBody>
          <a:bodyPr vert="horz" wrap="square" lIns="94242" tIns="47122" rIns="94242" bIns="47122" numCol="1" anchor="t" anchorCtr="0" compatLnSpc="1">
            <a:prstTxWarp prst="textNoShape">
              <a:avLst/>
            </a:prstTxWarp>
          </a:bodyPr>
          <a:lstStyle>
            <a:lvl1pPr algn="l" defTabSz="943596">
              <a:defRPr sz="1200" b="0">
                <a:latin typeface="Arial" charset="0"/>
                <a:ea typeface="+mn-ea"/>
                <a:cs typeface="+mn-cs"/>
              </a:defRPr>
            </a:lvl1pPr>
          </a:lstStyle>
          <a:p>
            <a:pPr>
              <a:defRPr/>
            </a:pPr>
            <a:endParaRPr lang="en-US" dirty="0"/>
          </a:p>
        </p:txBody>
      </p:sp>
      <p:sp>
        <p:nvSpPr>
          <p:cNvPr id="386051" name="Rectangle 3"/>
          <p:cNvSpPr>
            <a:spLocks noGrp="1" noChangeArrowheads="1"/>
          </p:cNvSpPr>
          <p:nvPr>
            <p:ph type="dt" sz="quarter" idx="1"/>
          </p:nvPr>
        </p:nvSpPr>
        <p:spPr bwMode="auto">
          <a:xfrm>
            <a:off x="3853766" y="2"/>
            <a:ext cx="2943911" cy="495652"/>
          </a:xfrm>
          <a:prstGeom prst="rect">
            <a:avLst/>
          </a:prstGeom>
          <a:noFill/>
          <a:ln w="9525">
            <a:noFill/>
            <a:miter lim="800000"/>
            <a:headEnd/>
            <a:tailEnd/>
          </a:ln>
        </p:spPr>
        <p:txBody>
          <a:bodyPr vert="horz" wrap="square" lIns="94242" tIns="47122" rIns="94242" bIns="47122" numCol="1" anchor="t" anchorCtr="0" compatLnSpc="1">
            <a:prstTxWarp prst="textNoShape">
              <a:avLst/>
            </a:prstTxWarp>
          </a:bodyPr>
          <a:lstStyle>
            <a:lvl1pPr algn="r" defTabSz="943596">
              <a:defRPr sz="1200" b="0">
                <a:latin typeface="Arial" charset="0"/>
                <a:ea typeface="+mn-ea"/>
                <a:cs typeface="+mn-cs"/>
              </a:defRPr>
            </a:lvl1pPr>
          </a:lstStyle>
          <a:p>
            <a:pPr>
              <a:defRPr/>
            </a:pPr>
            <a:endParaRPr lang="en-US" dirty="0"/>
          </a:p>
        </p:txBody>
      </p:sp>
      <p:sp>
        <p:nvSpPr>
          <p:cNvPr id="386052" name="Rectangle 4"/>
          <p:cNvSpPr>
            <a:spLocks noGrp="1" noChangeArrowheads="1"/>
          </p:cNvSpPr>
          <p:nvPr>
            <p:ph type="ftr" sz="quarter" idx="2"/>
          </p:nvPr>
        </p:nvSpPr>
        <p:spPr bwMode="auto">
          <a:xfrm>
            <a:off x="0" y="9430987"/>
            <a:ext cx="2943912" cy="495652"/>
          </a:xfrm>
          <a:prstGeom prst="rect">
            <a:avLst/>
          </a:prstGeom>
          <a:noFill/>
          <a:ln w="9525">
            <a:noFill/>
            <a:miter lim="800000"/>
            <a:headEnd/>
            <a:tailEnd/>
          </a:ln>
        </p:spPr>
        <p:txBody>
          <a:bodyPr vert="horz" wrap="square" lIns="94242" tIns="47122" rIns="94242" bIns="47122" numCol="1" anchor="b" anchorCtr="0" compatLnSpc="1">
            <a:prstTxWarp prst="textNoShape">
              <a:avLst/>
            </a:prstTxWarp>
          </a:bodyPr>
          <a:lstStyle>
            <a:lvl1pPr algn="l" defTabSz="943596">
              <a:defRPr sz="1200" b="0">
                <a:latin typeface="Arial" charset="0"/>
                <a:ea typeface="+mn-ea"/>
                <a:cs typeface="+mn-cs"/>
              </a:defRPr>
            </a:lvl1pPr>
          </a:lstStyle>
          <a:p>
            <a:pPr>
              <a:defRPr/>
            </a:pPr>
            <a:endParaRPr lang="en-US" dirty="0"/>
          </a:p>
        </p:txBody>
      </p:sp>
      <p:sp>
        <p:nvSpPr>
          <p:cNvPr id="386053" name="Rectangle 5"/>
          <p:cNvSpPr>
            <a:spLocks noGrp="1" noChangeArrowheads="1"/>
          </p:cNvSpPr>
          <p:nvPr>
            <p:ph type="sldNum" sz="quarter" idx="3"/>
          </p:nvPr>
        </p:nvSpPr>
        <p:spPr bwMode="auto">
          <a:xfrm>
            <a:off x="3853766" y="9430987"/>
            <a:ext cx="2943911" cy="495652"/>
          </a:xfrm>
          <a:prstGeom prst="rect">
            <a:avLst/>
          </a:prstGeom>
          <a:noFill/>
          <a:ln w="9525">
            <a:noFill/>
            <a:miter lim="800000"/>
            <a:headEnd/>
            <a:tailEnd/>
          </a:ln>
        </p:spPr>
        <p:txBody>
          <a:bodyPr vert="horz" wrap="square" lIns="94242" tIns="47122" rIns="94242" bIns="47122" numCol="1" anchor="b" anchorCtr="0" compatLnSpc="1">
            <a:prstTxWarp prst="textNoShape">
              <a:avLst/>
            </a:prstTxWarp>
          </a:bodyPr>
          <a:lstStyle>
            <a:lvl1pPr algn="r" defTabSz="942838">
              <a:defRPr sz="1200" b="0">
                <a:latin typeface="Arial" pitchFamily="34" charset="0"/>
                <a:ea typeface="ＭＳ Ｐゴシック" charset="-128"/>
                <a:cs typeface="+mn-cs"/>
              </a:defRPr>
            </a:lvl1pPr>
          </a:lstStyle>
          <a:p>
            <a:pPr>
              <a:defRPr/>
            </a:pPr>
            <a:fld id="{E1AA8445-3F20-4816-97B3-67B236EE6142}" type="slidenum">
              <a:rPr lang="en-US"/>
              <a:pPr>
                <a:defRPr/>
              </a:pPr>
              <a:t>‹#›</a:t>
            </a:fld>
            <a:endParaRPr lang="en-US" dirty="0"/>
          </a:p>
        </p:txBody>
      </p:sp>
    </p:spTree>
    <p:extLst>
      <p:ext uri="{BB962C8B-B14F-4D97-AF65-F5344CB8AC3E}">
        <p14:creationId xmlns:p14="http://schemas.microsoft.com/office/powerpoint/2010/main" val="32135149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0834" name="Rectangle 4"/>
          <p:cNvSpPr>
            <a:spLocks noGrp="1" noRot="1" noChangeAspect="1" noChangeArrowheads="1" noTextEdit="1"/>
          </p:cNvSpPr>
          <p:nvPr>
            <p:ph type="sldImg" idx="2"/>
          </p:nvPr>
        </p:nvSpPr>
        <p:spPr bwMode="auto">
          <a:xfrm>
            <a:off x="920750" y="746125"/>
            <a:ext cx="4959350" cy="371951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681620" y="4713797"/>
            <a:ext cx="5434439" cy="4467666"/>
          </a:xfrm>
          <a:prstGeom prst="rect">
            <a:avLst/>
          </a:prstGeom>
          <a:noFill/>
          <a:ln w="9525">
            <a:noFill/>
            <a:miter lim="800000"/>
            <a:headEnd/>
            <a:tailEnd/>
          </a:ln>
        </p:spPr>
        <p:txBody>
          <a:bodyPr vert="horz" wrap="square" lIns="94242" tIns="47122" rIns="94242" bIns="47122"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9156" name="Text Box 8"/>
          <p:cNvSpPr txBox="1">
            <a:spLocks noChangeArrowheads="1"/>
          </p:cNvSpPr>
          <p:nvPr/>
        </p:nvSpPr>
        <p:spPr bwMode="auto">
          <a:xfrm>
            <a:off x="3" y="9565085"/>
            <a:ext cx="4754363" cy="309174"/>
          </a:xfrm>
          <a:prstGeom prst="rect">
            <a:avLst/>
          </a:prstGeom>
          <a:noFill/>
          <a:ln>
            <a:noFill/>
          </a:ln>
          <a:extLst/>
        </p:spPr>
        <p:txBody>
          <a:bodyPr lIns="92907" tIns="46454" rIns="92907" bIns="46454">
            <a:spAutoFit/>
          </a:bodyPr>
          <a:lstStyle>
            <a:lvl1pPr eaLnBrk="0" hangingPunct="0">
              <a:defRPr sz="2400" b="1">
                <a:solidFill>
                  <a:schemeClr val="tx1"/>
                </a:solidFill>
                <a:latin typeface="Arial" charset="0"/>
                <a:ea typeface="MS PGothic" pitchFamily="34" charset="-128"/>
              </a:defRPr>
            </a:lvl1pPr>
            <a:lvl2pPr marL="742950" indent="-285750" eaLnBrk="0" hangingPunct="0">
              <a:defRPr sz="2400" b="1">
                <a:solidFill>
                  <a:schemeClr val="tx1"/>
                </a:solidFill>
                <a:latin typeface="Arial" charset="0"/>
                <a:ea typeface="MS PGothic" pitchFamily="34" charset="-128"/>
              </a:defRPr>
            </a:lvl2pPr>
            <a:lvl3pPr marL="1143000" indent="-228600" eaLnBrk="0" hangingPunct="0">
              <a:defRPr sz="2400" b="1">
                <a:solidFill>
                  <a:schemeClr val="tx1"/>
                </a:solidFill>
                <a:latin typeface="Arial" charset="0"/>
                <a:ea typeface="MS PGothic" pitchFamily="34" charset="-128"/>
              </a:defRPr>
            </a:lvl3pPr>
            <a:lvl4pPr marL="1600200" indent="-228600" eaLnBrk="0" hangingPunct="0">
              <a:defRPr sz="2400" b="1">
                <a:solidFill>
                  <a:schemeClr val="tx1"/>
                </a:solidFill>
                <a:latin typeface="Arial" charset="0"/>
                <a:ea typeface="MS PGothic" pitchFamily="34" charset="-128"/>
              </a:defRPr>
            </a:lvl4pPr>
            <a:lvl5pPr marL="2057400" indent="-228600" eaLnBrk="0" hangingPunct="0">
              <a:defRPr sz="2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2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2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2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2400" b="1">
                <a:solidFill>
                  <a:schemeClr val="tx1"/>
                </a:solidFill>
                <a:latin typeface="Arial" charset="0"/>
                <a:ea typeface="MS PGothic" pitchFamily="34" charset="-128"/>
              </a:defRPr>
            </a:lvl9pPr>
          </a:lstStyle>
          <a:p>
            <a:pPr algn="ctr" eaLnBrk="1" hangingPunct="1">
              <a:defRPr/>
            </a:pPr>
            <a:r>
              <a:rPr lang="en-US" sz="1400" dirty="0">
                <a:latin typeface="Calibri" pitchFamily="34" charset="0"/>
              </a:rPr>
              <a:t>Confidential for AstraZeneca Discussion Purposes Only</a:t>
            </a:r>
            <a:endParaRPr lang="en-US" sz="1400" dirty="0"/>
          </a:p>
        </p:txBody>
      </p:sp>
      <p:sp>
        <p:nvSpPr>
          <p:cNvPr id="49157" name="TextBox 8"/>
          <p:cNvSpPr txBox="1">
            <a:spLocks noChangeArrowheads="1"/>
          </p:cNvSpPr>
          <p:nvPr/>
        </p:nvSpPr>
        <p:spPr bwMode="auto">
          <a:xfrm>
            <a:off x="6136106" y="9559990"/>
            <a:ext cx="558248" cy="247639"/>
          </a:xfrm>
          <a:prstGeom prst="rect">
            <a:avLst/>
          </a:prstGeom>
          <a:noFill/>
          <a:ln>
            <a:noFill/>
          </a:ln>
          <a:extLst/>
        </p:spPr>
        <p:txBody>
          <a:bodyPr lIns="92907" tIns="46454" rIns="92907" bIns="46454">
            <a:spAutoFit/>
          </a:bodyPr>
          <a:lstStyle>
            <a:lvl1pPr eaLnBrk="0" hangingPunct="0">
              <a:defRPr sz="2400" b="1">
                <a:solidFill>
                  <a:schemeClr val="tx1"/>
                </a:solidFill>
                <a:latin typeface="Arial" charset="0"/>
                <a:ea typeface="MS PGothic" pitchFamily="34" charset="-128"/>
              </a:defRPr>
            </a:lvl1pPr>
            <a:lvl2pPr marL="742950" indent="-285750" eaLnBrk="0" hangingPunct="0">
              <a:defRPr sz="2400" b="1">
                <a:solidFill>
                  <a:schemeClr val="tx1"/>
                </a:solidFill>
                <a:latin typeface="Arial" charset="0"/>
                <a:ea typeface="MS PGothic" pitchFamily="34" charset="-128"/>
              </a:defRPr>
            </a:lvl2pPr>
            <a:lvl3pPr marL="1143000" indent="-228600" eaLnBrk="0" hangingPunct="0">
              <a:defRPr sz="2400" b="1">
                <a:solidFill>
                  <a:schemeClr val="tx1"/>
                </a:solidFill>
                <a:latin typeface="Arial" charset="0"/>
                <a:ea typeface="MS PGothic" pitchFamily="34" charset="-128"/>
              </a:defRPr>
            </a:lvl3pPr>
            <a:lvl4pPr marL="1600200" indent="-228600" eaLnBrk="0" hangingPunct="0">
              <a:defRPr sz="2400" b="1">
                <a:solidFill>
                  <a:schemeClr val="tx1"/>
                </a:solidFill>
                <a:latin typeface="Arial" charset="0"/>
                <a:ea typeface="MS PGothic" pitchFamily="34" charset="-128"/>
              </a:defRPr>
            </a:lvl4pPr>
            <a:lvl5pPr marL="2057400" indent="-228600" eaLnBrk="0" hangingPunct="0">
              <a:defRPr sz="2400" b="1">
                <a:solidFill>
                  <a:schemeClr val="tx1"/>
                </a:solidFill>
                <a:latin typeface="Arial" charset="0"/>
                <a:ea typeface="MS PGothic" pitchFamily="34" charset="-128"/>
              </a:defRPr>
            </a:lvl5pPr>
            <a:lvl6pPr marL="2514600" indent="-228600" eaLnBrk="0" fontAlgn="base" hangingPunct="0">
              <a:spcBef>
                <a:spcPct val="0"/>
              </a:spcBef>
              <a:spcAft>
                <a:spcPct val="0"/>
              </a:spcAft>
              <a:defRPr sz="2400" b="1">
                <a:solidFill>
                  <a:schemeClr val="tx1"/>
                </a:solidFill>
                <a:latin typeface="Arial" charset="0"/>
                <a:ea typeface="MS PGothic" pitchFamily="34" charset="-128"/>
              </a:defRPr>
            </a:lvl6pPr>
            <a:lvl7pPr marL="2971800" indent="-228600" eaLnBrk="0" fontAlgn="base" hangingPunct="0">
              <a:spcBef>
                <a:spcPct val="0"/>
              </a:spcBef>
              <a:spcAft>
                <a:spcPct val="0"/>
              </a:spcAft>
              <a:defRPr sz="2400" b="1">
                <a:solidFill>
                  <a:schemeClr val="tx1"/>
                </a:solidFill>
                <a:latin typeface="Arial" charset="0"/>
                <a:ea typeface="MS PGothic" pitchFamily="34" charset="-128"/>
              </a:defRPr>
            </a:lvl7pPr>
            <a:lvl8pPr marL="3429000" indent="-228600" eaLnBrk="0" fontAlgn="base" hangingPunct="0">
              <a:spcBef>
                <a:spcPct val="0"/>
              </a:spcBef>
              <a:spcAft>
                <a:spcPct val="0"/>
              </a:spcAft>
              <a:defRPr sz="2400" b="1">
                <a:solidFill>
                  <a:schemeClr val="tx1"/>
                </a:solidFill>
                <a:latin typeface="Arial" charset="0"/>
                <a:ea typeface="MS PGothic" pitchFamily="34" charset="-128"/>
              </a:defRPr>
            </a:lvl8pPr>
            <a:lvl9pPr marL="3886200" indent="-228600" eaLnBrk="0" fontAlgn="base" hangingPunct="0">
              <a:spcBef>
                <a:spcPct val="0"/>
              </a:spcBef>
              <a:spcAft>
                <a:spcPct val="0"/>
              </a:spcAft>
              <a:defRPr sz="2400" b="1">
                <a:solidFill>
                  <a:schemeClr val="tx1"/>
                </a:solidFill>
                <a:latin typeface="Arial" charset="0"/>
                <a:ea typeface="MS PGothic" pitchFamily="34" charset="-128"/>
              </a:defRPr>
            </a:lvl9pPr>
          </a:lstStyle>
          <a:p>
            <a:pPr algn="ctr" eaLnBrk="1" hangingPunct="1">
              <a:defRPr/>
            </a:pPr>
            <a:fld id="{E6C84293-EFF7-486E-92B6-C5DAF72B4F71}" type="slidenum">
              <a:rPr lang="en-US" sz="1000" smtClean="0"/>
              <a:pPr algn="ctr" eaLnBrk="1" hangingPunct="1">
                <a:defRPr/>
              </a:pPr>
              <a:t>‹#›</a:t>
            </a:fld>
            <a:endParaRPr lang="en-US" sz="1000" dirty="0"/>
          </a:p>
        </p:txBody>
      </p:sp>
    </p:spTree>
    <p:extLst>
      <p:ext uri="{BB962C8B-B14F-4D97-AF65-F5344CB8AC3E}">
        <p14:creationId xmlns:p14="http://schemas.microsoft.com/office/powerpoint/2010/main" val="1601544620"/>
      </p:ext>
    </p:extLst>
  </p:cSld>
  <p:clrMap bg1="lt1" tx1="dk1" bg2="lt2" tx2="dk2" accent1="accent1" accent2="accent2" accent3="accent3" accent4="accent4" accent5="accent5" accent6="accent6" hlink="hlink" folHlink="folHlink"/>
  <p:notesStyle>
    <a:lvl1pPr marL="180975" indent="-180975" algn="l" rtl="0" eaLnBrk="0" fontAlgn="base" hangingPunct="0">
      <a:lnSpc>
        <a:spcPct val="90000"/>
      </a:lnSpc>
      <a:spcBef>
        <a:spcPct val="0"/>
      </a:spcBef>
      <a:spcAft>
        <a:spcPct val="0"/>
      </a:spcAft>
      <a:buChar char="•"/>
      <a:defRPr sz="1000" kern="1200">
        <a:solidFill>
          <a:schemeClr val="tx1"/>
        </a:solidFill>
        <a:latin typeface="Arial" charset="0"/>
        <a:ea typeface="MS PGothic" pitchFamily="34" charset="-128"/>
        <a:cs typeface="MS PGothic"/>
      </a:defRPr>
    </a:lvl1pPr>
    <a:lvl2pPr marL="357188" indent="-176213" algn="l" rtl="0" eaLnBrk="0" fontAlgn="base" hangingPunct="0">
      <a:lnSpc>
        <a:spcPct val="90000"/>
      </a:lnSpc>
      <a:spcBef>
        <a:spcPct val="0"/>
      </a:spcBef>
      <a:spcAft>
        <a:spcPct val="0"/>
      </a:spcAft>
      <a:buFont typeface="Arial" charset="0"/>
      <a:buChar char="–"/>
      <a:defRPr sz="1000" kern="1200">
        <a:solidFill>
          <a:schemeClr val="tx1"/>
        </a:solidFill>
        <a:latin typeface="Arial" charset="0"/>
        <a:ea typeface="MS PGothic" pitchFamily="34" charset="-128"/>
        <a:cs typeface="MS PGothic"/>
      </a:defRPr>
    </a:lvl2pPr>
    <a:lvl3pPr marL="538163" indent="-180975" algn="l" rtl="0" eaLnBrk="0" fontAlgn="base" hangingPunct="0">
      <a:lnSpc>
        <a:spcPct val="90000"/>
      </a:lnSpc>
      <a:spcBef>
        <a:spcPct val="0"/>
      </a:spcBef>
      <a:spcAft>
        <a:spcPct val="0"/>
      </a:spcAft>
      <a:buChar char="•"/>
      <a:defRPr sz="1000" kern="1200">
        <a:solidFill>
          <a:schemeClr val="tx1"/>
        </a:solidFill>
        <a:latin typeface="Arial" charset="0"/>
        <a:ea typeface="MS PGothic" pitchFamily="34" charset="-128"/>
        <a:cs typeface="MS PGothic"/>
      </a:defRPr>
    </a:lvl3pPr>
    <a:lvl4pPr marL="852488" indent="-66675" algn="l" rtl="0" eaLnBrk="0" fontAlgn="base" hangingPunct="0">
      <a:lnSpc>
        <a:spcPct val="90000"/>
      </a:lnSpc>
      <a:spcBef>
        <a:spcPct val="0"/>
      </a:spcBef>
      <a:spcAft>
        <a:spcPct val="0"/>
      </a:spcAft>
      <a:buChar char="•"/>
      <a:defRPr sz="1000" kern="1200">
        <a:solidFill>
          <a:schemeClr val="tx1"/>
        </a:solidFill>
        <a:latin typeface="Arial" charset="0"/>
        <a:ea typeface="MS PGothic" pitchFamily="34" charset="-128"/>
        <a:cs typeface="MS PGothic"/>
      </a:defRPr>
    </a:lvl4pPr>
    <a:lvl5pPr marL="1087438" indent="-120650" algn="l" rtl="0" eaLnBrk="0" fontAlgn="base" hangingPunct="0">
      <a:lnSpc>
        <a:spcPct val="90000"/>
      </a:lnSpc>
      <a:spcBef>
        <a:spcPct val="0"/>
      </a:spcBef>
      <a:spcAft>
        <a:spcPct val="0"/>
      </a:spcAft>
      <a:buChar char="•"/>
      <a:defRPr sz="1000" kern="1200">
        <a:solidFill>
          <a:schemeClr val="tx1"/>
        </a:solidFill>
        <a:latin typeface="Arial" charset="0"/>
        <a:ea typeface="MS PGothic" pitchFamily="34" charset="-128"/>
        <a:cs typeface="MS PGothic"/>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9.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cs typeface="Arial" panose="020B0604020202020204" pitchFamily="34" charset="0"/>
              </a:rPr>
              <a:t>While ‘older’ anti-diabetes drugs are effective at lowering HbA</a:t>
            </a:r>
            <a:r>
              <a:rPr lang="en-US" sz="1200" kern="1200" baseline="-25000" dirty="0">
                <a:solidFill>
                  <a:schemeClr val="tx1"/>
                </a:solidFill>
                <a:effectLst/>
                <a:latin typeface="Arial" panose="020B0604020202020204" pitchFamily="34" charset="0"/>
                <a:cs typeface="Arial" panose="020B0604020202020204" pitchFamily="34" charset="0"/>
              </a:rPr>
              <a:t>1c</a:t>
            </a:r>
            <a:r>
              <a:rPr lang="en-US" sz="1200" kern="1200" dirty="0">
                <a:solidFill>
                  <a:schemeClr val="tx1"/>
                </a:solidFill>
                <a:effectLst/>
                <a:latin typeface="Arial" panose="020B0604020202020204" pitchFamily="34" charset="0"/>
                <a:cs typeface="Arial" panose="020B0604020202020204" pitchFamily="34" charset="0"/>
              </a:rPr>
              <a:t>, they are neutral regarding CV mortality. For example, in TOSCA.IT, the addition of an SU or pioglitazone to metformin had no effect on CV outcomes. </a:t>
            </a:r>
            <a:r>
              <a:rPr lang="en-GB" dirty="0">
                <a:latin typeface="Arial" panose="020B0604020202020204" pitchFamily="34" charset="0"/>
                <a:cs typeface="Arial" panose="020B0604020202020204" pitchFamily="34" charset="0"/>
              </a:rPr>
              <a:t>Similarly, neither insulin glargine nor insulin degludec reduced the risk of a CV event in DEVO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latin typeface="Arial" panose="020B0604020202020204" pitchFamily="34" charset="0"/>
              <a:cs typeface="Arial" panose="020B0604020202020204" pitchFamily="34" charset="0"/>
            </a:endParaRPr>
          </a:p>
          <a:p>
            <a:endParaRPr lang="en-GB"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3850443" y="9428583"/>
            <a:ext cx="2945659" cy="496332"/>
          </a:xfrm>
          <a:prstGeom prst="rect">
            <a:avLst/>
          </a:prstGeom>
        </p:spPr>
        <p:txBody>
          <a:bodyPr/>
          <a:lstStyle/>
          <a:p>
            <a:pPr defTabSz="914400">
              <a:defRPr/>
            </a:pPr>
            <a:fld id="{DBDBF580-D318-4C5D-B927-FEBC7823BF7C}" type="slidenum">
              <a:rPr lang="en-GB" smtClean="0">
                <a:solidFill>
                  <a:prstClr val="black"/>
                </a:solidFill>
              </a:rPr>
              <a:pPr defTabSz="914400">
                <a:defRPr/>
              </a:pPr>
              <a:t>5</a:t>
            </a:fld>
            <a:endParaRPr lang="en-GB" dirty="0">
              <a:solidFill>
                <a:prstClr val="black"/>
              </a:solidFill>
            </a:endParaRPr>
          </a:p>
        </p:txBody>
      </p:sp>
    </p:spTree>
    <p:extLst>
      <p:ext uri="{BB962C8B-B14F-4D97-AF65-F5344CB8AC3E}">
        <p14:creationId xmlns:p14="http://schemas.microsoft.com/office/powerpoint/2010/main" val="42712776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6125"/>
            <a:ext cx="4959350" cy="37195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50185" y="9428790"/>
            <a:ext cx="2945875" cy="496251"/>
          </a:xfrm>
          <a:prstGeom prst="rect">
            <a:avLst/>
          </a:prstGeom>
        </p:spPr>
        <p:txBody>
          <a:bodyPr lIns="92423" tIns="46212" rIns="92423" bIns="46212"/>
          <a:lstStyle/>
          <a:p>
            <a:fld id="{FAD751AE-7ABC-314D-AFAD-47B860ED6F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096550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a:solidFill>
                  <a:schemeClr val="tx1"/>
                </a:solidFill>
                <a:latin typeface="+mn-lt"/>
                <a:ea typeface="+mn-ea"/>
                <a:cs typeface="+mn-cs"/>
              </a:rPr>
              <a:t>Table 15.4.3 in x1245csap08--0215</a:t>
            </a:r>
            <a:endParaRPr lang="en-GB" dirty="0"/>
          </a:p>
        </p:txBody>
      </p:sp>
      <p:sp>
        <p:nvSpPr>
          <p:cNvPr id="4" name="Slide Number Placeholder 3"/>
          <p:cNvSpPr>
            <a:spLocks noGrp="1"/>
          </p:cNvSpPr>
          <p:nvPr>
            <p:ph type="sldNum" sz="quarter" idx="10"/>
          </p:nvPr>
        </p:nvSpPr>
        <p:spPr>
          <a:xfrm>
            <a:off x="3850443" y="9428583"/>
            <a:ext cx="2945659" cy="496332"/>
          </a:xfrm>
          <a:prstGeom prst="rect">
            <a:avLst/>
          </a:prstGeom>
        </p:spPr>
        <p:txBody>
          <a:bodyPr/>
          <a:lstStyle/>
          <a:p>
            <a:fld id="{FA5E4D30-1D29-4598-8F33-C94E05217B6C}" type="slidenum">
              <a:rPr lang="en-GB" smtClean="0">
                <a:solidFill>
                  <a:prstClr val="black"/>
                </a:solidFill>
              </a:rPr>
              <a:pPr/>
              <a:t>20</a:t>
            </a:fld>
            <a:endParaRPr lang="en-GB">
              <a:solidFill>
                <a:prstClr val="black"/>
              </a:solidFill>
            </a:endParaRPr>
          </a:p>
        </p:txBody>
      </p:sp>
    </p:spTree>
    <p:extLst>
      <p:ext uri="{BB962C8B-B14F-4D97-AF65-F5344CB8AC3E}">
        <p14:creationId xmlns:p14="http://schemas.microsoft.com/office/powerpoint/2010/main" val="22770654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pPr marL="0" lvl="0" indent="0">
              <a:buClr>
                <a:srgbClr val="7F134C"/>
              </a:buClr>
              <a:buNone/>
            </a:pPr>
            <a:r>
              <a:rPr lang="en-US" sz="1000" b="1" dirty="0">
                <a:solidFill>
                  <a:srgbClr val="000000"/>
                </a:solidFill>
              </a:rPr>
              <a:t>Speaker Notes:</a:t>
            </a:r>
          </a:p>
          <a:p>
            <a:pPr lvl="0">
              <a:buClr>
                <a:srgbClr val="7F134C"/>
              </a:buClr>
            </a:pPr>
            <a:r>
              <a:rPr lang="en-US" sz="1000" dirty="0"/>
              <a:t>For the primary endpoint of the composite of hHF or CV death, there were fewer events in patients randomized to DAPA compared to placebo.  These data indicate a statistically significant 17% relative risk reduction with DAPA.</a:t>
            </a:r>
          </a:p>
          <a:p>
            <a:pPr lvl="0">
              <a:buClr>
                <a:srgbClr val="7F134C"/>
              </a:buClr>
            </a:pPr>
            <a:endParaRPr lang="en-US" sz="1000" b="1" dirty="0">
              <a:solidFill>
                <a:srgbClr val="000000"/>
              </a:solidFill>
            </a:endParaRPr>
          </a:p>
          <a:p>
            <a:pPr marL="0" marR="0" lvl="0" indent="0" algn="l" defTabSz="914400" rtl="0" eaLnBrk="1" fontAlgn="auto" latinLnBrk="0" hangingPunct="1">
              <a:lnSpc>
                <a:spcPct val="100000"/>
              </a:lnSpc>
              <a:spcBef>
                <a:spcPts val="300"/>
              </a:spcBef>
              <a:spcAft>
                <a:spcPts val="0"/>
              </a:spcAft>
              <a:buClr>
                <a:srgbClr val="7F134C"/>
              </a:buClr>
              <a:buSzPct val="100000"/>
              <a:buFont typeface="Arial" panose="020B0604020202020204" pitchFamily="34" charset="0"/>
              <a:buNone/>
              <a:tabLst/>
              <a:defRPr/>
            </a:pPr>
            <a:r>
              <a:rPr lang="en-US" sz="1000" b="1" dirty="0">
                <a:solidFill>
                  <a:srgbClr val="000000"/>
                </a:solidFill>
              </a:rPr>
              <a:t>Reference(s):</a:t>
            </a:r>
          </a:p>
          <a:p>
            <a:r>
              <a:rPr lang="en-US" sz="1000" dirty="0" err="1"/>
              <a:t>Wiviott</a:t>
            </a:r>
            <a:r>
              <a:rPr lang="en-US" sz="1000" dirty="0"/>
              <a:t> SD, </a:t>
            </a:r>
            <a:r>
              <a:rPr lang="en-US" sz="1000" dirty="0" err="1"/>
              <a:t>Raz</a:t>
            </a:r>
            <a:r>
              <a:rPr lang="en-US" sz="1000" dirty="0"/>
              <a:t> I, </a:t>
            </a:r>
            <a:r>
              <a:rPr lang="en-US" sz="1000" dirty="0" err="1"/>
              <a:t>Bonaca</a:t>
            </a:r>
            <a:r>
              <a:rPr lang="en-US" sz="1000" dirty="0"/>
              <a:t> MP, et al, for the DECLARE-TIMI 58 Investigators.  Dapagliflozin and cardiovascular outcomes in type 2 diabetes [published online ahead of print November 10, 2018].  </a:t>
            </a:r>
            <a:r>
              <a:rPr lang="en-US" sz="1000" i="1" dirty="0"/>
              <a:t>N </a:t>
            </a:r>
            <a:r>
              <a:rPr lang="en-US" sz="1000" i="1" dirty="0" err="1"/>
              <a:t>Engl</a:t>
            </a:r>
            <a:r>
              <a:rPr lang="en-US" sz="1000" i="1" dirty="0"/>
              <a:t> J Med</a:t>
            </a:r>
            <a:r>
              <a:rPr lang="en-US" sz="1000" dirty="0"/>
              <a:t>. 2018. http://dx.doi.org/10.1056/NEJMoa1812389. Accessed November 10, 2018.</a:t>
            </a:r>
          </a:p>
        </p:txBody>
      </p:sp>
      <p:sp>
        <p:nvSpPr>
          <p:cNvPr id="4" name="Slide Number Placeholder 3"/>
          <p:cNvSpPr>
            <a:spLocks noGrp="1"/>
          </p:cNvSpPr>
          <p:nvPr>
            <p:ph type="sldNum" sz="quarter" idx="10"/>
          </p:nvPr>
        </p:nvSpPr>
        <p:spPr>
          <a:xfrm>
            <a:off x="3850443" y="9428583"/>
            <a:ext cx="2945659" cy="496332"/>
          </a:xfrm>
          <a:prstGeom prst="rect">
            <a:avLst/>
          </a:prstGeom>
        </p:spPr>
        <p:txBody>
          <a:bodyPr/>
          <a:lstStyle/>
          <a:p>
            <a:pPr>
              <a:defRPr/>
            </a:pPr>
            <a:fld id="{50487F27-F4AC-478C-A07B-A71CA0B86259}" type="slidenum">
              <a:rPr lang="en-US" smtClean="0">
                <a:solidFill>
                  <a:prstClr val="black"/>
                </a:solidFill>
              </a:rPr>
              <a:pPr>
                <a:defRPr/>
              </a:pPr>
              <a:t>21</a:t>
            </a:fld>
            <a:endParaRPr lang="en-US">
              <a:solidFill>
                <a:prstClr val="black"/>
              </a:solidFill>
            </a:endParaRPr>
          </a:p>
        </p:txBody>
      </p:sp>
    </p:spTree>
    <p:extLst>
      <p:ext uri="{BB962C8B-B14F-4D97-AF65-F5344CB8AC3E}">
        <p14:creationId xmlns:p14="http://schemas.microsoft.com/office/powerpoint/2010/main" val="551220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6125"/>
            <a:ext cx="4959350" cy="3719513"/>
          </a:xfrm>
        </p:spPr>
      </p:sp>
      <p:sp>
        <p:nvSpPr>
          <p:cNvPr id="3" name="Notes Placeholder 2"/>
          <p:cNvSpPr>
            <a:spLocks noGrp="1"/>
          </p:cNvSpPr>
          <p:nvPr>
            <p:ph type="body" idx="1"/>
          </p:nvPr>
        </p:nvSpPr>
        <p:spPr/>
        <p:txBody>
          <a:bodyPr>
            <a:normAutofit/>
          </a:bodyPr>
          <a:lstStyle/>
          <a:p>
            <a:r>
              <a:rPr lang="en-GB" dirty="0"/>
              <a:t>In summary, FORXIGA is a first-in-class SGLT2 inhibitor, which removes excess glucose via an insulin-independent mechanism of action and provides:</a:t>
            </a:r>
          </a:p>
          <a:p>
            <a:pPr marL="177800" lvl="1" indent="-177800">
              <a:buFont typeface="Arial" pitchFamily="34" charset="0"/>
              <a:buChar char="•"/>
            </a:pPr>
            <a:r>
              <a:rPr lang="en-GB" dirty="0"/>
              <a:t>Significant and sustained HbA</a:t>
            </a:r>
            <a:r>
              <a:rPr lang="en-GB" baseline="-25000" dirty="0"/>
              <a:t>1c</a:t>
            </a:r>
            <a:r>
              <a:rPr lang="en-GB" dirty="0"/>
              <a:t> reductions</a:t>
            </a:r>
            <a:r>
              <a:rPr lang="en-GB" baseline="30000" dirty="0"/>
              <a:t>1,2</a:t>
            </a:r>
            <a:endParaRPr lang="en-GB" dirty="0"/>
          </a:p>
          <a:p>
            <a:pPr marL="177800" lvl="1" indent="-177800">
              <a:buFont typeface="Arial" pitchFamily="34" charset="0"/>
              <a:buChar char="•"/>
            </a:pPr>
            <a:r>
              <a:rPr lang="en-GB" dirty="0"/>
              <a:t>Additional benefits of weight loss and a reduction in blood pressure</a:t>
            </a:r>
            <a:r>
              <a:rPr lang="en-GB" baseline="30000" dirty="0"/>
              <a:t>1</a:t>
            </a:r>
            <a:endParaRPr lang="en-GB" dirty="0"/>
          </a:p>
          <a:p>
            <a:pPr marL="177800" lvl="1" indent="-177800">
              <a:buFont typeface="Arial" pitchFamily="34" charset="0"/>
              <a:buChar char="•"/>
            </a:pPr>
            <a:r>
              <a:rPr lang="en-GB" dirty="0"/>
              <a:t>Low incidence of hypoglycaemia</a:t>
            </a:r>
            <a:r>
              <a:rPr lang="en-GB" baseline="30000" dirty="0"/>
              <a:t>1</a:t>
            </a:r>
            <a:endParaRPr lang="en-GB" dirty="0"/>
          </a:p>
          <a:p>
            <a:pPr marL="177800" lvl="1" indent="-177800">
              <a:buFont typeface="Arial" pitchFamily="34" charset="0"/>
              <a:buChar char="•"/>
            </a:pPr>
            <a:r>
              <a:rPr lang="en-GB" dirty="0"/>
              <a:t>In one 10 mg tablet a day</a:t>
            </a:r>
            <a:r>
              <a:rPr lang="en-GB" baseline="30000" dirty="0"/>
              <a:t>3</a:t>
            </a:r>
            <a:r>
              <a:rPr lang="en-GB" dirty="0"/>
              <a:t>*</a:t>
            </a:r>
          </a:p>
          <a:p>
            <a:pPr marL="177800" lvl="1" indent="-177800">
              <a:buFont typeface="Arial" pitchFamily="34" charset="0"/>
              <a:buChar char="•"/>
            </a:pPr>
            <a:endParaRPr lang="en-GB" dirty="0"/>
          </a:p>
          <a:p>
            <a:pPr marL="0" lvl="1"/>
            <a:r>
              <a:rPr lang="en-GB" dirty="0"/>
              <a:t>*In patients with severe hepatic impairment, a starting dose of 5 mg is recommended. If well tolerated, the dose may be increased up to 10 mg.</a:t>
            </a:r>
            <a:r>
              <a:rPr lang="en-GB" baseline="30000" dirty="0"/>
              <a:t>3</a:t>
            </a:r>
          </a:p>
          <a:p>
            <a:pPr marL="177800" lvl="1" indent="-177800"/>
            <a:endParaRPr lang="en-GB" dirty="0"/>
          </a:p>
          <a:p>
            <a:pPr marL="177800" lvl="1" indent="-177800"/>
            <a:r>
              <a:rPr lang="en-GB" b="1" dirty="0"/>
              <a:t>References</a:t>
            </a:r>
          </a:p>
          <a:p>
            <a:pPr marL="228600" lvl="1" indent="-228600">
              <a:buFont typeface="+mj-lt"/>
              <a:buAutoNum type="arabicPeriod"/>
            </a:pPr>
            <a:r>
              <a:rPr lang="en-GB" dirty="0"/>
              <a:t>Bailey CJ, </a:t>
            </a:r>
            <a:r>
              <a:rPr lang="en-GB" i="1" dirty="0"/>
              <a:t>et al. Lancet </a:t>
            </a:r>
            <a:r>
              <a:rPr lang="en-GB" dirty="0"/>
              <a:t>2010;</a:t>
            </a:r>
            <a:r>
              <a:rPr lang="en-GB" b="1" dirty="0"/>
              <a:t>375</a:t>
            </a:r>
            <a:r>
              <a:rPr lang="en-GB" dirty="0"/>
              <a:t>:2223–33.</a:t>
            </a:r>
          </a:p>
          <a:p>
            <a:pPr marL="228600" lvl="1" indent="-228600">
              <a:buFont typeface="+mj-lt"/>
              <a:buAutoNum type="arabicPeriod"/>
            </a:pPr>
            <a:r>
              <a:rPr lang="en-GB" dirty="0"/>
              <a:t>Bailey CJ, </a:t>
            </a:r>
            <a:r>
              <a:rPr lang="en-GB" i="1" dirty="0"/>
              <a:t>et al. </a:t>
            </a:r>
            <a:r>
              <a:rPr lang="en-GB" dirty="0"/>
              <a:t>Poster 988-P. Poster presented at 71st Scientific Sessions of the American Diabetes Association, San Diego, California, 24–28 June, 2011.</a:t>
            </a:r>
          </a:p>
          <a:p>
            <a:pPr marL="228600" lvl="1" indent="-228600">
              <a:buFont typeface="+mj-lt"/>
              <a:buAutoNum type="arabicPeriod"/>
            </a:pPr>
            <a:r>
              <a:rPr lang="en-GB" dirty="0"/>
              <a:t>FORXIGA™. Summary of product characteristics. Bristol-Myers Squibb/AstraZeneca EEIG, 2012.</a:t>
            </a:r>
          </a:p>
          <a:p>
            <a:pPr marL="177800" lvl="1" indent="-177800"/>
            <a:endParaRPr lang="en-GB" dirty="0"/>
          </a:p>
          <a:p>
            <a:endParaRPr lang="en-GB" dirty="0"/>
          </a:p>
        </p:txBody>
      </p:sp>
      <p:sp>
        <p:nvSpPr>
          <p:cNvPr id="4" name="Slide Number Placeholder 3"/>
          <p:cNvSpPr>
            <a:spLocks noGrp="1"/>
          </p:cNvSpPr>
          <p:nvPr>
            <p:ph type="sldNum" sz="quarter" idx="10"/>
          </p:nvPr>
        </p:nvSpPr>
        <p:spPr>
          <a:xfrm>
            <a:off x="3850443" y="9428583"/>
            <a:ext cx="2945659" cy="496332"/>
          </a:xfrm>
          <a:prstGeom prst="rect">
            <a:avLst/>
          </a:prstGeom>
        </p:spPr>
        <p:txBody>
          <a:bodyPr/>
          <a:lstStyle/>
          <a:p>
            <a:fld id="{5CFE5C84-AF36-4385-A5E5-278F6208B8B6}"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3970639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GB" dirty="0"/>
              <a:t>FORXIGA is indicated for the treatment of adults with Type 2 diabetes to improve glycaemic control as:</a:t>
            </a:r>
            <a:r>
              <a:rPr lang="en-GB" baseline="30000" dirty="0"/>
              <a:t>1</a:t>
            </a:r>
          </a:p>
          <a:p>
            <a:pPr marL="177800" indent="-177800">
              <a:buFont typeface="Arial" pitchFamily="34" charset="0"/>
              <a:buChar char="•"/>
            </a:pPr>
            <a:r>
              <a:rPr lang="en-GB" dirty="0"/>
              <a:t>Add-on combination therapy – in combination with a </a:t>
            </a:r>
            <a:r>
              <a:rPr lang="en-GB" dirty="0" err="1"/>
              <a:t>monotherapy</a:t>
            </a:r>
            <a:r>
              <a:rPr lang="en-GB" dirty="0"/>
              <a:t> of metformin, a </a:t>
            </a:r>
            <a:r>
              <a:rPr lang="en-GB" dirty="0" err="1"/>
              <a:t>monotherapy</a:t>
            </a:r>
            <a:r>
              <a:rPr lang="en-GB" dirty="0"/>
              <a:t> of </a:t>
            </a:r>
            <a:r>
              <a:rPr lang="en-GB" dirty="0" err="1"/>
              <a:t>sulphonylureas</a:t>
            </a:r>
            <a:r>
              <a:rPr lang="en-GB" dirty="0"/>
              <a:t> or a treatment with insulin (± oral </a:t>
            </a:r>
            <a:r>
              <a:rPr lang="en-GB" dirty="0" err="1"/>
              <a:t>antidiabetic</a:t>
            </a:r>
            <a:r>
              <a:rPr lang="en-GB" dirty="0"/>
              <a:t> drugs) when these, together with diet and exercise, do not provide adequate glycaemic control</a:t>
            </a:r>
          </a:p>
          <a:p>
            <a:pPr marL="177800" indent="-177800">
              <a:buFont typeface="Arial" pitchFamily="34" charset="0"/>
              <a:buChar char="•"/>
            </a:pPr>
            <a:r>
              <a:rPr lang="en-GB" dirty="0" err="1"/>
              <a:t>Monotherapy</a:t>
            </a:r>
            <a:r>
              <a:rPr lang="en-GB" dirty="0"/>
              <a:t> – when diet and exercise alone do not provide adequate glycaemic control in patients for whom use of metformin is considered inappropriate due </a:t>
            </a:r>
            <a:br>
              <a:rPr lang="en-GB" dirty="0"/>
            </a:br>
            <a:r>
              <a:rPr lang="en-GB" dirty="0"/>
              <a:t>to intolerance</a:t>
            </a:r>
          </a:p>
          <a:p>
            <a:endParaRPr lang="en-GB" dirty="0"/>
          </a:p>
          <a:p>
            <a:r>
              <a:rPr lang="en-GB" b="1" dirty="0"/>
              <a:t>Reference</a:t>
            </a:r>
          </a:p>
          <a:p>
            <a:pPr marL="228600" indent="-228600">
              <a:buFont typeface="+mj-lt"/>
              <a:buAutoNum type="arabicPeriod"/>
            </a:pPr>
            <a:r>
              <a:rPr lang="en-US" dirty="0"/>
              <a:t>FORXIGA™. Summary of product characteristics. </a:t>
            </a:r>
            <a:r>
              <a:rPr lang="en-GB" dirty="0"/>
              <a:t>Bristol-Myers Squibb/AstraZeneca EEIG, 2012.</a:t>
            </a:r>
          </a:p>
          <a:p>
            <a:endParaRPr lang="en-GB" b="1" dirty="0"/>
          </a:p>
          <a:p>
            <a:endParaRPr lang="en-GB" dirty="0"/>
          </a:p>
        </p:txBody>
      </p:sp>
      <p:sp>
        <p:nvSpPr>
          <p:cNvPr id="4" name="Slide Number Placeholder 3"/>
          <p:cNvSpPr>
            <a:spLocks noGrp="1"/>
          </p:cNvSpPr>
          <p:nvPr>
            <p:ph type="sldNum" sz="quarter" idx="10"/>
          </p:nvPr>
        </p:nvSpPr>
        <p:spPr>
          <a:xfrm>
            <a:off x="3850443" y="9428583"/>
            <a:ext cx="2945659" cy="496332"/>
          </a:xfrm>
          <a:prstGeom prst="rect">
            <a:avLst/>
          </a:prstGeom>
        </p:spPr>
        <p:txBody>
          <a:bodyPr/>
          <a:lstStyle/>
          <a:p>
            <a:fld id="{16D5D058-1FFC-4D01-8F65-C02472611415}" type="slidenum">
              <a:rPr lang="en-GB" smtClean="0">
                <a:solidFill>
                  <a:prstClr val="black"/>
                </a:solidFill>
              </a:rPr>
              <a:pPr/>
              <a:t>28</a:t>
            </a:fld>
            <a:endParaRPr lang="en-GB">
              <a:solidFill>
                <a:prstClr val="black"/>
              </a:solidFill>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559275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DF9E5905-C1D4-4EC0-B0A4-76B8DA01E1DD}" type="slidenum">
              <a:rPr kumimoji="0" lang="en-GB" altLang="en-US" sz="1200" b="0" i="0" u="none" strike="noStrike" kern="1200" cap="none" spc="0" normalizeH="0" baseline="0" noProof="0">
                <a:ln>
                  <a:noFill/>
                </a:ln>
                <a:solidFill>
                  <a:srgbClr val="000000"/>
                </a:solidFill>
                <a:effectLst/>
                <a:uLnTx/>
                <a:uFillTx/>
                <a:latin typeface="Verdana" panose="020B0604030504040204" pitchFamily="34" charset="0"/>
                <a:ea typeface="ヒラギノ角ゴ Pro W3"/>
                <a:cs typeface="ヒラギノ角ゴ Pro W3"/>
              </a:rPr>
              <a:pPr marL="0" marR="0" lvl="0" indent="0" algn="r" defTabSz="914400" rtl="0" eaLnBrk="1" fontAlgn="auto" latinLnBrk="0" hangingPunct="1">
                <a:lnSpc>
                  <a:spcPct val="100000"/>
                </a:lnSpc>
                <a:spcBef>
                  <a:spcPct val="0"/>
                </a:spcBef>
                <a:spcAft>
                  <a:spcPts val="0"/>
                </a:spcAft>
                <a:buClrTx/>
                <a:buSzTx/>
                <a:buFontTx/>
                <a:buNone/>
                <a:tabLst/>
                <a:defRPr/>
              </a:pPr>
              <a:t>6</a:t>
            </a:fld>
            <a:endParaRPr kumimoji="0" lang="en-GB" altLang="en-US" sz="1200" b="0" i="0" u="none" strike="noStrike" kern="1200" cap="none" spc="0" normalizeH="0" baseline="0" noProof="0" dirty="0">
              <a:ln>
                <a:noFill/>
              </a:ln>
              <a:solidFill>
                <a:srgbClr val="000000"/>
              </a:solidFill>
              <a:effectLst/>
              <a:uLnTx/>
              <a:uFillTx/>
              <a:latin typeface="Verdana" panose="020B0604030504040204" pitchFamily="34" charset="0"/>
              <a:ea typeface="ヒラギノ角ゴ Pro W3"/>
              <a:cs typeface="ヒラギノ角ゴ Pro W3"/>
            </a:endParaRPr>
          </a:p>
        </p:txBody>
      </p:sp>
      <p:sp>
        <p:nvSpPr>
          <p:cNvPr id="66563" name="Rectangle 2"/>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altLang="en-US" dirty="0">
                <a:ea typeface="ヒラギノ角ゴ Pro W3"/>
                <a:cs typeface="Arial" panose="020B0604020202020204" pitchFamily="34" charset="0"/>
              </a:rPr>
              <a:t>Publication of meta-analysis in NEJM</a:t>
            </a:r>
          </a:p>
          <a:p>
            <a:pPr eaLnBrk="1" hangingPunct="1">
              <a:spcBef>
                <a:spcPct val="0"/>
              </a:spcBef>
            </a:pPr>
            <a:r>
              <a:rPr lang="en-GB" altLang="en-US" dirty="0">
                <a:ea typeface="ヒラギノ角ゴ Pro W3"/>
                <a:cs typeface="Arial" panose="020B0604020202020204" pitchFamily="34" charset="0"/>
              </a:rPr>
              <a:t>Statistically significant increase in myocardial infarction and borderline significant increase in cardiovascular mortality</a:t>
            </a:r>
          </a:p>
          <a:p>
            <a:pPr eaLnBrk="1" hangingPunct="1">
              <a:spcBef>
                <a:spcPct val="0"/>
              </a:spcBef>
            </a:pPr>
            <a:endParaRPr lang="en-GB" altLang="en-US" dirty="0">
              <a:ea typeface="ヒラギノ角ゴ Pro W3"/>
              <a:cs typeface="Arial" panose="020B0604020202020204" pitchFamily="34" charset="0"/>
            </a:endParaRPr>
          </a:p>
          <a:p>
            <a:pPr eaLnBrk="1" hangingPunct="1">
              <a:spcBef>
                <a:spcPct val="0"/>
              </a:spcBef>
            </a:pPr>
            <a:r>
              <a:rPr lang="en-GB" altLang="en-US" dirty="0">
                <a:ea typeface="ヒラギノ角ゴ Pro W3"/>
                <a:cs typeface="Arial" panose="020B0604020202020204" pitchFamily="34" charset="0"/>
              </a:rPr>
              <a:t>Surprisingly little is known about the long-term effects of antidiabetic agents on the cardiovascular system. Indeed, recent studies have shown that several groups of currently available diabetic drugs cause specific concerns, which may explain, in part, the lack of improved cardiovascular outcomes from the treatment of diabetes using specific agents.</a:t>
            </a:r>
          </a:p>
        </p:txBody>
      </p:sp>
      <p:sp>
        <p:nvSpPr>
          <p:cNvPr id="91141" name="Header Placeholder 1"/>
          <p:cNvSpPr>
            <a:spLocks noGrp="1"/>
          </p:cNvSpPr>
          <p:nvPr>
            <p:ph type="hdr" sz="quarter"/>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Calibri" pitchFamily="34" charset="0"/>
                <a:ea typeface="+mn-ea"/>
                <a:cs typeface="+mn-cs"/>
              </a:rPr>
              <a:t>Completed &amp; Upcoming CV Outcome Trials in T2DM - What have we learned so far April 2014</a:t>
            </a:r>
          </a:p>
        </p:txBody>
      </p:sp>
      <p:sp>
        <p:nvSpPr>
          <p:cNvPr id="2" name="TextBox 1"/>
          <p:cNvSpPr txBox="1"/>
          <p:nvPr>
            <p:custDataLst>
              <p:tags r:id="rId1"/>
            </p:custDataLst>
          </p:nvPr>
        </p:nvSpPr>
        <p:spPr>
          <a:xfrm>
            <a:off x="0" y="0"/>
            <a:ext cx="3810000" cy="1270000"/>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9594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80038" y="485775"/>
            <a:ext cx="3230562" cy="2422525"/>
          </a:xfrm>
        </p:spPr>
      </p:sp>
      <p:sp>
        <p:nvSpPr>
          <p:cNvPr id="3" name="Notes Placeholder 2"/>
          <p:cNvSpPr>
            <a:spLocks noGrp="1"/>
          </p:cNvSpPr>
          <p:nvPr>
            <p:ph type="body" idx="1"/>
          </p:nvPr>
        </p:nvSpPr>
        <p:spPr/>
        <p:txBody>
          <a:bodyPr/>
          <a:lstStyle/>
          <a:p>
            <a:r>
              <a:rPr lang="en-GB" dirty="0"/>
              <a:t>Q2 2016 – TERMINATED: NCT01703208 A Study to Assess Cardiovascular Outcomes Following Treatment With Omarigliptin (MK-3102) in Participants With Type 2 Diabetes Mellitus (MK-3102-018). “The study was terminated for business reasons and not due to any safety or efficacy concerns related to omarigliptin”</a:t>
            </a:r>
          </a:p>
        </p:txBody>
      </p:sp>
      <p:sp>
        <p:nvSpPr>
          <p:cNvPr id="4" name="Slide Number Placeholder 3"/>
          <p:cNvSpPr>
            <a:spLocks noGrp="1"/>
          </p:cNvSpPr>
          <p:nvPr>
            <p:ph type="sldNum" sz="quarter" idx="10"/>
          </p:nvPr>
        </p:nvSpPr>
        <p:spPr>
          <a:xfrm>
            <a:off x="3850443" y="9428583"/>
            <a:ext cx="2945659" cy="496332"/>
          </a:xfrm>
          <a:prstGeom prst="rect">
            <a:avLst/>
          </a:prstGeom>
        </p:spPr>
        <p:txBody>
          <a:bodyPr/>
          <a:lstStyle/>
          <a:p>
            <a:fld id="{576E89B1-B476-4C59-A1AE-E6F2A1941AB8}" type="slidenum">
              <a:rPr lang="en-GB">
                <a:solidFill>
                  <a:prstClr val="black"/>
                </a:solidFill>
                <a:latin typeface="Verdana"/>
              </a:rPr>
              <a:pPr/>
              <a:t>7</a:t>
            </a:fld>
            <a:endParaRPr lang="en-GB" dirty="0">
              <a:solidFill>
                <a:prstClr val="black"/>
              </a:solidFill>
              <a:latin typeface="Verdana"/>
            </a:endParaRPr>
          </a:p>
        </p:txBody>
      </p:sp>
    </p:spTree>
    <p:extLst>
      <p:ext uri="{BB962C8B-B14F-4D97-AF65-F5344CB8AC3E}">
        <p14:creationId xmlns:p14="http://schemas.microsoft.com/office/powerpoint/2010/main" val="2695387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xfrm>
            <a:off x="3850294" y="9429305"/>
            <a:ext cx="2945862" cy="49579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21" tIns="44111" rIns="88221" bIns="44111"/>
          <a:lstStyle>
            <a:lvl1pPr defTabSz="973520" eaLnBrk="0" hangingPunct="0">
              <a:spcBef>
                <a:spcPct val="30000"/>
              </a:spcBef>
              <a:defRPr sz="1300">
                <a:solidFill>
                  <a:schemeClr val="tx1"/>
                </a:solidFill>
                <a:latin typeface="Arial" pitchFamily="34" charset="0"/>
              </a:defRPr>
            </a:lvl1pPr>
            <a:lvl2pPr marL="761885" indent="-293033" defTabSz="973520" eaLnBrk="0" hangingPunct="0">
              <a:spcBef>
                <a:spcPct val="30000"/>
              </a:spcBef>
              <a:defRPr sz="1300">
                <a:solidFill>
                  <a:schemeClr val="tx1"/>
                </a:solidFill>
                <a:latin typeface="Arial" pitchFamily="34" charset="0"/>
              </a:defRPr>
            </a:lvl2pPr>
            <a:lvl3pPr marL="1172131" indent="-234426" defTabSz="973520" eaLnBrk="0" hangingPunct="0">
              <a:spcBef>
                <a:spcPct val="30000"/>
              </a:spcBef>
              <a:defRPr sz="1300">
                <a:solidFill>
                  <a:schemeClr val="tx1"/>
                </a:solidFill>
                <a:latin typeface="Arial" pitchFamily="34" charset="0"/>
              </a:defRPr>
            </a:lvl3pPr>
            <a:lvl4pPr marL="1640983" indent="-234426" defTabSz="973520" eaLnBrk="0" hangingPunct="0">
              <a:spcBef>
                <a:spcPct val="30000"/>
              </a:spcBef>
              <a:defRPr sz="1300">
                <a:solidFill>
                  <a:schemeClr val="tx1"/>
                </a:solidFill>
                <a:latin typeface="Arial" pitchFamily="34" charset="0"/>
              </a:defRPr>
            </a:lvl4pPr>
            <a:lvl5pPr marL="2109834" indent="-234426" defTabSz="973520" eaLnBrk="0" hangingPunct="0">
              <a:spcBef>
                <a:spcPct val="30000"/>
              </a:spcBef>
              <a:defRPr sz="1300">
                <a:solidFill>
                  <a:schemeClr val="tx1"/>
                </a:solidFill>
                <a:latin typeface="Arial" pitchFamily="34" charset="0"/>
              </a:defRPr>
            </a:lvl5pPr>
            <a:lvl6pPr marL="2578687" indent="-234426" defTabSz="973520" eaLnBrk="0" fontAlgn="base" hangingPunct="0">
              <a:spcBef>
                <a:spcPct val="30000"/>
              </a:spcBef>
              <a:spcAft>
                <a:spcPct val="0"/>
              </a:spcAft>
              <a:defRPr sz="1300">
                <a:solidFill>
                  <a:schemeClr val="tx1"/>
                </a:solidFill>
                <a:latin typeface="Arial" pitchFamily="34" charset="0"/>
              </a:defRPr>
            </a:lvl6pPr>
            <a:lvl7pPr marL="3047539" indent="-234426" defTabSz="973520" eaLnBrk="0" fontAlgn="base" hangingPunct="0">
              <a:spcBef>
                <a:spcPct val="30000"/>
              </a:spcBef>
              <a:spcAft>
                <a:spcPct val="0"/>
              </a:spcAft>
              <a:defRPr sz="1300">
                <a:solidFill>
                  <a:schemeClr val="tx1"/>
                </a:solidFill>
                <a:latin typeface="Arial" pitchFamily="34" charset="0"/>
              </a:defRPr>
            </a:lvl7pPr>
            <a:lvl8pPr marL="3516391" indent="-234426" defTabSz="973520" eaLnBrk="0" fontAlgn="base" hangingPunct="0">
              <a:spcBef>
                <a:spcPct val="30000"/>
              </a:spcBef>
              <a:spcAft>
                <a:spcPct val="0"/>
              </a:spcAft>
              <a:defRPr sz="1300">
                <a:solidFill>
                  <a:schemeClr val="tx1"/>
                </a:solidFill>
                <a:latin typeface="Arial" pitchFamily="34" charset="0"/>
              </a:defRPr>
            </a:lvl8pPr>
            <a:lvl9pPr marL="3985243" indent="-234426" defTabSz="973520" eaLnBrk="0" fontAlgn="base" hangingPunct="0">
              <a:spcBef>
                <a:spcPct val="30000"/>
              </a:spcBef>
              <a:spcAft>
                <a:spcPct val="0"/>
              </a:spcAft>
              <a:defRPr sz="1300">
                <a:solidFill>
                  <a:schemeClr val="tx1"/>
                </a:solidFill>
                <a:latin typeface="Arial" pitchFamily="34" charset="0"/>
              </a:defRPr>
            </a:lvl9pPr>
          </a:lstStyle>
          <a:p>
            <a:pPr eaLnBrk="1" hangingPunct="1">
              <a:spcBef>
                <a:spcPct val="0"/>
              </a:spcBef>
            </a:pPr>
            <a:fld id="{90BCA0C7-7E2F-4205-8F77-4B97CA1F3C59}" type="slidenum">
              <a:rPr lang="en-US" altLang="en-US" smtClean="0">
                <a:solidFill>
                  <a:srgbClr val="000000"/>
                </a:solidFill>
              </a:rPr>
              <a:pPr eaLnBrk="1" hangingPunct="1">
                <a:spcBef>
                  <a:spcPct val="0"/>
                </a:spcBef>
              </a:pPr>
              <a:t>8</a:t>
            </a:fld>
            <a:endParaRPr lang="en-US" altLang="en-US">
              <a:solidFill>
                <a:srgbClr val="000000"/>
              </a:solidFill>
            </a:endParaRPr>
          </a:p>
        </p:txBody>
      </p:sp>
      <p:sp>
        <p:nvSpPr>
          <p:cNvPr id="87043" name="Rectangle 2"/>
          <p:cNvSpPr>
            <a:spLocks noGrp="1" noRot="1" noChangeAspect="1" noChangeArrowheads="1" noTextEdit="1"/>
          </p:cNvSpPr>
          <p:nvPr>
            <p:ph type="sldImg"/>
          </p:nvPr>
        </p:nvSpPr>
        <p:spPr>
          <a:xfrm>
            <a:off x="198438" y="333375"/>
            <a:ext cx="3744912" cy="2808288"/>
          </a:xfrm>
          <a:ln/>
        </p:spPr>
      </p:sp>
      <p:sp>
        <p:nvSpPr>
          <p:cNvPr id="87044" name="Rectangle 3"/>
          <p:cNvSpPr>
            <a:spLocks noGrp="1" noChangeArrowheads="1"/>
          </p:cNvSpPr>
          <p:nvPr>
            <p:ph type="body" idx="1"/>
          </p:nvPr>
        </p:nvSpPr>
        <p:spPr>
          <a:xfrm>
            <a:off x="377137" y="3234294"/>
            <a:ext cx="6092663" cy="574477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cs-CZ">
                <a:latin typeface="Arial" pitchFamily="34" charset="0"/>
              </a:rPr>
              <a:t>DISCUSSION</a:t>
            </a:r>
          </a:p>
          <a:p>
            <a:pPr lvl="1" eaLnBrk="1" hangingPunct="1">
              <a:spcBef>
                <a:spcPct val="0"/>
              </a:spcBef>
            </a:pPr>
            <a:r>
              <a:rPr lang="en-US" altLang="cs-CZ">
                <a:latin typeface="Arial" pitchFamily="34" charset="0"/>
              </a:rPr>
              <a:t>In the peripheral tissues</a:t>
            </a:r>
            <a:r>
              <a:rPr lang="en-US" altLang="cs-CZ" sz="1100">
                <a:latin typeface="Arial" pitchFamily="34" charset="0"/>
              </a:rPr>
              <a:t>, the majority of the effects of </a:t>
            </a:r>
            <a:r>
              <a:rPr lang="en-CA" altLang="cs-CZ">
                <a:latin typeface="Arial" pitchFamily="34" charset="0"/>
              </a:rPr>
              <a:t>glucagon-like peptide 1 (GLP-1)</a:t>
            </a:r>
            <a:r>
              <a:rPr lang="en-US" altLang="cs-CZ">
                <a:latin typeface="Arial" pitchFamily="34" charset="0"/>
              </a:rPr>
              <a:t> </a:t>
            </a:r>
            <a:r>
              <a:rPr lang="en-US" altLang="cs-CZ" sz="1100">
                <a:latin typeface="Arial" pitchFamily="34" charset="0"/>
              </a:rPr>
              <a:t>are mediated by direct interaction with the specific tissue GLP-1 receptors</a:t>
            </a:r>
          </a:p>
          <a:p>
            <a:pPr lvl="1" eaLnBrk="1" hangingPunct="1">
              <a:spcBef>
                <a:spcPct val="0"/>
              </a:spcBef>
            </a:pPr>
            <a:r>
              <a:rPr lang="en-US" altLang="cs-CZ" sz="1100">
                <a:latin typeface="Arial" pitchFamily="34" charset="0"/>
              </a:rPr>
              <a:t>Indirect mechanisms of action of GLP-1 occur in liver, adipose, and muscle tissues</a:t>
            </a:r>
          </a:p>
          <a:p>
            <a:pPr lvl="2" eaLnBrk="1" hangingPunct="1">
              <a:spcBef>
                <a:spcPct val="0"/>
              </a:spcBef>
            </a:pPr>
            <a:endParaRPr lang="en-US" altLang="cs-CZ" sz="1100">
              <a:latin typeface="Arial" pitchFamily="34" charset="0"/>
            </a:endParaRPr>
          </a:p>
          <a:p>
            <a:pPr eaLnBrk="1" hangingPunct="1">
              <a:spcBef>
                <a:spcPct val="0"/>
              </a:spcBef>
            </a:pPr>
            <a:r>
              <a:rPr lang="en-US" altLang="cs-CZ">
                <a:latin typeface="Arial" pitchFamily="34" charset="0"/>
              </a:rPr>
              <a:t>BACKGROUND</a:t>
            </a:r>
          </a:p>
          <a:p>
            <a:pPr lvl="1" eaLnBrk="1" hangingPunct="1">
              <a:spcBef>
                <a:spcPct val="20000"/>
              </a:spcBef>
            </a:pPr>
            <a:r>
              <a:rPr lang="en-US" altLang="cs-CZ">
                <a:latin typeface="Arial" pitchFamily="34" charset="0"/>
              </a:rPr>
              <a:t>GLP-1 is synthesised and released from the L-cells located predominantly in the ileum and colon, and to a lesser extent, in the duodenum and jejunum</a:t>
            </a:r>
          </a:p>
          <a:p>
            <a:pPr lvl="2" eaLnBrk="1" hangingPunct="1">
              <a:spcBef>
                <a:spcPct val="0"/>
              </a:spcBef>
            </a:pPr>
            <a:r>
              <a:rPr lang="en-US" altLang="cs-CZ">
                <a:latin typeface="Arial" pitchFamily="34" charset="0"/>
              </a:rPr>
              <a:t>There are multiple sites of GLP-1 action, including pancreatic </a:t>
            </a:r>
            <a:r>
              <a:rPr lang="en-US" altLang="cs-CZ">
                <a:latin typeface="Arial" pitchFamily="34" charset="0"/>
                <a:sym typeface="Symbol" pitchFamily="18" charset="2"/>
              </a:rPr>
              <a:t>beta and alpha</a:t>
            </a:r>
            <a:r>
              <a:rPr lang="en-US" altLang="cs-CZ">
                <a:latin typeface="MS PGothic" pitchFamily="34" charset="-128"/>
                <a:sym typeface="Symbol" pitchFamily="18" charset="2"/>
              </a:rPr>
              <a:t> </a:t>
            </a:r>
            <a:r>
              <a:rPr lang="en-US" altLang="cs-CZ">
                <a:latin typeface="Arial" pitchFamily="34" charset="0"/>
                <a:sym typeface="Symbol" pitchFamily="18" charset="2"/>
              </a:rPr>
              <a:t>cells</a:t>
            </a:r>
            <a:r>
              <a:rPr lang="en-US" altLang="cs-CZ">
                <a:latin typeface="Arial" pitchFamily="34" charset="0"/>
              </a:rPr>
              <a:t>, and the gastrointestinal, cardiovascular, and central nervous (CNS) systems</a:t>
            </a:r>
          </a:p>
          <a:p>
            <a:pPr lvl="2" eaLnBrk="1" hangingPunct="1">
              <a:spcBef>
                <a:spcPct val="0"/>
              </a:spcBef>
            </a:pPr>
            <a:r>
              <a:rPr lang="en-US" altLang="cs-CZ">
                <a:latin typeface="Arial" pitchFamily="34" charset="0"/>
              </a:rPr>
              <a:t>Actions are receptor mediated</a:t>
            </a:r>
          </a:p>
          <a:p>
            <a:pPr lvl="1" eaLnBrk="1" hangingPunct="1">
              <a:spcBef>
                <a:spcPct val="0"/>
              </a:spcBef>
            </a:pPr>
            <a:r>
              <a:rPr lang="en-US" altLang="cs-CZ">
                <a:latin typeface="Arial" pitchFamily="34" charset="0"/>
              </a:rPr>
              <a:t>Through indirect actions, such as inhibiting hepatic glucose production and stimulating glucose uptake in fat and muscle, GLP-1 can influence glucoregulatory physiological responses</a:t>
            </a:r>
          </a:p>
          <a:p>
            <a:pPr eaLnBrk="1" hangingPunct="1">
              <a:spcBef>
                <a:spcPct val="0"/>
              </a:spcBef>
            </a:pPr>
            <a:endParaRPr lang="en-US" altLang="cs-CZ" b="1">
              <a:latin typeface="Arial" pitchFamily="34" charset="0"/>
            </a:endParaRPr>
          </a:p>
          <a:p>
            <a:pPr eaLnBrk="1" hangingPunct="1">
              <a:spcBef>
                <a:spcPct val="0"/>
              </a:spcBef>
            </a:pPr>
            <a:endParaRPr lang="en-US" altLang="cs-CZ">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defTabSz="931774" eaLnBrk="1" hangingPunct="1">
              <a:defRPr/>
            </a:pPr>
            <a:r>
              <a:rPr lang="en-GB" dirty="0"/>
              <a:t>The primary outcome was the time from randomization to a composite outcome consisting of the first occurrence of cardiovascular death, nonfatal (including silent) myocardial infarction (MI), or nonfatal stroke. </a:t>
            </a:r>
            <a:endParaRPr lang="en-GB" b="1" dirty="0"/>
          </a:p>
          <a:p>
            <a:pPr defTabSz="931774" eaLnBrk="1" hangingPunct="1">
              <a:defRPr/>
            </a:pPr>
            <a:endParaRPr lang="en-GB" b="1" dirty="0"/>
          </a:p>
          <a:p>
            <a:pPr defTabSz="931774" eaLnBrk="1" hangingPunct="1">
              <a:defRPr/>
            </a:pPr>
            <a:r>
              <a:rPr lang="en-GB" b="1" dirty="0"/>
              <a:t>Reference: Primary manuscript </a:t>
            </a:r>
          </a:p>
          <a:p>
            <a:pPr defTabSz="931774" eaLnBrk="1" hangingPunct="1">
              <a:defRPr/>
            </a:pPr>
            <a:endParaRPr lang="en-GB" b="1" dirty="0"/>
          </a:p>
          <a:p>
            <a:pPr defTabSz="931774" eaLnBrk="1" hangingPunct="1">
              <a:defRPr/>
            </a:pPr>
            <a:r>
              <a:rPr lang="en-GB" b="1" dirty="0"/>
              <a:t>Source:  KM</a:t>
            </a:r>
            <a:r>
              <a:rPr lang="en-GB" b="1" baseline="0" dirty="0"/>
              <a:t> plot: </a:t>
            </a:r>
            <a:r>
              <a:rPr lang="en-GB" b="0" dirty="0"/>
              <a:t>EOT Figure 14.2.45 / ID14201320</a:t>
            </a:r>
          </a:p>
          <a:p>
            <a:pPr defTabSz="931774" eaLnBrk="1" hangingPunct="1">
              <a:defRPr/>
            </a:pPr>
            <a:r>
              <a:rPr lang="en-GB" b="1" dirty="0"/>
              <a:t>HR: </a:t>
            </a:r>
            <a:r>
              <a:rPr lang="en-GB" b="0" dirty="0"/>
              <a:t>EOT Table 14.2.43/</a:t>
            </a:r>
            <a:r>
              <a:rPr lang="en-GB" dirty="0"/>
              <a:t>ID14201300_primary_analysis_fas.txt</a:t>
            </a:r>
            <a:endParaRPr lang="en-GB" b="0" dirty="0"/>
          </a:p>
          <a:p>
            <a:pPr defTabSz="931774" eaLnBrk="1" hangingPunct="1">
              <a:defRPr/>
            </a:pPr>
            <a:r>
              <a:rPr lang="en-GB" b="1" dirty="0"/>
              <a:t>P-value: </a:t>
            </a:r>
            <a:r>
              <a:rPr lang="en-GB" b="0" dirty="0"/>
              <a:t>EOT Table 14.2.44/</a:t>
            </a:r>
            <a:r>
              <a:rPr lang="en-GB" dirty="0"/>
              <a:t>ID14201310_primary_analysis_pvalues_fas.txt</a:t>
            </a:r>
          </a:p>
          <a:p>
            <a:endParaRPr lang="en-GB" dirty="0"/>
          </a:p>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164708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pPr marL="169495" indent="-169495">
              <a:buFont typeface="Arial"/>
              <a:buChar char="•"/>
            </a:pPr>
            <a:r>
              <a:rPr lang="en-GB" sz="1000" dirty="0"/>
              <a:t>CVD is the most common cause of death in adults with T2D,</a:t>
            </a:r>
            <a:r>
              <a:rPr lang="en-GB" sz="1000" baseline="30000" dirty="0"/>
              <a:t>1 </a:t>
            </a:r>
            <a:r>
              <a:rPr lang="en-GB" sz="1000" dirty="0"/>
              <a:t>underscoring the need to combine diabetes treatments with CVD risk management.</a:t>
            </a:r>
            <a:r>
              <a:rPr lang="en-GB" sz="1000" baseline="30000" dirty="0"/>
              <a:t>2</a:t>
            </a:r>
          </a:p>
          <a:p>
            <a:pPr marL="169495" indent="-169495">
              <a:buFont typeface="Arial"/>
              <a:buChar char="•"/>
            </a:pPr>
            <a:r>
              <a:rPr lang="en-GB" sz="1000" dirty="0"/>
              <a:t>Any diabetes therapy that also provides improvements in CVD outcomes therefore represents a clinically important addition to the armamentarium of currently available treatments.</a:t>
            </a:r>
            <a:endParaRPr lang="en-GB" sz="1000" baseline="30000" dirty="0"/>
          </a:p>
          <a:p>
            <a:pPr marL="169495" indent="-169495">
              <a:buFont typeface="Arial"/>
              <a:buChar char="•"/>
            </a:pPr>
            <a:r>
              <a:rPr lang="en-GB" sz="1000" dirty="0"/>
              <a:t>In SUSTAIN 6, over 109 weeks, the percentage of subjects experiencing the composite outcome of CV death, non-fatal myocardial infarction or non-fatal stroke was 26% lower with </a:t>
            </a:r>
            <a:r>
              <a:rPr lang="en-GB" sz="1000" dirty="0" err="1"/>
              <a:t>semaglutide</a:t>
            </a:r>
            <a:r>
              <a:rPr lang="en-GB" sz="1000" dirty="0"/>
              <a:t> treatment vs placebo (6.6% vs 8.9%, respectively; p&lt;0.001).</a:t>
            </a:r>
            <a:r>
              <a:rPr lang="en-GB" sz="1000" baseline="30000" dirty="0"/>
              <a:t>3</a:t>
            </a:r>
          </a:p>
          <a:p>
            <a:endParaRPr lang="en-GB" sz="1000" dirty="0"/>
          </a:p>
          <a:p>
            <a:r>
              <a:rPr lang="en-GB" sz="1000" dirty="0"/>
              <a:t>CV, cardiovascular; CVD, cardiovascular disease.</a:t>
            </a:r>
          </a:p>
          <a:p>
            <a:endParaRPr lang="en-GB" sz="1000" dirty="0"/>
          </a:p>
          <a:p>
            <a:pPr defTabSz="903976" eaLnBrk="1" fontAlgn="auto" hangingPunct="1">
              <a:spcBef>
                <a:spcPts val="0"/>
              </a:spcBef>
              <a:spcAft>
                <a:spcPts val="0"/>
              </a:spcAft>
              <a:buClrTx/>
              <a:buSzTx/>
              <a:defRPr/>
            </a:pPr>
            <a:r>
              <a:rPr lang="en-GB" sz="1000" dirty="0"/>
              <a:t>1. Go AS, et al. </a:t>
            </a:r>
            <a:r>
              <a:rPr lang="en-GB" sz="1000" i="1" dirty="0"/>
              <a:t>Circulation</a:t>
            </a:r>
            <a:r>
              <a:rPr lang="en-GB" sz="1000" dirty="0"/>
              <a:t> 2013;127:143–52; 2. Fox CS, et al. </a:t>
            </a:r>
            <a:r>
              <a:rPr lang="pt-BR" sz="1000" i="1" dirty="0">
                <a:solidFill>
                  <a:schemeClr val="tx1"/>
                </a:solidFill>
              </a:rPr>
              <a:t>Circulation</a:t>
            </a:r>
            <a:r>
              <a:rPr lang="pt-BR" sz="1000" dirty="0">
                <a:solidFill>
                  <a:schemeClr val="tx1"/>
                </a:solidFill>
              </a:rPr>
              <a:t> 2015;132:691–718; 3.</a:t>
            </a:r>
            <a:r>
              <a:rPr lang="it-IT" sz="1000" dirty="0">
                <a:cs typeface="Verdana"/>
              </a:rPr>
              <a:t> Marso SP, et al. </a:t>
            </a:r>
            <a:r>
              <a:rPr lang="it-IT" sz="1000" i="1" dirty="0">
                <a:cs typeface="Verdana"/>
              </a:rPr>
              <a:t>N Engl J Med </a:t>
            </a:r>
            <a:r>
              <a:rPr lang="it-IT" sz="1000" dirty="0">
                <a:cs typeface="Verdana"/>
              </a:rPr>
              <a:t>2016;375:1834–44. </a:t>
            </a:r>
            <a:endParaRPr lang="en-GB" sz="1000" baseline="30000" dirty="0"/>
          </a:p>
        </p:txBody>
      </p:sp>
      <p:sp>
        <p:nvSpPr>
          <p:cNvPr id="4" name="Slide Number Placeholder 3"/>
          <p:cNvSpPr>
            <a:spLocks noGrp="1"/>
          </p:cNvSpPr>
          <p:nvPr>
            <p:ph type="sldNum" sz="quarter" idx="10"/>
          </p:nvPr>
        </p:nvSpPr>
        <p:spPr>
          <a:xfrm>
            <a:off x="3850670" y="9428429"/>
            <a:ext cx="2945453" cy="496503"/>
          </a:xfrm>
          <a:prstGeom prst="rect">
            <a:avLst/>
          </a:prstGeom>
        </p:spPr>
        <p:txBody>
          <a:bodyPr lIns="90398" tIns="45199" rIns="90398" bIns="45199"/>
          <a:lstStyle/>
          <a:p>
            <a:pPr>
              <a:defRPr/>
            </a:pPr>
            <a:fld id="{576E89B1-B476-4C59-A1AE-E6F2A1941AB8}" type="slidenum">
              <a:rPr lang="en-GB" sz="900">
                <a:solidFill>
                  <a:srgbClr val="001965"/>
                </a:solidFill>
                <a:latin typeface="Verdana"/>
              </a:rPr>
              <a:pPr>
                <a:defRPr/>
              </a:pPr>
              <a:t>11</a:t>
            </a:fld>
            <a:endParaRPr lang="en-GB" sz="900" dirty="0">
              <a:solidFill>
                <a:srgbClr val="001965"/>
              </a:solidFill>
              <a:latin typeface="Verdana"/>
            </a:endParaRPr>
          </a:p>
        </p:txBody>
      </p:sp>
    </p:spTree>
    <p:extLst>
      <p:ext uri="{BB962C8B-B14F-4D97-AF65-F5344CB8AC3E}">
        <p14:creationId xmlns:p14="http://schemas.microsoft.com/office/powerpoint/2010/main" val="2633405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1700" y="1309688"/>
            <a:ext cx="4721225" cy="3540125"/>
          </a:xfrm>
        </p:spPr>
      </p:sp>
      <p:sp>
        <p:nvSpPr>
          <p:cNvPr id="3" name="Notes Placeholder 2"/>
          <p:cNvSpPr>
            <a:spLocks noGrp="1"/>
          </p:cNvSpPr>
          <p:nvPr>
            <p:ph type="body" idx="1"/>
          </p:nvPr>
        </p:nvSpPr>
        <p:spPr/>
        <p:txBody>
          <a:bodyPr/>
          <a:lstStyle/>
          <a:p>
            <a:pPr marL="169495" indent="-169495">
              <a:buFont typeface="Arial" panose="020B0604020202020204" pitchFamily="34" charset="0"/>
              <a:buChar char="•"/>
            </a:pPr>
            <a:r>
              <a:rPr lang="en-GB" dirty="0"/>
              <a:t>Microvascular complications were evaluated as a secondary efficacy endpoint; a significantly lower risk of new or worsening nephropathy was reported with semaglutide versus placebo</a:t>
            </a:r>
          </a:p>
          <a:p>
            <a:pPr marL="169495" indent="-169495">
              <a:buFont typeface="Arial" panose="020B0604020202020204" pitchFamily="34" charset="0"/>
              <a:buChar char="•"/>
            </a:pPr>
            <a:r>
              <a:rPr lang="en-GB" dirty="0"/>
              <a:t>However, semaglutide was associated with a higher rate of diabetic retinopathy complications versus placebo</a:t>
            </a:r>
          </a:p>
        </p:txBody>
      </p:sp>
      <p:sp>
        <p:nvSpPr>
          <p:cNvPr id="4" name="Slide Number Placeholder 3"/>
          <p:cNvSpPr>
            <a:spLocks noGrp="1"/>
          </p:cNvSpPr>
          <p:nvPr>
            <p:ph type="sldNum" sz="quarter" idx="10"/>
          </p:nvPr>
        </p:nvSpPr>
        <p:spPr>
          <a:xfrm>
            <a:off x="3850670" y="9428429"/>
            <a:ext cx="2945453" cy="496503"/>
          </a:xfrm>
          <a:prstGeom prst="rect">
            <a:avLst/>
          </a:prstGeom>
        </p:spPr>
        <p:txBody>
          <a:bodyPr lIns="90398" tIns="45199" rIns="90398" bIns="45199"/>
          <a:lstStyle/>
          <a:p>
            <a:pPr>
              <a:defRPr/>
            </a:pPr>
            <a:fld id="{576E89B1-B476-4C59-A1AE-E6F2A1941AB8}" type="slidenum">
              <a:rPr lang="en-GB" sz="900">
                <a:solidFill>
                  <a:prstClr val="black"/>
                </a:solidFill>
                <a:latin typeface="Verdana"/>
              </a:rPr>
              <a:pPr>
                <a:defRPr/>
              </a:pPr>
              <a:t>12</a:t>
            </a:fld>
            <a:endParaRPr lang="en-GB" sz="900" dirty="0">
              <a:solidFill>
                <a:prstClr val="black"/>
              </a:solidFill>
              <a:latin typeface="Verdana"/>
            </a:endParaRPr>
          </a:p>
        </p:txBody>
      </p:sp>
    </p:spTree>
    <p:extLst>
      <p:ext uri="{BB962C8B-B14F-4D97-AF65-F5344CB8AC3E}">
        <p14:creationId xmlns:p14="http://schemas.microsoft.com/office/powerpoint/2010/main" val="2230869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6125"/>
            <a:ext cx="4959350" cy="371951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0443" y="9428583"/>
            <a:ext cx="2945659" cy="496332"/>
          </a:xfrm>
          <a:prstGeom prst="rect">
            <a:avLst/>
          </a:prstGeom>
        </p:spPr>
        <p:txBody>
          <a:bodyPr/>
          <a:lstStyle/>
          <a:p>
            <a:pPr>
              <a:defRPr/>
            </a:pPr>
            <a:fld id="{96598A7A-40D4-A24D-8437-E4D58624E401}" type="slidenum">
              <a:rPr lang="en-GB" smtClean="0">
                <a:solidFill>
                  <a:prstClr val="black"/>
                </a:solidFill>
              </a:rPr>
              <a:pPr>
                <a:defRPr/>
              </a:pPr>
              <a:t>16</a:t>
            </a:fld>
            <a:endParaRPr lang="en-GB" dirty="0">
              <a:solidFill>
                <a:prstClr val="black"/>
              </a:solidFill>
            </a:endParaRPr>
          </a:p>
        </p:txBody>
      </p:sp>
    </p:spTree>
    <p:extLst>
      <p:ext uri="{BB962C8B-B14F-4D97-AF65-F5344CB8AC3E}">
        <p14:creationId xmlns:p14="http://schemas.microsoft.com/office/powerpoint/2010/main" val="15889746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6125"/>
            <a:ext cx="4959350" cy="3719513"/>
          </a:xfrm>
        </p:spPr>
      </p:sp>
      <p:sp>
        <p:nvSpPr>
          <p:cNvPr id="3" name="Notes Placeholder 2"/>
          <p:cNvSpPr>
            <a:spLocks noGrp="1"/>
          </p:cNvSpPr>
          <p:nvPr>
            <p:ph type="body" idx="1"/>
          </p:nvPr>
        </p:nvSpPr>
        <p:spPr>
          <a:xfrm>
            <a:off x="1115517" y="4715155"/>
            <a:ext cx="4584075" cy="4466986"/>
          </a:xfrm>
        </p:spPr>
        <p:txBody>
          <a:bodyPr lIns="0" tIns="0" rIns="0" bIns="0"/>
          <a:lstStyle/>
          <a:p>
            <a:r>
              <a:rPr lang="en-US" dirty="0">
                <a:latin typeface="Arial" panose="020B0604020202020204" pitchFamily="34" charset="0"/>
                <a:cs typeface="Arial" panose="020B0604020202020204" pitchFamily="34" charset="0"/>
              </a:rPr>
              <a:t>SGLT2-inhibitors are known for their increased glucosuria, which produces osmotic diuresis leading to reductions in blood pressure.</a:t>
            </a:r>
            <a:r>
              <a:rPr lang="en-US" baseline="30000" dirty="0">
                <a:latin typeface="Arial" panose="020B0604020202020204" pitchFamily="34" charset="0"/>
                <a:cs typeface="Arial" panose="020B0604020202020204" pitchFamily="34" charset="0"/>
              </a:rPr>
              <a:t>1,2</a:t>
            </a:r>
            <a:r>
              <a:rPr lang="en-US" dirty="0">
                <a:latin typeface="Arial" panose="020B0604020202020204" pitchFamily="34" charset="0"/>
                <a:cs typeface="Arial" panose="020B0604020202020204" pitchFamily="34" charset="0"/>
              </a:rPr>
              <a:t> Reductions in blood pressure also contribute to reduced arterial stiffness.</a:t>
            </a:r>
            <a:r>
              <a:rPr lang="en-US" baseline="30000" dirty="0">
                <a:latin typeface="Arial" panose="020B0604020202020204" pitchFamily="34" charset="0"/>
                <a:cs typeface="Arial" panose="020B0604020202020204" pitchFamily="34" charset="0"/>
              </a:rPr>
              <a:t>3</a:t>
            </a:r>
            <a:r>
              <a:rPr lang="en-US" dirty="0">
                <a:latin typeface="Arial" panose="020B0604020202020204" pitchFamily="34" charset="0"/>
                <a:cs typeface="Arial" panose="020B0604020202020204" pitchFamily="34" charset="0"/>
              </a:rPr>
              <a:t> This is also attributed to improved glycemic control, weight loss, volume contraction, diuretic effects, and several potential mechanisms, including vasoactive mediators, anti-inflammatory mediators, and decreased oxidative stress. Blood pressure reductions were seen independent of change in heart rate, which could be related to a relative decrease in sympathetic nervous system tone. Weight loss and glucose control have anti-inflammatory properties, which is proposed to be caused by a reduction in oxidative stress and thus a reduction in inflammatory markers.</a:t>
            </a:r>
            <a:r>
              <a:rPr lang="en-US" baseline="30000" dirty="0">
                <a:latin typeface="Arial" panose="020B0604020202020204" pitchFamily="34" charset="0"/>
                <a:cs typeface="Arial" panose="020B0604020202020204" pitchFamily="34" charset="0"/>
              </a:rPr>
              <a:t>1,3</a:t>
            </a:r>
            <a:r>
              <a:rPr lang="en-US" dirty="0">
                <a:latin typeface="Arial" panose="020B0604020202020204" pitchFamily="34" charset="0"/>
                <a:cs typeface="Arial" panose="020B0604020202020204" pitchFamily="34" charset="0"/>
              </a:rPr>
              <a:t>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SGLT2-inhibition has also been attributed to reduced urinary albumin excretion. This is due to reduced renal hyperfiltration, which causes an increase in arteriolar resistance independent of altering efferent arteriorlar resistance causing a partial correction of abnormally high baseline glomerular hydrostatitc pressure.</a:t>
            </a:r>
            <a:r>
              <a:rPr lang="en-US" baseline="30000" dirty="0">
                <a:latin typeface="Arial" panose="020B0604020202020204" pitchFamily="34" charset="0"/>
                <a:cs typeface="Arial" panose="020B0604020202020204" pitchFamily="34" charset="0"/>
              </a:rPr>
              <a:t>1</a:t>
            </a:r>
          </a:p>
          <a:p>
            <a:endParaRPr lang="en-US" baseline="30000"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Increased glucosuria correlates to a caloric loss of 200-300 kcal per day, which results in a weight reduction of ~2-3 kg over 24-52 weeks. Studies have shown that a majority of the weight loss was due to a reduction in visceral fat as well as a reduction on waist circumference, which is an index of central obesity.</a:t>
            </a:r>
            <a:r>
              <a:rPr lang="en-US" baseline="30000" dirty="0">
                <a:latin typeface="Arial" panose="020B0604020202020204" pitchFamily="34" charset="0"/>
                <a:cs typeface="Arial" panose="020B0604020202020204" pitchFamily="34" charset="0"/>
              </a:rPr>
              <a:t>1</a:t>
            </a:r>
            <a:r>
              <a:rPr lang="en-US" dirty="0">
                <a:latin typeface="Arial" panose="020B0604020202020204" pitchFamily="34" charset="0"/>
                <a:cs typeface="Arial" panose="020B0604020202020204" pitchFamily="34" charset="0"/>
              </a:rPr>
              <a:t>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Small increases in HDL-C along with an increase in LDL-C with simultaneous reductions in TG levels have also been noted with SGLT2-inhibition. The clinical relevance of these lipid changes is yet to be determined.</a:t>
            </a:r>
            <a:r>
              <a:rPr lang="en-US" baseline="30000" dirty="0">
                <a:latin typeface="Arial" panose="020B0604020202020204" pitchFamily="34" charset="0"/>
                <a:cs typeface="Arial" panose="020B0604020202020204" pitchFamily="34" charset="0"/>
              </a:rPr>
              <a:t>1</a:t>
            </a:r>
            <a:r>
              <a:rPr lang="en-US" dirty="0">
                <a:latin typeface="Arial" panose="020B0604020202020204" pitchFamily="34" charset="0"/>
                <a:cs typeface="Arial" panose="020B0604020202020204" pitchFamily="34" charset="0"/>
              </a:rPr>
              <a:t>  </a:t>
            </a: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3850185" y="9428790"/>
            <a:ext cx="2945875" cy="496251"/>
          </a:xfrm>
          <a:prstGeom prst="rect">
            <a:avLst/>
          </a:prstGeom>
        </p:spPr>
        <p:txBody>
          <a:bodyPr lIns="92423" tIns="46212" rIns="92423" bIns="46212"/>
          <a:lstStyle/>
          <a:p>
            <a:fld id="{202439E7-2396-4013-BD31-3EBBA81089B9}"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4865631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 Target="../slides/slide1.xml"/><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 Target="../slides/slide1.xml"/><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1.xml"/><Relationship Id="rId4" Type="http://schemas.openxmlformats.org/officeDocument/2006/relationships/image" Target="../media/image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13.xml"/><Relationship Id="rId5" Type="http://schemas.openxmlformats.org/officeDocument/2006/relationships/tags" Target="../tags/tag5.xml"/><Relationship Id="rId4" Type="http://schemas.openxmlformats.org/officeDocument/2006/relationships/tags" Target="../tags/tag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7.xml"/><Relationship Id="rId4" Type="http://schemas.openxmlformats.org/officeDocument/2006/relationships/image" Target="../media/image39.jpe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png"/><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 Target="../slides/slide1.xml"/><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9.xml"/><Relationship Id="rId4" Type="http://schemas.openxmlformats.org/officeDocument/2006/relationships/image" Target="../media/image3.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9.xml"/><Relationship Id="rId4" Type="http://schemas.openxmlformats.org/officeDocument/2006/relationships/image" Target="../media/image2.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2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34.emf"/><Relationship Id="rId4" Type="http://schemas.openxmlformats.org/officeDocument/2006/relationships/oleObject" Target="../embeddings/oleObject5.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4.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4.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13.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2.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 Target="../slides/slide1.xml"/><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44000" y="144000"/>
            <a:ext cx="8856000" cy="6588000"/>
          </a:xfrm>
          <a:prstGeom prst="rect">
            <a:avLst/>
          </a:prstGeom>
          <a:solidFill>
            <a:srgbClr val="83005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dirty="0">
              <a:solidFill>
                <a:srgbClr val="FFFFFF"/>
              </a:solidFill>
            </a:endParaRPr>
          </a:p>
        </p:txBody>
      </p:sp>
      <p:sp>
        <p:nvSpPr>
          <p:cNvPr id="13" name="Title 8"/>
          <p:cNvSpPr>
            <a:spLocks noGrp="1"/>
          </p:cNvSpPr>
          <p:nvPr>
            <p:ph type="title" hasCustomPrompt="1"/>
          </p:nvPr>
        </p:nvSpPr>
        <p:spPr>
          <a:xfrm>
            <a:off x="216004" y="193039"/>
            <a:ext cx="8765651" cy="506116"/>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
        <p:nvSpPr>
          <p:cNvPr id="4" name="TextBox 3"/>
          <p:cNvSpPr txBox="1"/>
          <p:nvPr userDrawn="1"/>
        </p:nvSpPr>
        <p:spPr>
          <a:xfrm>
            <a:off x="1300660" y="2671884"/>
            <a:ext cx="6542689" cy="1514261"/>
          </a:xfrm>
          <a:prstGeom prst="rect">
            <a:avLst/>
          </a:prstGeom>
          <a:noFill/>
        </p:spPr>
        <p:txBody>
          <a:bodyPr wrap="square" rtlCol="0">
            <a:spAutoFit/>
          </a:bodyPr>
          <a:lstStyle/>
          <a:p>
            <a:pPr algn="ctr" defTabSz="457200" fontAlgn="auto">
              <a:lnSpc>
                <a:spcPct val="110000"/>
              </a:lnSpc>
              <a:spcBef>
                <a:spcPts val="0"/>
              </a:spcBef>
              <a:spcAft>
                <a:spcPts val="0"/>
              </a:spcAft>
            </a:pPr>
            <a:r>
              <a:rPr lang="en-US" sz="2800" dirty="0">
                <a:solidFill>
                  <a:schemeClr val="bg1">
                    <a:lumMod val="85000"/>
                  </a:schemeClr>
                </a:solidFill>
                <a:latin typeface="Arial"/>
                <a:ea typeface="+mn-ea"/>
                <a:cs typeface="+mn-cs"/>
              </a:rPr>
              <a:t>DRAFT </a:t>
            </a:r>
            <a:br>
              <a:rPr lang="en-US" sz="2800" dirty="0">
                <a:solidFill>
                  <a:schemeClr val="bg1">
                    <a:lumMod val="85000"/>
                  </a:schemeClr>
                </a:solidFill>
                <a:latin typeface="Arial"/>
                <a:ea typeface="+mn-ea"/>
                <a:cs typeface="+mn-cs"/>
              </a:rPr>
            </a:br>
            <a:r>
              <a:rPr lang="en-US" sz="2800" dirty="0">
                <a:solidFill>
                  <a:schemeClr val="bg1">
                    <a:lumMod val="85000"/>
                  </a:schemeClr>
                </a:solidFill>
                <a:latin typeface="Arial"/>
                <a:ea typeface="+mn-ea"/>
                <a:cs typeface="+mn-cs"/>
              </a:rPr>
              <a:t>NOT APPROVED FOR USE IN CURRENT FORM </a:t>
            </a:r>
          </a:p>
        </p:txBody>
      </p:sp>
    </p:spTree>
    <p:extLst>
      <p:ext uri="{BB962C8B-B14F-4D97-AF65-F5344CB8AC3E}">
        <p14:creationId xmlns:p14="http://schemas.microsoft.com/office/powerpoint/2010/main" val="19735664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27"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2 title</a:t>
            </a:r>
          </a:p>
        </p:txBody>
      </p:sp>
      <p:sp>
        <p:nvSpPr>
          <p:cNvPr id="22" name="Table Placeholder 29"/>
          <p:cNvSpPr>
            <a:spLocks noGrp="1"/>
          </p:cNvSpPr>
          <p:nvPr>
            <p:ph type="tbl" sz="quarter" idx="15"/>
          </p:nvPr>
        </p:nvSpPr>
        <p:spPr>
          <a:xfrm>
            <a:off x="987429" y="1731133"/>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3" name="Text Placeholder 2"/>
          <p:cNvSpPr>
            <a:spLocks noGrp="1"/>
          </p:cNvSpPr>
          <p:nvPr>
            <p:ph type="body" sz="quarter" idx="14"/>
          </p:nvPr>
        </p:nvSpPr>
        <p:spPr>
          <a:xfrm>
            <a:off x="1046700" y="1879896"/>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731600"/>
            <a:ext cx="540000" cy="540000"/>
          </a:xfrm>
          <a:prstGeom prst="rect">
            <a:avLst/>
          </a:prstGeom>
          <a:solidFill>
            <a:srgbClr val="83005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1</a:t>
            </a:r>
          </a:p>
        </p:txBody>
      </p:sp>
      <p:sp>
        <p:nvSpPr>
          <p:cNvPr id="28" name="Table Placeholder 29"/>
          <p:cNvSpPr>
            <a:spLocks noGrp="1"/>
          </p:cNvSpPr>
          <p:nvPr>
            <p:ph type="tbl" sz="quarter" idx="27"/>
          </p:nvPr>
        </p:nvSpPr>
        <p:spPr>
          <a:xfrm>
            <a:off x="987429" y="240348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9" name="Text Placeholder 2"/>
          <p:cNvSpPr>
            <a:spLocks noGrp="1"/>
          </p:cNvSpPr>
          <p:nvPr>
            <p:ph type="body" sz="quarter" idx="28"/>
          </p:nvPr>
        </p:nvSpPr>
        <p:spPr>
          <a:xfrm>
            <a:off x="1046700" y="2552256"/>
            <a:ext cx="5718173" cy="394199"/>
          </a:xfrm>
          <a:prstGeom prst="rect">
            <a:avLst/>
          </a:prstGeom>
        </p:spPr>
        <p:txBody>
          <a:bodyPr vert="horz"/>
          <a:lstStyle>
            <a:lvl1pPr marL="0" indent="0">
              <a:lnSpc>
                <a:spcPct val="60000"/>
              </a:lnSpc>
              <a:buNone/>
              <a:defRPr sz="2000" b="1" baseline="0">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1" name="Text Placeholder 49"/>
          <p:cNvSpPr>
            <a:spLocks noGrp="1"/>
          </p:cNvSpPr>
          <p:nvPr>
            <p:ph type="body" sz="quarter" idx="29" hasCustomPrompt="1"/>
          </p:nvPr>
        </p:nvSpPr>
        <p:spPr>
          <a:xfrm>
            <a:off x="330200" y="2403956"/>
            <a:ext cx="540000" cy="540000"/>
          </a:xfrm>
          <a:prstGeom prst="rect">
            <a:avLst/>
          </a:prstGeom>
          <a:solidFill>
            <a:srgbClr val="D8DCDE"/>
          </a:solidFill>
          <a:ln w="19050" cmpd="sng">
            <a:noFill/>
          </a:ln>
        </p:spPr>
        <p:txBody>
          <a:bodyPr vert="horz" anchor="ctr"/>
          <a:lstStyle>
            <a:lvl1pPr marL="0" indent="0" algn="ctr">
              <a:lnSpc>
                <a:spcPts val="2800"/>
              </a:lnSpc>
              <a:spcBef>
                <a:spcPts val="0"/>
              </a:spcBef>
              <a:buNone/>
              <a:defRPr sz="2400" b="1">
                <a:solidFill>
                  <a:schemeClr val="tx2"/>
                </a:solidFill>
                <a:latin typeface="Arial" pitchFamily="34" charset="0"/>
                <a:cs typeface="Arial" pitchFamily="34" charset="0"/>
              </a:defRPr>
            </a:lvl1pPr>
          </a:lstStyle>
          <a:p>
            <a:pPr lvl="0"/>
            <a:r>
              <a:rPr lang="en-GB" noProof="0" dirty="0"/>
              <a:t>2</a:t>
            </a:r>
          </a:p>
        </p:txBody>
      </p:sp>
      <p:sp>
        <p:nvSpPr>
          <p:cNvPr id="32" name="Table Placeholder 29"/>
          <p:cNvSpPr>
            <a:spLocks noGrp="1"/>
          </p:cNvSpPr>
          <p:nvPr>
            <p:ph type="tbl" sz="quarter" idx="30"/>
          </p:nvPr>
        </p:nvSpPr>
        <p:spPr>
          <a:xfrm>
            <a:off x="987429" y="3082231"/>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3" name="Text Placeholder 2"/>
          <p:cNvSpPr>
            <a:spLocks noGrp="1"/>
          </p:cNvSpPr>
          <p:nvPr>
            <p:ph type="body" sz="quarter" idx="31"/>
          </p:nvPr>
        </p:nvSpPr>
        <p:spPr>
          <a:xfrm>
            <a:off x="1046700" y="3230997"/>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4" name="Text Placeholder 49"/>
          <p:cNvSpPr>
            <a:spLocks noGrp="1"/>
          </p:cNvSpPr>
          <p:nvPr>
            <p:ph type="body" sz="quarter" idx="32" hasCustomPrompt="1"/>
          </p:nvPr>
        </p:nvSpPr>
        <p:spPr>
          <a:xfrm>
            <a:off x="330200" y="3082699"/>
            <a:ext cx="540000" cy="540000"/>
          </a:xfrm>
          <a:prstGeom prst="rect">
            <a:avLst/>
          </a:prstGeom>
          <a:solidFill>
            <a:srgbClr val="83005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5" name="Table Placeholder 29"/>
          <p:cNvSpPr>
            <a:spLocks noGrp="1"/>
          </p:cNvSpPr>
          <p:nvPr>
            <p:ph type="tbl" sz="quarter" idx="33"/>
          </p:nvPr>
        </p:nvSpPr>
        <p:spPr>
          <a:xfrm>
            <a:off x="987429" y="3763175"/>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6" name="Text Placeholder 2"/>
          <p:cNvSpPr>
            <a:spLocks noGrp="1"/>
          </p:cNvSpPr>
          <p:nvPr>
            <p:ph type="body" sz="quarter" idx="34"/>
          </p:nvPr>
        </p:nvSpPr>
        <p:spPr>
          <a:xfrm>
            <a:off x="1046700" y="3911936"/>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7" name="Text Placeholder 49"/>
          <p:cNvSpPr>
            <a:spLocks noGrp="1"/>
          </p:cNvSpPr>
          <p:nvPr>
            <p:ph type="body" sz="quarter" idx="35" hasCustomPrompt="1"/>
          </p:nvPr>
        </p:nvSpPr>
        <p:spPr>
          <a:xfrm>
            <a:off x="330200" y="3763643"/>
            <a:ext cx="540000" cy="540000"/>
          </a:xfrm>
          <a:prstGeom prst="rect">
            <a:avLst/>
          </a:prstGeom>
          <a:solidFill>
            <a:srgbClr val="83005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8" name="Table Placeholder 29"/>
          <p:cNvSpPr>
            <a:spLocks noGrp="1"/>
          </p:cNvSpPr>
          <p:nvPr>
            <p:ph type="tbl" sz="quarter" idx="36"/>
          </p:nvPr>
        </p:nvSpPr>
        <p:spPr>
          <a:xfrm>
            <a:off x="987429" y="444087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9" name="Text Placeholder 2"/>
          <p:cNvSpPr>
            <a:spLocks noGrp="1"/>
          </p:cNvSpPr>
          <p:nvPr>
            <p:ph type="body" sz="quarter" idx="37"/>
          </p:nvPr>
        </p:nvSpPr>
        <p:spPr>
          <a:xfrm>
            <a:off x="1046700" y="4589644"/>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0" name="Text Placeholder 49"/>
          <p:cNvSpPr>
            <a:spLocks noGrp="1"/>
          </p:cNvSpPr>
          <p:nvPr>
            <p:ph type="body" sz="quarter" idx="38" hasCustomPrompt="1"/>
          </p:nvPr>
        </p:nvSpPr>
        <p:spPr>
          <a:xfrm>
            <a:off x="330200" y="4441345"/>
            <a:ext cx="540000" cy="540000"/>
          </a:xfrm>
          <a:prstGeom prst="rect">
            <a:avLst/>
          </a:prstGeom>
          <a:solidFill>
            <a:srgbClr val="83005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1" name="Table Placeholder 29"/>
          <p:cNvSpPr>
            <a:spLocks noGrp="1"/>
          </p:cNvSpPr>
          <p:nvPr>
            <p:ph type="tbl" sz="quarter" idx="39"/>
          </p:nvPr>
        </p:nvSpPr>
        <p:spPr>
          <a:xfrm>
            <a:off x="987429" y="5129167"/>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2" name="Text Placeholder 2"/>
          <p:cNvSpPr>
            <a:spLocks noGrp="1"/>
          </p:cNvSpPr>
          <p:nvPr>
            <p:ph type="body" sz="quarter" idx="40"/>
          </p:nvPr>
        </p:nvSpPr>
        <p:spPr>
          <a:xfrm>
            <a:off x="1046700" y="5277933"/>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3" name="Text Placeholder 49"/>
          <p:cNvSpPr>
            <a:spLocks noGrp="1"/>
          </p:cNvSpPr>
          <p:nvPr>
            <p:ph type="body" sz="quarter" idx="41" hasCustomPrompt="1"/>
          </p:nvPr>
        </p:nvSpPr>
        <p:spPr>
          <a:xfrm>
            <a:off x="330200" y="5129635"/>
            <a:ext cx="540000" cy="540000"/>
          </a:xfrm>
          <a:prstGeom prst="rect">
            <a:avLst/>
          </a:prstGeom>
          <a:solidFill>
            <a:srgbClr val="83005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6"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228150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32E4C99-F110-4966-AFB3-1195911448FA}" type="datetime1">
              <a:rPr lang="en-US" smtClean="0">
                <a:solidFill>
                  <a:srgbClr val="000000">
                    <a:tint val="75000"/>
                  </a:srgbClr>
                </a:solidFill>
              </a:rPr>
              <a:pPr/>
              <a:t>1/29/2019</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131330560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p:cNvSpPr/>
          <p:nvPr userDrawn="1"/>
        </p:nvSpPr>
        <p:spPr>
          <a:xfrm>
            <a:off x="7734317" y="6426671"/>
            <a:ext cx="1360303" cy="394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5" name="Rectangle 4"/>
          <p:cNvSpPr/>
          <p:nvPr userDrawn="1"/>
        </p:nvSpPr>
        <p:spPr>
          <a:xfrm>
            <a:off x="145126"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7" name="Rectangle 6"/>
          <p:cNvSpPr/>
          <p:nvPr userDrawn="1"/>
        </p:nvSpPr>
        <p:spPr>
          <a:xfrm>
            <a:off x="145125" y="3878271"/>
            <a:ext cx="8856000" cy="2836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8" name="Rectangle 7"/>
          <p:cNvSpPr/>
          <p:nvPr userDrawn="1"/>
        </p:nvSpPr>
        <p:spPr>
          <a:xfrm>
            <a:off x="145125" y="3771907"/>
            <a:ext cx="8856000" cy="1063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9" name="TextBox 8"/>
          <p:cNvSpPr txBox="1"/>
          <p:nvPr userDrawn="1"/>
        </p:nvSpPr>
        <p:spPr>
          <a:xfrm>
            <a:off x="7592037" y="6453529"/>
            <a:ext cx="1409088" cy="246221"/>
          </a:xfrm>
          <a:prstGeom prst="rect">
            <a:avLst/>
          </a:prstGeom>
          <a:noFill/>
        </p:spPr>
        <p:txBody>
          <a:bodyPr wrap="square" rtlCol="0">
            <a:spAutoFit/>
          </a:bodyPr>
          <a:lstStyle/>
          <a:p>
            <a:pPr algn="r" fontAlgn="auto">
              <a:spcBef>
                <a:spcPts val="0"/>
              </a:spcBef>
              <a:spcAft>
                <a:spcPts val="0"/>
              </a:spcAft>
            </a:pPr>
            <a:r>
              <a:rPr lang="en-US" sz="1000" b="0" dirty="0">
                <a:solidFill>
                  <a:srgbClr val="FFFFFF"/>
                </a:solidFill>
                <a:latin typeface="Arial"/>
                <a:cs typeface="Arial" pitchFamily="34" charset="0"/>
              </a:rPr>
              <a:t>© AstraZeneca 2016</a:t>
            </a:r>
          </a:p>
        </p:txBody>
      </p:sp>
      <p:pic>
        <p:nvPicPr>
          <p:cNvPr id="10" name="Picture 9">
            <a:hlinkClick r:id="rId2" action="ppaction://hlinksldjump"/>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12324" y="5715007"/>
            <a:ext cx="567956" cy="653803"/>
          </a:xfrm>
          <a:prstGeom prst="rect">
            <a:avLst/>
          </a:prstGeom>
        </p:spPr>
      </p:pic>
      <p:sp>
        <p:nvSpPr>
          <p:cNvPr id="2" name="Title 1"/>
          <p:cNvSpPr>
            <a:spLocks noGrp="1"/>
          </p:cNvSpPr>
          <p:nvPr>
            <p:ph type="ctrTitle"/>
          </p:nvPr>
        </p:nvSpPr>
        <p:spPr>
          <a:xfrm>
            <a:off x="342900" y="1279207"/>
            <a:ext cx="8458200" cy="1828800"/>
          </a:xfrm>
        </p:spPr>
        <p:txBody>
          <a:bodyPr anchor="t" anchorCtr="0">
            <a:normAutofit/>
          </a:bodyPr>
          <a:lstStyle>
            <a:lvl1pPr algn="l">
              <a:defRPr sz="36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42900" y="4267200"/>
            <a:ext cx="8458200" cy="1371600"/>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p:cNvSpPr>
            <a:spLocks noGrp="1"/>
          </p:cNvSpPr>
          <p:nvPr>
            <p:ph type="body" sz="quarter" idx="10" hasCustomPrompt="1"/>
          </p:nvPr>
        </p:nvSpPr>
        <p:spPr>
          <a:xfrm>
            <a:off x="342900" y="5626107"/>
            <a:ext cx="7391400" cy="871539"/>
          </a:xfrm>
        </p:spPr>
        <p:txBody>
          <a:bodyPr anchor="b">
            <a:noAutofit/>
          </a:bodyPr>
          <a:lstStyle>
            <a:lvl1pPr marL="0" indent="0">
              <a:spcBef>
                <a:spcPts val="300"/>
              </a:spcBef>
              <a:buNone/>
              <a:defRPr sz="1000">
                <a:solidFill>
                  <a:schemeClr val="bg1"/>
                </a:solidFill>
              </a:defRPr>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965293268"/>
      </p:ext>
    </p:extLst>
  </p:cSld>
  <p:clrMapOvr>
    <a:masterClrMapping/>
  </p:clrMapOvr>
  <p:extLst mod="1">
    <p:ext uri="{DCECCB84-F9BA-43D5-87BE-67443E8EF086}">
      <p15:sldGuideLst xmlns:p15="http://schemas.microsoft.com/office/powerpoint/2012/main">
        <p15:guide id="1" orient="horz" pos="268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45125" y="156117"/>
            <a:ext cx="8856000" cy="6559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2" name="Title 1"/>
          <p:cNvSpPr>
            <a:spLocks noGrp="1"/>
          </p:cNvSpPr>
          <p:nvPr>
            <p:ph type="title"/>
          </p:nvPr>
        </p:nvSpPr>
        <p:spPr>
          <a:xfrm>
            <a:off x="342900" y="1270384"/>
            <a:ext cx="8458200" cy="535531"/>
          </a:xfrm>
        </p:spPr>
        <p:txBody>
          <a:bodyPr anchor="t">
            <a:spAutoFit/>
          </a:bodyPr>
          <a:lstStyle>
            <a:lvl1pPr>
              <a:defRPr sz="32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342900" y="3429007"/>
            <a:ext cx="84582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3EDE3A7-73A4-4B90-86EB-6C6B4C12E3FF}" type="datetime1">
              <a:rPr lang="en-US" smtClean="0">
                <a:solidFill>
                  <a:srgbClr val="000000">
                    <a:tint val="75000"/>
                  </a:srgbClr>
                </a:solidFill>
              </a:rPr>
              <a:pPr/>
              <a:t>1/29/2019</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9" name="TextBox 8"/>
          <p:cNvSpPr txBox="1"/>
          <p:nvPr userDrawn="1"/>
        </p:nvSpPr>
        <p:spPr>
          <a:xfrm>
            <a:off x="7592037" y="6453529"/>
            <a:ext cx="1409088" cy="246221"/>
          </a:xfrm>
          <a:prstGeom prst="rect">
            <a:avLst/>
          </a:prstGeom>
          <a:noFill/>
        </p:spPr>
        <p:txBody>
          <a:bodyPr wrap="square" rtlCol="0">
            <a:spAutoFit/>
          </a:bodyPr>
          <a:lstStyle/>
          <a:p>
            <a:pPr algn="r" fontAlgn="auto">
              <a:spcBef>
                <a:spcPts val="0"/>
              </a:spcBef>
              <a:spcAft>
                <a:spcPts val="0"/>
              </a:spcAft>
            </a:pPr>
            <a:r>
              <a:rPr lang="en-US" sz="1000" b="0" dirty="0">
                <a:solidFill>
                  <a:srgbClr val="FFFFFF"/>
                </a:solidFill>
                <a:latin typeface="Arial"/>
                <a:cs typeface="Arial" pitchFamily="34" charset="0"/>
              </a:rPr>
              <a:t>© </a:t>
            </a:r>
            <a:r>
              <a:rPr lang="en-US" sz="1000" b="0">
                <a:solidFill>
                  <a:srgbClr val="FFFFFF"/>
                </a:solidFill>
                <a:latin typeface="Arial"/>
                <a:cs typeface="Arial" pitchFamily="34" charset="0"/>
              </a:rPr>
              <a:t>AstraZeneca 2016</a:t>
            </a:r>
            <a:endParaRPr lang="en-US" sz="1000" b="0" dirty="0">
              <a:solidFill>
                <a:srgbClr val="FFFFFF"/>
              </a:solidFill>
              <a:latin typeface="Arial"/>
              <a:cs typeface="Arial" pitchFamily="34" charset="0"/>
            </a:endParaRPr>
          </a:p>
        </p:txBody>
      </p:sp>
      <p:sp>
        <p:nvSpPr>
          <p:cNvPr id="8" name="Text Placeholder 7"/>
          <p:cNvSpPr>
            <a:spLocks noGrp="1"/>
          </p:cNvSpPr>
          <p:nvPr>
            <p:ph type="body" sz="quarter" idx="13" hasCustomPrompt="1"/>
          </p:nvPr>
        </p:nvSpPr>
        <p:spPr>
          <a:xfrm>
            <a:off x="342900" y="5829315"/>
            <a:ext cx="7391400" cy="885825"/>
          </a:xfrm>
        </p:spPr>
        <p:txBody>
          <a:bodyPr anchor="b">
            <a:noAutofit/>
          </a:bodyPr>
          <a:lstStyle>
            <a:lvl1pPr marL="0" indent="0">
              <a:spcBef>
                <a:spcPts val="300"/>
              </a:spcBef>
              <a:buNone/>
              <a:defRPr sz="1000">
                <a:solidFill>
                  <a:schemeClr val="bg1"/>
                </a:solidFill>
              </a:defRPr>
            </a:lvl1pPr>
            <a:lvl2pPr marL="228600" indent="0">
              <a:spcBef>
                <a:spcPts val="300"/>
              </a:spcBef>
              <a:buNone/>
              <a:defRPr sz="1000">
                <a:solidFill>
                  <a:schemeClr val="bg1"/>
                </a:solidFill>
              </a:defRPr>
            </a:lvl2pPr>
            <a:lvl3pPr marL="457200" indent="0">
              <a:spcBef>
                <a:spcPts val="300"/>
              </a:spcBef>
              <a:buNone/>
              <a:defRPr sz="1000">
                <a:solidFill>
                  <a:schemeClr val="bg1"/>
                </a:solidFill>
              </a:defRPr>
            </a:lvl3pPr>
            <a:lvl4pPr marL="685800" indent="0">
              <a:spcBef>
                <a:spcPts val="300"/>
              </a:spcBef>
              <a:buNone/>
              <a:defRPr sz="1000">
                <a:solidFill>
                  <a:schemeClr val="bg1"/>
                </a:solidFill>
              </a:defRPr>
            </a:lvl4pPr>
            <a:lvl5pPr marL="914400" indent="0">
              <a:spcBef>
                <a:spcPts val="300"/>
              </a:spcBef>
              <a:buNone/>
              <a:defRPr sz="1000">
                <a:solidFill>
                  <a:schemeClr val="bg1"/>
                </a:solidFill>
              </a:defRPr>
            </a:lvl5pPr>
          </a:lstStyle>
          <a:p>
            <a:pPr lvl="0"/>
            <a:r>
              <a:rPr lang="en-US" dirty="0"/>
              <a:t>Reference(s)</a:t>
            </a:r>
          </a:p>
        </p:txBody>
      </p:sp>
    </p:spTree>
    <p:extLst>
      <p:ext uri="{BB962C8B-B14F-4D97-AF65-F5344CB8AC3E}">
        <p14:creationId xmlns:p14="http://schemas.microsoft.com/office/powerpoint/2010/main" val="14694247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6C844F65-4CC5-4B7C-8FB2-993E46914B70}" type="datetime1">
              <a:rPr lang="en-US" smtClean="0">
                <a:solidFill>
                  <a:srgbClr val="000000">
                    <a:tint val="75000"/>
                  </a:srgbClr>
                </a:solidFill>
              </a:rPr>
              <a:pPr/>
              <a:t>1/29/2019</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9" name="Text Placeholder 8"/>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3" name="Content Placeholder 2"/>
          <p:cNvSpPr>
            <a:spLocks noGrp="1"/>
          </p:cNvSpPr>
          <p:nvPr>
            <p:ph sz="half" idx="1"/>
          </p:nvPr>
        </p:nvSpPr>
        <p:spPr>
          <a:xfrm>
            <a:off x="342900" y="1261875"/>
            <a:ext cx="4229100" cy="45570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72000" y="1261875"/>
            <a:ext cx="4229100" cy="45570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87360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3"/>
            <a:ext cx="8458200" cy="8001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342900" y="1264723"/>
            <a:ext cx="4229100" cy="428283"/>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4572000" y="1264723"/>
            <a:ext cx="4229100" cy="428283"/>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7A462839-F8C6-4945-B3E6-E432AC111A50}" type="datetime1">
              <a:rPr lang="en-US" smtClean="0">
                <a:solidFill>
                  <a:srgbClr val="000000">
                    <a:tint val="75000"/>
                  </a:srgbClr>
                </a:solidFill>
              </a:rPr>
              <a:pPr/>
              <a:t>1/29/2019</a:t>
            </a:fld>
            <a:endParaRPr lang="en-US">
              <a:solidFill>
                <a:srgbClr val="000000">
                  <a:tint val="75000"/>
                </a:srgbClr>
              </a:solidFill>
            </a:endParaRPr>
          </a:p>
        </p:txBody>
      </p:sp>
      <p:sp>
        <p:nvSpPr>
          <p:cNvPr id="8" name="Footer Placeholder 7"/>
          <p:cNvSpPr>
            <a:spLocks noGrp="1"/>
          </p:cNvSpPr>
          <p:nvPr>
            <p:ph type="ftr" sz="quarter" idx="11"/>
          </p:nvPr>
        </p:nvSpPr>
        <p:spPr/>
        <p:txBody>
          <a:bodyPr/>
          <a:lstStyle/>
          <a:p>
            <a:endParaRPr lang="en-US">
              <a:solidFill>
                <a:srgbClr val="000000">
                  <a:tint val="75000"/>
                </a:srgbClr>
              </a:solidFill>
            </a:endParaRPr>
          </a:p>
        </p:txBody>
      </p:sp>
      <p:sp>
        <p:nvSpPr>
          <p:cNvPr id="9" name="Slide Number Placeholder 8"/>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11" name="Text Placeholder 10"/>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4" name="Content Placeholder 3"/>
          <p:cNvSpPr>
            <a:spLocks noGrp="1"/>
          </p:cNvSpPr>
          <p:nvPr>
            <p:ph sz="half" idx="2"/>
          </p:nvPr>
        </p:nvSpPr>
        <p:spPr>
          <a:xfrm>
            <a:off x="342900" y="1693000"/>
            <a:ext cx="4229100" cy="413630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572000" y="1693000"/>
            <a:ext cx="4229100" cy="4136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13730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3"/>
            <a:ext cx="8458200" cy="800100"/>
          </a:xfrm>
        </p:spPr>
        <p:txBody>
          <a:bodyPr anchor="b">
            <a:normAutofit/>
          </a:bodyPr>
          <a:lstStyle>
            <a:lvl1pPr>
              <a:defRPr sz="2400"/>
            </a:lvl1pPr>
          </a:lstStyle>
          <a:p>
            <a:r>
              <a:rPr lang="en-US"/>
              <a:t>Click to edit Master title style</a:t>
            </a:r>
            <a:endParaRPr lang="en-US" dirty="0"/>
          </a:p>
        </p:txBody>
      </p:sp>
      <p:sp>
        <p:nvSpPr>
          <p:cNvPr id="4" name="Text Placeholder 3"/>
          <p:cNvSpPr>
            <a:spLocks noGrp="1"/>
          </p:cNvSpPr>
          <p:nvPr>
            <p:ph type="body" sz="half" idx="2" hasCustomPrompt="1"/>
          </p:nvPr>
        </p:nvSpPr>
        <p:spPr>
          <a:xfrm>
            <a:off x="877824" y="5440680"/>
            <a:ext cx="7406640" cy="365760"/>
          </a:xfrm>
          <a:prstGeom prst="roundRect">
            <a:avLst/>
          </a:prstGeom>
          <a:solidFill>
            <a:schemeClr val="accent2"/>
          </a:solidFill>
        </p:spPr>
        <p:txBody>
          <a:bodyPr anchor="ctr"/>
          <a:lstStyle>
            <a:lvl1pPr marL="0" indent="0" algn="ctr">
              <a:buNone/>
              <a:defRPr sz="1600" b="1" baseline="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nter caption</a:t>
            </a:r>
          </a:p>
        </p:txBody>
      </p:sp>
      <p:sp>
        <p:nvSpPr>
          <p:cNvPr id="5" name="Date Placeholder 4"/>
          <p:cNvSpPr>
            <a:spLocks noGrp="1"/>
          </p:cNvSpPr>
          <p:nvPr>
            <p:ph type="dt" sz="half" idx="10"/>
          </p:nvPr>
        </p:nvSpPr>
        <p:spPr/>
        <p:txBody>
          <a:bodyPr/>
          <a:lstStyle/>
          <a:p>
            <a:fld id="{2B699835-471D-4C59-BA88-52E899FAE1BA}" type="datetime1">
              <a:rPr lang="en-US" smtClean="0">
                <a:solidFill>
                  <a:srgbClr val="000000">
                    <a:tint val="75000"/>
                  </a:srgbClr>
                </a:solidFill>
              </a:rPr>
              <a:pPr/>
              <a:t>1/29/2019</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9" name="Text Placeholder 8"/>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3" name="Content Placeholder 2"/>
          <p:cNvSpPr>
            <a:spLocks noGrp="1"/>
          </p:cNvSpPr>
          <p:nvPr>
            <p:ph idx="1"/>
          </p:nvPr>
        </p:nvSpPr>
        <p:spPr>
          <a:xfrm>
            <a:off x="342900" y="1260477"/>
            <a:ext cx="8458200" cy="4185227"/>
          </a:xfrm>
        </p:spPr>
        <p:txBody>
          <a:bodyPr/>
          <a:lstStyle>
            <a:lvl1pPr>
              <a:defRPr sz="2000"/>
            </a:lvl1pPr>
            <a:lvl2pPr>
              <a:defRPr sz="1800"/>
            </a:lvl2pPr>
            <a:lvl3pPr>
              <a:defRPr sz="16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663519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5B360B2-7081-48D9-AA83-DF60505E7BDD}" type="datetime1">
              <a:rPr lang="en-US" smtClean="0">
                <a:solidFill>
                  <a:srgbClr val="000000">
                    <a:tint val="75000"/>
                  </a:srgbClr>
                </a:solidFill>
              </a:rPr>
              <a:pPr/>
              <a:t>1/29/2019</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4" hasCustomPrompt="1"/>
          </p:nvPr>
        </p:nvSpPr>
        <p:spPr>
          <a:xfrm>
            <a:off x="877824" y="5440695"/>
            <a:ext cx="7406640" cy="361951"/>
          </a:xfrm>
          <a:prstGeom prst="roundRect">
            <a:avLst/>
          </a:prstGeom>
          <a:solidFill>
            <a:schemeClr val="accent2"/>
          </a:solidFill>
        </p:spPr>
        <p:txBody>
          <a:bodyPr>
            <a:normAutofit/>
          </a:bodyPr>
          <a:lstStyle>
            <a:lvl1pPr marL="0" indent="0" algn="ctr">
              <a:buNone/>
              <a:defRPr sz="1600" b="1">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Click to enter caption</a:t>
            </a: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7318560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 No Line">
    <p:spTree>
      <p:nvGrpSpPr>
        <p:cNvPr id="1" name=""/>
        <p:cNvGrpSpPr/>
        <p:nvPr/>
      </p:nvGrpSpPr>
      <p:grpSpPr>
        <a:xfrm>
          <a:off x="0" y="0"/>
          <a:ext cx="0" cy="0"/>
          <a:chOff x="0" y="0"/>
          <a:chExt cx="0" cy="0"/>
        </a:xfrm>
      </p:grpSpPr>
      <p:sp>
        <p:nvSpPr>
          <p:cNvPr id="13" name="Rectangle 12"/>
          <p:cNvSpPr/>
          <p:nvPr userDrawn="1"/>
        </p:nvSpPr>
        <p:spPr>
          <a:xfrm>
            <a:off x="145126"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4" name="Date Placeholder 3"/>
          <p:cNvSpPr>
            <a:spLocks noGrp="1"/>
          </p:cNvSpPr>
          <p:nvPr>
            <p:ph type="dt" sz="half" idx="10"/>
          </p:nvPr>
        </p:nvSpPr>
        <p:spPr/>
        <p:txBody>
          <a:bodyPr/>
          <a:lstStyle/>
          <a:p>
            <a:fld id="{DBCC067F-8A41-400B-A227-537B4D1F6807}" type="datetime1">
              <a:rPr lang="en-US" smtClean="0">
                <a:solidFill>
                  <a:srgbClr val="000000">
                    <a:tint val="75000"/>
                  </a:srgbClr>
                </a:solidFill>
              </a:rPr>
              <a:pPr/>
              <a:t>1/29/2019</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hasCustomPrompt="1"/>
          </p:nvPr>
        </p:nvSpPr>
        <p:spPr>
          <a:xfrm>
            <a:off x="342900" y="5851603"/>
            <a:ext cx="73914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Reference(s)</a:t>
            </a:r>
          </a:p>
        </p:txBody>
      </p:sp>
      <p:sp>
        <p:nvSpPr>
          <p:cNvPr id="3" name="Content Placeholder 2"/>
          <p:cNvSpPr>
            <a:spLocks noGrp="1"/>
          </p:cNvSpPr>
          <p:nvPr>
            <p:ph idx="1"/>
          </p:nvPr>
        </p:nvSpPr>
        <p:spPr>
          <a:xfrm>
            <a:off x="342900" y="1028703"/>
            <a:ext cx="8458200" cy="48051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20438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9" name="Rectangle 8"/>
          <p:cNvSpPr/>
          <p:nvPr userDrawn="1"/>
        </p:nvSpPr>
        <p:spPr>
          <a:xfrm>
            <a:off x="7464398" y="6521492"/>
            <a:ext cx="1607475" cy="332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13" name="Rectangle 12"/>
          <p:cNvSpPr/>
          <p:nvPr userDrawn="1"/>
        </p:nvSpPr>
        <p:spPr>
          <a:xfrm>
            <a:off x="145126"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4" name="Date Placeholder 3"/>
          <p:cNvSpPr>
            <a:spLocks noGrp="1"/>
          </p:cNvSpPr>
          <p:nvPr>
            <p:ph type="dt" sz="half" idx="10"/>
          </p:nvPr>
        </p:nvSpPr>
        <p:spPr/>
        <p:txBody>
          <a:bodyPr/>
          <a:lstStyle/>
          <a:p>
            <a:fld id="{7B703F99-E361-4D77-BD5C-0202CD0A3041}" type="datetime1">
              <a:rPr lang="en-US" smtClean="0">
                <a:solidFill>
                  <a:srgbClr val="000000">
                    <a:tint val="75000"/>
                  </a:srgbClr>
                </a:solidFill>
              </a:rPr>
              <a:pPr/>
              <a:t>1/29/2019</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3" name="Content Placeholder 2"/>
          <p:cNvSpPr>
            <a:spLocks noGrp="1"/>
          </p:cNvSpPr>
          <p:nvPr>
            <p:ph idx="1"/>
          </p:nvPr>
        </p:nvSpPr>
        <p:spPr>
          <a:xfrm>
            <a:off x="342900" y="1028703"/>
            <a:ext cx="8458200" cy="48051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043541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 No Line">
    <p:spTree>
      <p:nvGrpSpPr>
        <p:cNvPr id="1" name=""/>
        <p:cNvGrpSpPr/>
        <p:nvPr/>
      </p:nvGrpSpPr>
      <p:grpSpPr>
        <a:xfrm>
          <a:off x="0" y="0"/>
          <a:ext cx="0" cy="0"/>
          <a:chOff x="0" y="0"/>
          <a:chExt cx="0" cy="0"/>
        </a:xfrm>
      </p:grpSpPr>
      <p:sp>
        <p:nvSpPr>
          <p:cNvPr id="10" name="Rectangle 9"/>
          <p:cNvSpPr/>
          <p:nvPr userDrawn="1"/>
        </p:nvSpPr>
        <p:spPr>
          <a:xfrm>
            <a:off x="145126"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96844F6-74A7-4D05-BE58-C5A905A8FAB1}" type="datetime1">
              <a:rPr lang="en-US" smtClean="0">
                <a:solidFill>
                  <a:srgbClr val="000000">
                    <a:tint val="75000"/>
                  </a:srgbClr>
                </a:solidFill>
              </a:rPr>
              <a:pPr/>
              <a:t>1/29/2019</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32370843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27"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2" name="Table Placeholder 29"/>
          <p:cNvSpPr>
            <a:spLocks noGrp="1"/>
          </p:cNvSpPr>
          <p:nvPr>
            <p:ph type="tbl" sz="quarter" idx="15"/>
          </p:nvPr>
        </p:nvSpPr>
        <p:spPr>
          <a:xfrm>
            <a:off x="987429" y="1731133"/>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3" name="Text Placeholder 2"/>
          <p:cNvSpPr>
            <a:spLocks noGrp="1"/>
          </p:cNvSpPr>
          <p:nvPr>
            <p:ph type="body" sz="quarter" idx="14"/>
          </p:nvPr>
        </p:nvSpPr>
        <p:spPr>
          <a:xfrm>
            <a:off x="1046700" y="1879896"/>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731600"/>
            <a:ext cx="540000" cy="540000"/>
          </a:xfrm>
          <a:prstGeom prst="rect">
            <a:avLst/>
          </a:prstGeom>
          <a:solidFill>
            <a:schemeClr val="accent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1</a:t>
            </a:r>
          </a:p>
        </p:txBody>
      </p:sp>
      <p:sp>
        <p:nvSpPr>
          <p:cNvPr id="28" name="Table Placeholder 29"/>
          <p:cNvSpPr>
            <a:spLocks noGrp="1"/>
          </p:cNvSpPr>
          <p:nvPr>
            <p:ph type="tbl" sz="quarter" idx="27"/>
          </p:nvPr>
        </p:nvSpPr>
        <p:spPr>
          <a:xfrm>
            <a:off x="987429" y="240348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9" name="Text Placeholder 2"/>
          <p:cNvSpPr>
            <a:spLocks noGrp="1"/>
          </p:cNvSpPr>
          <p:nvPr>
            <p:ph type="body" sz="quarter" idx="28"/>
          </p:nvPr>
        </p:nvSpPr>
        <p:spPr>
          <a:xfrm>
            <a:off x="1046700" y="2552256"/>
            <a:ext cx="5718173"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1" name="Text Placeholder 49"/>
          <p:cNvSpPr>
            <a:spLocks noGrp="1"/>
          </p:cNvSpPr>
          <p:nvPr>
            <p:ph type="body" sz="quarter" idx="29" hasCustomPrompt="1"/>
          </p:nvPr>
        </p:nvSpPr>
        <p:spPr>
          <a:xfrm>
            <a:off x="330200" y="2403956"/>
            <a:ext cx="540000" cy="540000"/>
          </a:xfrm>
          <a:prstGeom prst="rect">
            <a:avLst/>
          </a:prstGeom>
          <a:solidFill>
            <a:schemeClr val="accent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2" name="Table Placeholder 29"/>
          <p:cNvSpPr>
            <a:spLocks noGrp="1"/>
          </p:cNvSpPr>
          <p:nvPr>
            <p:ph type="tbl" sz="quarter" idx="30"/>
          </p:nvPr>
        </p:nvSpPr>
        <p:spPr>
          <a:xfrm>
            <a:off x="987429" y="3082231"/>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3" name="Text Placeholder 2"/>
          <p:cNvSpPr>
            <a:spLocks noGrp="1"/>
          </p:cNvSpPr>
          <p:nvPr>
            <p:ph type="body" sz="quarter" idx="31"/>
          </p:nvPr>
        </p:nvSpPr>
        <p:spPr>
          <a:xfrm>
            <a:off x="1046700" y="3230997"/>
            <a:ext cx="5718173" cy="394199"/>
          </a:xfrm>
          <a:prstGeom prst="rect">
            <a:avLst/>
          </a:prstGeom>
        </p:spPr>
        <p:txBody>
          <a:bodyPr vert="horz"/>
          <a:lstStyle>
            <a:lvl1pPr marL="0" indent="0">
              <a:lnSpc>
                <a:spcPct val="60000"/>
              </a:lnSpc>
              <a:buNone/>
              <a:defRPr sz="20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4" name="Text Placeholder 49"/>
          <p:cNvSpPr>
            <a:spLocks noGrp="1"/>
          </p:cNvSpPr>
          <p:nvPr>
            <p:ph type="body" sz="quarter" idx="32" hasCustomPrompt="1"/>
          </p:nvPr>
        </p:nvSpPr>
        <p:spPr>
          <a:xfrm>
            <a:off x="330200" y="3082699"/>
            <a:ext cx="540000" cy="540000"/>
          </a:xfrm>
          <a:prstGeom prst="rect">
            <a:avLst/>
          </a:prstGeom>
          <a:solidFill>
            <a:srgbClr val="D8DCDE"/>
          </a:solidFill>
          <a:ln w="19050" cmpd="sng">
            <a:noFill/>
          </a:ln>
        </p:spPr>
        <p:txBody>
          <a:bodyPr vert="horz" anchor="ctr"/>
          <a:lstStyle>
            <a:lvl1pPr marL="0" indent="0" algn="ctr">
              <a:lnSpc>
                <a:spcPts val="2800"/>
              </a:lnSpc>
              <a:spcBef>
                <a:spcPts val="0"/>
              </a:spcBef>
              <a:buNone/>
              <a:defRPr sz="2400" b="1">
                <a:solidFill>
                  <a:schemeClr val="tx2"/>
                </a:solidFill>
                <a:latin typeface="Arial" pitchFamily="34" charset="0"/>
                <a:cs typeface="Arial" pitchFamily="34" charset="0"/>
              </a:defRPr>
            </a:lvl1pPr>
          </a:lstStyle>
          <a:p>
            <a:pPr lvl="0"/>
            <a:r>
              <a:rPr lang="en-GB" noProof="0" dirty="0"/>
              <a:t>3</a:t>
            </a:r>
          </a:p>
        </p:txBody>
      </p:sp>
      <p:sp>
        <p:nvSpPr>
          <p:cNvPr id="35" name="Table Placeholder 29"/>
          <p:cNvSpPr>
            <a:spLocks noGrp="1"/>
          </p:cNvSpPr>
          <p:nvPr>
            <p:ph type="tbl" sz="quarter" idx="33"/>
          </p:nvPr>
        </p:nvSpPr>
        <p:spPr>
          <a:xfrm>
            <a:off x="987429" y="3763175"/>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6" name="Text Placeholder 2"/>
          <p:cNvSpPr>
            <a:spLocks noGrp="1"/>
          </p:cNvSpPr>
          <p:nvPr>
            <p:ph type="body" sz="quarter" idx="34"/>
          </p:nvPr>
        </p:nvSpPr>
        <p:spPr>
          <a:xfrm>
            <a:off x="1046700" y="3911936"/>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7" name="Text Placeholder 49"/>
          <p:cNvSpPr>
            <a:spLocks noGrp="1"/>
          </p:cNvSpPr>
          <p:nvPr>
            <p:ph type="body" sz="quarter" idx="35" hasCustomPrompt="1"/>
          </p:nvPr>
        </p:nvSpPr>
        <p:spPr>
          <a:xfrm>
            <a:off x="330200" y="3763643"/>
            <a:ext cx="540000" cy="540000"/>
          </a:xfrm>
          <a:prstGeom prst="rect">
            <a:avLst/>
          </a:prstGeom>
          <a:solidFill>
            <a:schemeClr val="accent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8" name="Table Placeholder 29"/>
          <p:cNvSpPr>
            <a:spLocks noGrp="1"/>
          </p:cNvSpPr>
          <p:nvPr>
            <p:ph type="tbl" sz="quarter" idx="36"/>
          </p:nvPr>
        </p:nvSpPr>
        <p:spPr>
          <a:xfrm>
            <a:off x="987429" y="444087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9" name="Text Placeholder 2"/>
          <p:cNvSpPr>
            <a:spLocks noGrp="1"/>
          </p:cNvSpPr>
          <p:nvPr>
            <p:ph type="body" sz="quarter" idx="37"/>
          </p:nvPr>
        </p:nvSpPr>
        <p:spPr>
          <a:xfrm>
            <a:off x="1046700" y="4589644"/>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0" name="Text Placeholder 49"/>
          <p:cNvSpPr>
            <a:spLocks noGrp="1"/>
          </p:cNvSpPr>
          <p:nvPr>
            <p:ph type="body" sz="quarter" idx="38" hasCustomPrompt="1"/>
          </p:nvPr>
        </p:nvSpPr>
        <p:spPr>
          <a:xfrm>
            <a:off x="330200" y="4441345"/>
            <a:ext cx="540000" cy="540000"/>
          </a:xfrm>
          <a:prstGeom prst="rect">
            <a:avLst/>
          </a:prstGeom>
          <a:solidFill>
            <a:schemeClr val="accent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1" name="Table Placeholder 29"/>
          <p:cNvSpPr>
            <a:spLocks noGrp="1"/>
          </p:cNvSpPr>
          <p:nvPr>
            <p:ph type="tbl" sz="quarter" idx="39"/>
          </p:nvPr>
        </p:nvSpPr>
        <p:spPr>
          <a:xfrm>
            <a:off x="987429" y="5129167"/>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2" name="Text Placeholder 2"/>
          <p:cNvSpPr>
            <a:spLocks noGrp="1"/>
          </p:cNvSpPr>
          <p:nvPr>
            <p:ph type="body" sz="quarter" idx="40"/>
          </p:nvPr>
        </p:nvSpPr>
        <p:spPr>
          <a:xfrm>
            <a:off x="1046700" y="5277933"/>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3" name="Text Placeholder 49"/>
          <p:cNvSpPr>
            <a:spLocks noGrp="1"/>
          </p:cNvSpPr>
          <p:nvPr>
            <p:ph type="body" sz="quarter" idx="41" hasCustomPrompt="1"/>
          </p:nvPr>
        </p:nvSpPr>
        <p:spPr>
          <a:xfrm>
            <a:off x="330200" y="5129635"/>
            <a:ext cx="540000" cy="540000"/>
          </a:xfrm>
          <a:prstGeom prst="rect">
            <a:avLst/>
          </a:prstGeom>
          <a:solidFill>
            <a:schemeClr val="accent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6</a:t>
            </a:r>
          </a:p>
        </p:txBody>
      </p:sp>
      <p:sp>
        <p:nvSpPr>
          <p:cNvPr id="26"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7935999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35BEE8-38E4-4566-B217-E1C1CEA4A2BB}" type="datetime1">
              <a:rPr lang="en-US" smtClean="0">
                <a:solidFill>
                  <a:srgbClr val="000000">
                    <a:tint val="75000"/>
                  </a:srgbClr>
                </a:solidFill>
              </a:rPr>
              <a:pPr/>
              <a:t>1/29/2019</a:t>
            </a:fld>
            <a:endParaRPr lang="en-US">
              <a:solidFill>
                <a:srgbClr val="000000">
                  <a:tint val="75000"/>
                </a:srgbClr>
              </a:solidFill>
            </a:endParaRPr>
          </a:p>
        </p:txBody>
      </p:sp>
      <p:sp>
        <p:nvSpPr>
          <p:cNvPr id="3" name="Footer Placeholder 2"/>
          <p:cNvSpPr>
            <a:spLocks noGrp="1"/>
          </p:cNvSpPr>
          <p:nvPr>
            <p:ph type="ftr" sz="quarter" idx="11"/>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8" name="Rectangle 7"/>
          <p:cNvSpPr/>
          <p:nvPr userDrawn="1"/>
        </p:nvSpPr>
        <p:spPr>
          <a:xfrm>
            <a:off x="145126"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Tree>
    <p:extLst>
      <p:ext uri="{BB962C8B-B14F-4D97-AF65-F5344CB8AC3E}">
        <p14:creationId xmlns:p14="http://schemas.microsoft.com/office/powerpoint/2010/main" val="20851682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p>
            <a:fld id="{1FE55FE1-14D6-4E0C-911C-D83186A362DD}"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6627859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42900" y="5851603"/>
            <a:ext cx="7391400" cy="1005840"/>
          </a:xfrm>
        </p:spPr>
        <p:txBody>
          <a:bodyPr anchor="b">
            <a:normAutofit/>
          </a:bodyPr>
          <a:lstStyle>
            <a:lvl1pPr marL="0" indent="0">
              <a:spcBef>
                <a:spcPts val="225"/>
              </a:spcBef>
              <a:buNone/>
              <a:defRPr sz="750"/>
            </a:lvl1pPr>
            <a:lvl2pPr marL="171450" indent="0">
              <a:buNone/>
              <a:defRPr/>
            </a:lvl2pPr>
            <a:lvl3pPr marL="342900" indent="0">
              <a:buNone/>
              <a:defRPr/>
            </a:lvl3pPr>
            <a:lvl4pPr marL="514350" indent="0">
              <a:buNone/>
              <a:defRPr/>
            </a:lvl4pPr>
            <a:lvl5pPr marL="685800" indent="0">
              <a:buNone/>
              <a:defRPr/>
            </a:lvl5pPr>
          </a:lstStyle>
          <a:p>
            <a:pPr lvl="0"/>
            <a:r>
              <a:rPr lang="en-US" dirty="0"/>
              <a:t>Reference(s)</a:t>
            </a:r>
          </a:p>
        </p:txBody>
      </p:sp>
      <p:sp>
        <p:nvSpPr>
          <p:cNvPr id="3" name="Content Placeholder 2"/>
          <p:cNvSpPr>
            <a:spLocks noGrp="1"/>
          </p:cNvSpPr>
          <p:nvPr>
            <p:ph idx="1"/>
          </p:nvPr>
        </p:nvSpPr>
        <p:spPr>
          <a:xfrm>
            <a:off x="342900" y="1261872"/>
            <a:ext cx="8458200" cy="4572000"/>
          </a:xfrm>
        </p:spPr>
        <p:txBody>
          <a:bodyPr/>
          <a:lstStyle>
            <a:lvl1pPr>
              <a:defRPr sz="180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4"/>
          <p:cNvSpPr>
            <a:spLocks noGrp="1"/>
          </p:cNvSpPr>
          <p:nvPr>
            <p:ph type="sldNum" sz="quarter" idx="12"/>
          </p:nvPr>
        </p:nvSpPr>
        <p:spPr>
          <a:xfrm>
            <a:off x="0" y="6591303"/>
            <a:ext cx="365760" cy="266700"/>
          </a:xfrm>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5" name="Title 1"/>
          <p:cNvSpPr>
            <a:spLocks noGrp="1"/>
          </p:cNvSpPr>
          <p:nvPr>
            <p:ph type="title"/>
          </p:nvPr>
        </p:nvSpPr>
        <p:spPr>
          <a:xfrm>
            <a:off x="342900" y="228601"/>
            <a:ext cx="8458200" cy="800099"/>
          </a:xfrm>
        </p:spPr>
        <p:txBody>
          <a:bodyPr/>
          <a:lstStyle/>
          <a:p>
            <a:r>
              <a:rPr lang="en-US" dirty="0"/>
              <a:t>Click to edit Master title style</a:t>
            </a:r>
          </a:p>
        </p:txBody>
      </p:sp>
    </p:spTree>
    <p:extLst>
      <p:ext uri="{BB962C8B-B14F-4D97-AF65-F5344CB8AC3E}">
        <p14:creationId xmlns:p14="http://schemas.microsoft.com/office/powerpoint/2010/main" val="1593187752"/>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67B469EA-835E-4800-98C5-30F6C25673F6}" type="datetime1">
              <a:rPr lang="en-US" smtClean="0">
                <a:solidFill>
                  <a:srgbClr val="000000">
                    <a:tint val="75000"/>
                  </a:srgbClr>
                </a:solidFill>
              </a:rPr>
              <a:pPr/>
              <a:t>1/29/2019</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Tree>
    <p:extLst>
      <p:ext uri="{BB962C8B-B14F-4D97-AF65-F5344CB8AC3E}">
        <p14:creationId xmlns:p14="http://schemas.microsoft.com/office/powerpoint/2010/main" val="123757939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Rectangle 14"/>
          <p:cNvSpPr/>
          <p:nvPr userDrawn="1"/>
        </p:nvSpPr>
        <p:spPr>
          <a:xfrm>
            <a:off x="7464404" y="6532647"/>
            <a:ext cx="1607475" cy="332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a:solidFill>
                <a:srgbClr val="FFFFFF"/>
              </a:solidFill>
            </a:endParaRPr>
          </a:p>
        </p:txBody>
      </p:sp>
      <p:sp>
        <p:nvSpPr>
          <p:cNvPr id="7" name="Rectangle 6"/>
          <p:cNvSpPr/>
          <p:nvPr userDrawn="1"/>
        </p:nvSpPr>
        <p:spPr>
          <a:xfrm>
            <a:off x="145125" y="3878272"/>
            <a:ext cx="8856000" cy="2836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dirty="0">
              <a:solidFill>
                <a:srgbClr val="FFFFFF"/>
              </a:solidFill>
            </a:endParaRPr>
          </a:p>
        </p:txBody>
      </p:sp>
      <p:sp>
        <p:nvSpPr>
          <p:cNvPr id="8" name="Rectangle 7"/>
          <p:cNvSpPr/>
          <p:nvPr userDrawn="1"/>
        </p:nvSpPr>
        <p:spPr>
          <a:xfrm>
            <a:off x="145125" y="3771907"/>
            <a:ext cx="8856000" cy="1063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a:solidFill>
                <a:srgbClr val="FFFFFF"/>
              </a:solidFill>
            </a:endParaRPr>
          </a:p>
        </p:txBody>
      </p:sp>
      <p:sp>
        <p:nvSpPr>
          <p:cNvPr id="9" name="TextBox 8"/>
          <p:cNvSpPr txBox="1"/>
          <p:nvPr userDrawn="1"/>
        </p:nvSpPr>
        <p:spPr>
          <a:xfrm>
            <a:off x="7592037" y="6453533"/>
            <a:ext cx="1409088" cy="207749"/>
          </a:xfrm>
          <a:prstGeom prst="rect">
            <a:avLst/>
          </a:prstGeom>
          <a:noFill/>
        </p:spPr>
        <p:txBody>
          <a:bodyPr wrap="square" rtlCol="0">
            <a:spAutoFit/>
          </a:bodyPr>
          <a:lstStyle/>
          <a:p>
            <a:pPr algn="r" defTabSz="685800" fontAlgn="auto">
              <a:spcBef>
                <a:spcPts val="0"/>
              </a:spcBef>
              <a:spcAft>
                <a:spcPts val="0"/>
              </a:spcAft>
            </a:pPr>
            <a:r>
              <a:rPr lang="en-US" sz="750" b="0" dirty="0">
                <a:solidFill>
                  <a:srgbClr val="FFFFFF"/>
                </a:solidFill>
                <a:latin typeface="Arial"/>
                <a:cs typeface="Arial" pitchFamily="34" charset="0"/>
              </a:rPr>
              <a:t>© AstraZeneca 2016</a:t>
            </a:r>
          </a:p>
        </p:txBody>
      </p:sp>
      <p:pic>
        <p:nvPicPr>
          <p:cNvPr id="10" name="Picture 9">
            <a:hlinkClick r:id="rId2" action="ppaction://hlinksldjump"/>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12324" y="5715007"/>
            <a:ext cx="567956" cy="653803"/>
          </a:xfrm>
          <a:prstGeom prst="rect">
            <a:avLst/>
          </a:prstGeom>
        </p:spPr>
      </p:pic>
      <p:sp>
        <p:nvSpPr>
          <p:cNvPr id="2" name="Title 1"/>
          <p:cNvSpPr>
            <a:spLocks noGrp="1"/>
          </p:cNvSpPr>
          <p:nvPr>
            <p:ph type="ctrTitle"/>
          </p:nvPr>
        </p:nvSpPr>
        <p:spPr>
          <a:xfrm>
            <a:off x="342900" y="1279207"/>
            <a:ext cx="8458200" cy="1828800"/>
          </a:xfrm>
        </p:spPr>
        <p:txBody>
          <a:bodyPr anchor="t" anchorCtr="0">
            <a:normAutofit/>
          </a:bodyPr>
          <a:lstStyle>
            <a:lvl1pPr algn="l">
              <a:defRPr sz="2700">
                <a:solidFill>
                  <a:schemeClr val="tx2"/>
                </a:solidFill>
              </a:defRPr>
            </a:lvl1pPr>
          </a:lstStyle>
          <a:p>
            <a:r>
              <a:rPr lang="en-US" dirty="0"/>
              <a:t>Click to edit Master title style</a:t>
            </a:r>
          </a:p>
        </p:txBody>
      </p:sp>
      <p:sp>
        <p:nvSpPr>
          <p:cNvPr id="14" name="Rectangle 13"/>
          <p:cNvSpPr/>
          <p:nvPr userDrawn="1"/>
        </p:nvSpPr>
        <p:spPr>
          <a:xfrm>
            <a:off x="145130"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a:solidFill>
                <a:srgbClr val="FFFFFF"/>
              </a:solidFill>
            </a:endParaRPr>
          </a:p>
        </p:txBody>
      </p:sp>
      <p:sp>
        <p:nvSpPr>
          <p:cNvPr id="3" name="Subtitle 2"/>
          <p:cNvSpPr>
            <a:spLocks noGrp="1"/>
          </p:cNvSpPr>
          <p:nvPr>
            <p:ph type="subTitle" idx="1"/>
          </p:nvPr>
        </p:nvSpPr>
        <p:spPr>
          <a:xfrm>
            <a:off x="342900" y="4267200"/>
            <a:ext cx="8458200" cy="1371600"/>
          </a:xfrm>
        </p:spPr>
        <p:txBody>
          <a:bodyPr>
            <a:normAutofit/>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en-US" dirty="0"/>
          </a:p>
        </p:txBody>
      </p:sp>
      <p:sp>
        <p:nvSpPr>
          <p:cNvPr id="11" name="Text Placeholder 10"/>
          <p:cNvSpPr>
            <a:spLocks noGrp="1"/>
          </p:cNvSpPr>
          <p:nvPr>
            <p:ph type="body" sz="quarter" idx="10" hasCustomPrompt="1"/>
          </p:nvPr>
        </p:nvSpPr>
        <p:spPr>
          <a:xfrm>
            <a:off x="342900" y="5626107"/>
            <a:ext cx="7391400" cy="871539"/>
          </a:xfrm>
        </p:spPr>
        <p:txBody>
          <a:bodyPr anchor="b">
            <a:noAutofit/>
          </a:bodyPr>
          <a:lstStyle>
            <a:lvl1pPr marL="0" indent="0">
              <a:spcBef>
                <a:spcPts val="225"/>
              </a:spcBef>
              <a:buNone/>
              <a:defRPr sz="750">
                <a:solidFill>
                  <a:schemeClr val="bg1"/>
                </a:solidFill>
              </a:defRPr>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Tree>
    <p:extLst>
      <p:ext uri="{BB962C8B-B14F-4D97-AF65-F5344CB8AC3E}">
        <p14:creationId xmlns:p14="http://schemas.microsoft.com/office/powerpoint/2010/main" val="3936952550"/>
      </p:ext>
    </p:extLst>
  </p:cSld>
  <p:clrMapOvr>
    <a:masterClrMapping/>
  </p:clrMapOvr>
  <p:extLst mod="1">
    <p:ext uri="{DCECCB84-F9BA-43D5-87BE-67443E8EF086}">
      <p15:sldGuideLst xmlns:p15="http://schemas.microsoft.com/office/powerpoint/2012/main">
        <p15:guide id="1" orient="horz" pos="268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45125" y="156117"/>
            <a:ext cx="8856000" cy="6559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a:solidFill>
                <a:srgbClr val="FFFFFF"/>
              </a:solidFill>
            </a:endParaRPr>
          </a:p>
        </p:txBody>
      </p:sp>
      <p:sp>
        <p:nvSpPr>
          <p:cNvPr id="2" name="Title 1"/>
          <p:cNvSpPr>
            <a:spLocks noGrp="1"/>
          </p:cNvSpPr>
          <p:nvPr>
            <p:ph type="title"/>
          </p:nvPr>
        </p:nvSpPr>
        <p:spPr>
          <a:xfrm>
            <a:off x="342900" y="1270367"/>
            <a:ext cx="8458200" cy="424732"/>
          </a:xfrm>
        </p:spPr>
        <p:txBody>
          <a:bodyPr anchor="t">
            <a:spAutoFit/>
          </a:bodyPr>
          <a:lstStyle>
            <a:lvl1pPr>
              <a:defRPr sz="24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342900" y="3429007"/>
            <a:ext cx="8458200" cy="1500187"/>
          </a:xfrm>
        </p:spPr>
        <p:txBody>
          <a:bodyPr/>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BC56637-D08A-43C5-B99B-3A9CFD858A59}" type="datetime1">
              <a:rPr lang="en-US" smtClean="0">
                <a:solidFill>
                  <a:srgbClr val="000000">
                    <a:tint val="75000"/>
                  </a:srgbClr>
                </a:solidFill>
              </a:rPr>
              <a:pPr/>
              <a:t>1/29/2019</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9" name="TextBox 8"/>
          <p:cNvSpPr txBox="1"/>
          <p:nvPr userDrawn="1"/>
        </p:nvSpPr>
        <p:spPr>
          <a:xfrm>
            <a:off x="7592037" y="6453533"/>
            <a:ext cx="1409088" cy="207749"/>
          </a:xfrm>
          <a:prstGeom prst="rect">
            <a:avLst/>
          </a:prstGeom>
          <a:noFill/>
        </p:spPr>
        <p:txBody>
          <a:bodyPr wrap="square" rtlCol="0">
            <a:spAutoFit/>
          </a:bodyPr>
          <a:lstStyle/>
          <a:p>
            <a:pPr algn="r" defTabSz="685800" fontAlgn="auto">
              <a:spcBef>
                <a:spcPts val="0"/>
              </a:spcBef>
              <a:spcAft>
                <a:spcPts val="0"/>
              </a:spcAft>
            </a:pPr>
            <a:r>
              <a:rPr lang="en-US" sz="750" b="0" dirty="0">
                <a:solidFill>
                  <a:srgbClr val="FFFFFF"/>
                </a:solidFill>
                <a:latin typeface="Arial"/>
                <a:cs typeface="Arial" pitchFamily="34" charset="0"/>
              </a:rPr>
              <a:t>© AstraZeneca 2016</a:t>
            </a:r>
          </a:p>
        </p:txBody>
      </p:sp>
      <p:sp>
        <p:nvSpPr>
          <p:cNvPr id="8" name="Text Placeholder 7"/>
          <p:cNvSpPr>
            <a:spLocks noGrp="1"/>
          </p:cNvSpPr>
          <p:nvPr>
            <p:ph type="body" sz="quarter" idx="13" hasCustomPrompt="1"/>
          </p:nvPr>
        </p:nvSpPr>
        <p:spPr>
          <a:xfrm>
            <a:off x="342900" y="5829319"/>
            <a:ext cx="7391400" cy="885825"/>
          </a:xfrm>
        </p:spPr>
        <p:txBody>
          <a:bodyPr anchor="b">
            <a:noAutofit/>
          </a:bodyPr>
          <a:lstStyle>
            <a:lvl1pPr marL="0" indent="0">
              <a:spcBef>
                <a:spcPts val="225"/>
              </a:spcBef>
              <a:buNone/>
              <a:defRPr sz="750">
                <a:solidFill>
                  <a:schemeClr val="bg1"/>
                </a:solidFill>
              </a:defRPr>
            </a:lvl1pPr>
            <a:lvl2pPr marL="171450" indent="0">
              <a:spcBef>
                <a:spcPts val="225"/>
              </a:spcBef>
              <a:buNone/>
              <a:defRPr sz="750">
                <a:solidFill>
                  <a:schemeClr val="bg1"/>
                </a:solidFill>
              </a:defRPr>
            </a:lvl2pPr>
            <a:lvl3pPr marL="342900" indent="0">
              <a:spcBef>
                <a:spcPts val="225"/>
              </a:spcBef>
              <a:buNone/>
              <a:defRPr sz="750">
                <a:solidFill>
                  <a:schemeClr val="bg1"/>
                </a:solidFill>
              </a:defRPr>
            </a:lvl3pPr>
            <a:lvl4pPr marL="514350" indent="0">
              <a:spcBef>
                <a:spcPts val="225"/>
              </a:spcBef>
              <a:buNone/>
              <a:defRPr sz="750">
                <a:solidFill>
                  <a:schemeClr val="bg1"/>
                </a:solidFill>
              </a:defRPr>
            </a:lvl4pPr>
            <a:lvl5pPr marL="685800" indent="0">
              <a:spcBef>
                <a:spcPts val="225"/>
              </a:spcBef>
              <a:buNone/>
              <a:defRPr sz="750">
                <a:solidFill>
                  <a:schemeClr val="bg1"/>
                </a:solidFill>
              </a:defRPr>
            </a:lvl5pPr>
          </a:lstStyle>
          <a:p>
            <a:pPr lvl="0"/>
            <a:r>
              <a:rPr lang="en-US" dirty="0"/>
              <a:t>Reference(s)</a:t>
            </a:r>
          </a:p>
        </p:txBody>
      </p:sp>
    </p:spTree>
    <p:extLst>
      <p:ext uri="{BB962C8B-B14F-4D97-AF65-F5344CB8AC3E}">
        <p14:creationId xmlns:p14="http://schemas.microsoft.com/office/powerpoint/2010/main" val="21684995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420B08B7-DED5-4585-B7C5-D4FFB236205D}" type="datetime1">
              <a:rPr lang="en-US" smtClean="0">
                <a:solidFill>
                  <a:srgbClr val="000000">
                    <a:tint val="75000"/>
                  </a:srgbClr>
                </a:solidFill>
              </a:rPr>
              <a:pPr/>
              <a:t>1/29/2019</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9" name="Text Placeholder 8"/>
          <p:cNvSpPr>
            <a:spLocks noGrp="1"/>
          </p:cNvSpPr>
          <p:nvPr>
            <p:ph type="body" sz="quarter" idx="13" hasCustomPrompt="1"/>
          </p:nvPr>
        </p:nvSpPr>
        <p:spPr>
          <a:xfrm>
            <a:off x="342900" y="5851603"/>
            <a:ext cx="7391400" cy="100584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
        <p:nvSpPr>
          <p:cNvPr id="3" name="Content Placeholder 2"/>
          <p:cNvSpPr>
            <a:spLocks noGrp="1"/>
          </p:cNvSpPr>
          <p:nvPr>
            <p:ph sz="half" idx="1"/>
          </p:nvPr>
        </p:nvSpPr>
        <p:spPr>
          <a:xfrm>
            <a:off x="342900" y="1261875"/>
            <a:ext cx="4229100" cy="45570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72000" y="1261875"/>
            <a:ext cx="4229100" cy="45570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753350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3"/>
            <a:ext cx="8458200" cy="8001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342900" y="1264723"/>
            <a:ext cx="4229100" cy="428283"/>
          </a:xfrm>
        </p:spPr>
        <p:txBody>
          <a:bodyPr anchor="b">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5" name="Text Placeholder 4"/>
          <p:cNvSpPr>
            <a:spLocks noGrp="1"/>
          </p:cNvSpPr>
          <p:nvPr>
            <p:ph type="body" sz="quarter" idx="3"/>
          </p:nvPr>
        </p:nvSpPr>
        <p:spPr>
          <a:xfrm>
            <a:off x="4572000" y="1264723"/>
            <a:ext cx="4229100" cy="428283"/>
          </a:xfrm>
        </p:spPr>
        <p:txBody>
          <a:bodyPr anchor="b">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7" name="Date Placeholder 6"/>
          <p:cNvSpPr>
            <a:spLocks noGrp="1"/>
          </p:cNvSpPr>
          <p:nvPr>
            <p:ph type="dt" sz="half" idx="10"/>
          </p:nvPr>
        </p:nvSpPr>
        <p:spPr/>
        <p:txBody>
          <a:bodyPr/>
          <a:lstStyle/>
          <a:p>
            <a:fld id="{5D31CD1B-E4AB-46F5-AF80-8284CDAD636D}" type="datetime1">
              <a:rPr lang="en-US" smtClean="0">
                <a:solidFill>
                  <a:srgbClr val="000000">
                    <a:tint val="75000"/>
                  </a:srgbClr>
                </a:solidFill>
              </a:rPr>
              <a:pPr/>
              <a:t>1/29/2019</a:t>
            </a:fld>
            <a:endParaRPr lang="en-US">
              <a:solidFill>
                <a:srgbClr val="000000">
                  <a:tint val="75000"/>
                </a:srgbClr>
              </a:solidFill>
            </a:endParaRPr>
          </a:p>
        </p:txBody>
      </p:sp>
      <p:sp>
        <p:nvSpPr>
          <p:cNvPr id="8" name="Footer Placeholder 7"/>
          <p:cNvSpPr>
            <a:spLocks noGrp="1"/>
          </p:cNvSpPr>
          <p:nvPr>
            <p:ph type="ftr" sz="quarter" idx="11"/>
          </p:nvPr>
        </p:nvSpPr>
        <p:spPr/>
        <p:txBody>
          <a:bodyPr/>
          <a:lstStyle/>
          <a:p>
            <a:endParaRPr lang="en-US">
              <a:solidFill>
                <a:srgbClr val="000000">
                  <a:tint val="75000"/>
                </a:srgbClr>
              </a:solidFill>
            </a:endParaRPr>
          </a:p>
        </p:txBody>
      </p:sp>
      <p:sp>
        <p:nvSpPr>
          <p:cNvPr id="9" name="Slide Number Placeholder 8"/>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11" name="Text Placeholder 10"/>
          <p:cNvSpPr>
            <a:spLocks noGrp="1"/>
          </p:cNvSpPr>
          <p:nvPr>
            <p:ph type="body" sz="quarter" idx="13" hasCustomPrompt="1"/>
          </p:nvPr>
        </p:nvSpPr>
        <p:spPr>
          <a:xfrm>
            <a:off x="342900" y="5851603"/>
            <a:ext cx="7391400" cy="100584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
        <p:nvSpPr>
          <p:cNvPr id="4" name="Content Placeholder 3"/>
          <p:cNvSpPr>
            <a:spLocks noGrp="1"/>
          </p:cNvSpPr>
          <p:nvPr>
            <p:ph sz="half" idx="2"/>
          </p:nvPr>
        </p:nvSpPr>
        <p:spPr>
          <a:xfrm>
            <a:off x="342900" y="1693000"/>
            <a:ext cx="4229100" cy="413630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572000" y="1693000"/>
            <a:ext cx="4229100" cy="4136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594521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3"/>
            <a:ext cx="8458200" cy="800100"/>
          </a:xfrm>
        </p:spPr>
        <p:txBody>
          <a:bodyPr anchor="b">
            <a:normAutofit/>
          </a:bodyPr>
          <a:lstStyle>
            <a:lvl1pPr>
              <a:defRPr sz="1800"/>
            </a:lvl1pPr>
          </a:lstStyle>
          <a:p>
            <a:r>
              <a:rPr lang="en-US"/>
              <a:t>Click to edit Master title style</a:t>
            </a:r>
            <a:endParaRPr lang="en-US" dirty="0"/>
          </a:p>
        </p:txBody>
      </p:sp>
      <p:sp>
        <p:nvSpPr>
          <p:cNvPr id="4" name="Text Placeholder 3"/>
          <p:cNvSpPr>
            <a:spLocks noGrp="1"/>
          </p:cNvSpPr>
          <p:nvPr>
            <p:ph type="body" sz="half" idx="2" hasCustomPrompt="1"/>
          </p:nvPr>
        </p:nvSpPr>
        <p:spPr>
          <a:xfrm>
            <a:off x="877824" y="5440680"/>
            <a:ext cx="7406640" cy="365760"/>
          </a:xfrm>
          <a:prstGeom prst="roundRect">
            <a:avLst/>
          </a:prstGeom>
          <a:solidFill>
            <a:schemeClr val="accent2"/>
          </a:solidFill>
        </p:spPr>
        <p:txBody>
          <a:bodyPr anchor="ctr"/>
          <a:lstStyle>
            <a:lvl1pPr marL="0" indent="0" algn="ctr">
              <a:buNone/>
              <a:defRPr sz="12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nter caption</a:t>
            </a:r>
          </a:p>
        </p:txBody>
      </p:sp>
      <p:sp>
        <p:nvSpPr>
          <p:cNvPr id="5" name="Date Placeholder 4"/>
          <p:cNvSpPr>
            <a:spLocks noGrp="1"/>
          </p:cNvSpPr>
          <p:nvPr>
            <p:ph type="dt" sz="half" idx="10"/>
          </p:nvPr>
        </p:nvSpPr>
        <p:spPr/>
        <p:txBody>
          <a:bodyPr/>
          <a:lstStyle/>
          <a:p>
            <a:fld id="{6B211413-3E90-4812-9D8A-2B3DC88FF737}" type="datetime1">
              <a:rPr lang="en-US" smtClean="0">
                <a:solidFill>
                  <a:srgbClr val="000000">
                    <a:tint val="75000"/>
                  </a:srgbClr>
                </a:solidFill>
              </a:rPr>
              <a:pPr/>
              <a:t>1/29/2019</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9" name="Text Placeholder 8"/>
          <p:cNvSpPr>
            <a:spLocks noGrp="1"/>
          </p:cNvSpPr>
          <p:nvPr>
            <p:ph type="body" sz="quarter" idx="13" hasCustomPrompt="1"/>
          </p:nvPr>
        </p:nvSpPr>
        <p:spPr>
          <a:xfrm>
            <a:off x="342900" y="5851603"/>
            <a:ext cx="7391400" cy="100584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
        <p:nvSpPr>
          <p:cNvPr id="3" name="Content Placeholder 2"/>
          <p:cNvSpPr>
            <a:spLocks noGrp="1"/>
          </p:cNvSpPr>
          <p:nvPr>
            <p:ph idx="1"/>
          </p:nvPr>
        </p:nvSpPr>
        <p:spPr>
          <a:xfrm>
            <a:off x="342900" y="1260477"/>
            <a:ext cx="8458200" cy="4185227"/>
          </a:xfrm>
        </p:spPr>
        <p:txBody>
          <a:bodyPr/>
          <a:lstStyle>
            <a:lvl1pPr>
              <a:defRPr sz="1500"/>
            </a:lvl1pPr>
            <a:lvl2pPr>
              <a:defRPr sz="1350"/>
            </a:lvl2pPr>
            <a:lvl3pPr>
              <a:defRPr sz="1200"/>
            </a:lvl3pPr>
            <a:lvl4pPr>
              <a:defRPr sz="1200"/>
            </a:lvl4pPr>
            <a:lvl5pPr>
              <a:defRPr sz="12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247295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D250742-5391-42C4-8CCF-290C6C0DE40D}" type="datetime1">
              <a:rPr lang="en-US" smtClean="0">
                <a:solidFill>
                  <a:srgbClr val="000000">
                    <a:tint val="75000"/>
                  </a:srgbClr>
                </a:solidFill>
              </a:rPr>
              <a:pPr/>
              <a:t>1/29/2019</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4" hasCustomPrompt="1"/>
          </p:nvPr>
        </p:nvSpPr>
        <p:spPr>
          <a:xfrm>
            <a:off x="877824" y="5440699"/>
            <a:ext cx="7406640" cy="361951"/>
          </a:xfrm>
          <a:prstGeom prst="roundRect">
            <a:avLst/>
          </a:prstGeom>
          <a:solidFill>
            <a:schemeClr val="accent2"/>
          </a:solidFill>
        </p:spPr>
        <p:txBody>
          <a:bodyPr>
            <a:normAutofit/>
          </a:bodyPr>
          <a:lstStyle>
            <a:lvl1pPr marL="0" indent="0" algn="ctr">
              <a:buNone/>
              <a:defRPr sz="1200" b="1">
                <a:solidFill>
                  <a:schemeClr val="bg1"/>
                </a:solidFill>
              </a:defRPr>
            </a:lvl1pPr>
            <a:lvl2pPr marL="171450" indent="0">
              <a:buNone/>
              <a:defRPr/>
            </a:lvl2pPr>
            <a:lvl3pPr marL="342900" indent="0">
              <a:buNone/>
              <a:defRPr/>
            </a:lvl3pPr>
            <a:lvl4pPr marL="514350" indent="0">
              <a:buNone/>
              <a:defRPr/>
            </a:lvl4pPr>
            <a:lvl5pPr marL="685800" indent="0">
              <a:buNone/>
              <a:defRPr/>
            </a:lvl5pPr>
          </a:lstStyle>
          <a:p>
            <a:pPr lvl="0"/>
            <a:r>
              <a:rPr lang="en-US" dirty="0"/>
              <a:t>Click to enter caption</a:t>
            </a: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Tree>
    <p:extLst>
      <p:ext uri="{BB962C8B-B14F-4D97-AF65-F5344CB8AC3E}">
        <p14:creationId xmlns:p14="http://schemas.microsoft.com/office/powerpoint/2010/main" val="24994467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27"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4 title</a:t>
            </a:r>
          </a:p>
        </p:txBody>
      </p:sp>
      <p:sp>
        <p:nvSpPr>
          <p:cNvPr id="22" name="Table Placeholder 29"/>
          <p:cNvSpPr>
            <a:spLocks noGrp="1"/>
          </p:cNvSpPr>
          <p:nvPr>
            <p:ph type="tbl" sz="quarter" idx="15"/>
          </p:nvPr>
        </p:nvSpPr>
        <p:spPr>
          <a:xfrm>
            <a:off x="987429" y="1731133"/>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3" name="Text Placeholder 2"/>
          <p:cNvSpPr>
            <a:spLocks noGrp="1"/>
          </p:cNvSpPr>
          <p:nvPr>
            <p:ph type="body" sz="quarter" idx="14"/>
          </p:nvPr>
        </p:nvSpPr>
        <p:spPr>
          <a:xfrm>
            <a:off x="1046700" y="1879896"/>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731600"/>
            <a:ext cx="54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1</a:t>
            </a:r>
          </a:p>
        </p:txBody>
      </p:sp>
      <p:sp>
        <p:nvSpPr>
          <p:cNvPr id="28" name="Table Placeholder 29"/>
          <p:cNvSpPr>
            <a:spLocks noGrp="1"/>
          </p:cNvSpPr>
          <p:nvPr>
            <p:ph type="tbl" sz="quarter" idx="27"/>
          </p:nvPr>
        </p:nvSpPr>
        <p:spPr>
          <a:xfrm>
            <a:off x="987429" y="240348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9" name="Text Placeholder 2"/>
          <p:cNvSpPr>
            <a:spLocks noGrp="1"/>
          </p:cNvSpPr>
          <p:nvPr>
            <p:ph type="body" sz="quarter" idx="28"/>
          </p:nvPr>
        </p:nvSpPr>
        <p:spPr>
          <a:xfrm>
            <a:off x="1046700" y="2552256"/>
            <a:ext cx="5718173"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1" name="Text Placeholder 49"/>
          <p:cNvSpPr>
            <a:spLocks noGrp="1"/>
          </p:cNvSpPr>
          <p:nvPr>
            <p:ph type="body" sz="quarter" idx="29" hasCustomPrompt="1"/>
          </p:nvPr>
        </p:nvSpPr>
        <p:spPr>
          <a:xfrm>
            <a:off x="330200" y="2403956"/>
            <a:ext cx="540000" cy="540000"/>
          </a:xfrm>
          <a:prstGeom prst="rect">
            <a:avLst/>
          </a:prstGeom>
          <a:solidFill>
            <a:srgbClr val="83005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2" name="Table Placeholder 29"/>
          <p:cNvSpPr>
            <a:spLocks noGrp="1"/>
          </p:cNvSpPr>
          <p:nvPr>
            <p:ph type="tbl" sz="quarter" idx="30"/>
          </p:nvPr>
        </p:nvSpPr>
        <p:spPr>
          <a:xfrm>
            <a:off x="987429" y="3082231"/>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3" name="Text Placeholder 2"/>
          <p:cNvSpPr>
            <a:spLocks noGrp="1"/>
          </p:cNvSpPr>
          <p:nvPr>
            <p:ph type="body" sz="quarter" idx="31"/>
          </p:nvPr>
        </p:nvSpPr>
        <p:spPr>
          <a:xfrm>
            <a:off x="1046700" y="3230997"/>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4" name="Text Placeholder 49"/>
          <p:cNvSpPr>
            <a:spLocks noGrp="1"/>
          </p:cNvSpPr>
          <p:nvPr>
            <p:ph type="body" sz="quarter" idx="32" hasCustomPrompt="1"/>
          </p:nvPr>
        </p:nvSpPr>
        <p:spPr>
          <a:xfrm>
            <a:off x="330200" y="3082699"/>
            <a:ext cx="54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5" name="Table Placeholder 29"/>
          <p:cNvSpPr>
            <a:spLocks noGrp="1"/>
          </p:cNvSpPr>
          <p:nvPr>
            <p:ph type="tbl" sz="quarter" idx="33"/>
          </p:nvPr>
        </p:nvSpPr>
        <p:spPr>
          <a:xfrm>
            <a:off x="987429" y="3763175"/>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6" name="Text Placeholder 2"/>
          <p:cNvSpPr>
            <a:spLocks noGrp="1"/>
          </p:cNvSpPr>
          <p:nvPr>
            <p:ph type="body" sz="quarter" idx="34"/>
          </p:nvPr>
        </p:nvSpPr>
        <p:spPr>
          <a:xfrm>
            <a:off x="1046700" y="3911936"/>
            <a:ext cx="5718173" cy="394199"/>
          </a:xfrm>
          <a:prstGeom prst="rect">
            <a:avLst/>
          </a:prstGeom>
        </p:spPr>
        <p:txBody>
          <a:bodyPr vert="horz"/>
          <a:lstStyle>
            <a:lvl1pPr marL="0" indent="0">
              <a:lnSpc>
                <a:spcPct val="60000"/>
              </a:lnSpc>
              <a:buNone/>
              <a:defRPr sz="20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7" name="Text Placeholder 49"/>
          <p:cNvSpPr>
            <a:spLocks noGrp="1"/>
          </p:cNvSpPr>
          <p:nvPr>
            <p:ph type="body" sz="quarter" idx="35" hasCustomPrompt="1"/>
          </p:nvPr>
        </p:nvSpPr>
        <p:spPr>
          <a:xfrm>
            <a:off x="330200" y="3763643"/>
            <a:ext cx="540000" cy="540000"/>
          </a:xfrm>
          <a:prstGeom prst="rect">
            <a:avLst/>
          </a:prstGeom>
          <a:solidFill>
            <a:srgbClr val="D8DCDE"/>
          </a:solidFill>
          <a:ln w="19050" cmpd="sng">
            <a:noFill/>
          </a:ln>
        </p:spPr>
        <p:txBody>
          <a:bodyPr vert="horz" anchor="ctr"/>
          <a:lstStyle>
            <a:lvl1pPr marL="0" indent="0" algn="ctr">
              <a:lnSpc>
                <a:spcPts val="2800"/>
              </a:lnSpc>
              <a:spcBef>
                <a:spcPts val="0"/>
              </a:spcBef>
              <a:buNone/>
              <a:defRPr sz="2400" b="1">
                <a:solidFill>
                  <a:srgbClr val="830051"/>
                </a:solidFill>
                <a:latin typeface="Arial" pitchFamily="34" charset="0"/>
                <a:cs typeface="Arial" pitchFamily="34" charset="0"/>
              </a:defRPr>
            </a:lvl1pPr>
          </a:lstStyle>
          <a:p>
            <a:pPr lvl="0"/>
            <a:r>
              <a:rPr lang="en-GB" noProof="0" dirty="0"/>
              <a:t>4</a:t>
            </a:r>
          </a:p>
        </p:txBody>
      </p:sp>
      <p:sp>
        <p:nvSpPr>
          <p:cNvPr id="38" name="Table Placeholder 29"/>
          <p:cNvSpPr>
            <a:spLocks noGrp="1"/>
          </p:cNvSpPr>
          <p:nvPr>
            <p:ph type="tbl" sz="quarter" idx="36"/>
          </p:nvPr>
        </p:nvSpPr>
        <p:spPr>
          <a:xfrm>
            <a:off x="987429" y="444087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9" name="Text Placeholder 2"/>
          <p:cNvSpPr>
            <a:spLocks noGrp="1"/>
          </p:cNvSpPr>
          <p:nvPr>
            <p:ph type="body" sz="quarter" idx="37"/>
          </p:nvPr>
        </p:nvSpPr>
        <p:spPr>
          <a:xfrm>
            <a:off x="1046700" y="4589644"/>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0" name="Text Placeholder 49"/>
          <p:cNvSpPr>
            <a:spLocks noGrp="1"/>
          </p:cNvSpPr>
          <p:nvPr>
            <p:ph type="body" sz="quarter" idx="38" hasCustomPrompt="1"/>
          </p:nvPr>
        </p:nvSpPr>
        <p:spPr>
          <a:xfrm>
            <a:off x="330200" y="4441345"/>
            <a:ext cx="54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1" name="Table Placeholder 29"/>
          <p:cNvSpPr>
            <a:spLocks noGrp="1"/>
          </p:cNvSpPr>
          <p:nvPr>
            <p:ph type="tbl" sz="quarter" idx="39"/>
          </p:nvPr>
        </p:nvSpPr>
        <p:spPr>
          <a:xfrm>
            <a:off x="987429" y="5129167"/>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2" name="Text Placeholder 2"/>
          <p:cNvSpPr>
            <a:spLocks noGrp="1"/>
          </p:cNvSpPr>
          <p:nvPr>
            <p:ph type="body" sz="quarter" idx="40"/>
          </p:nvPr>
        </p:nvSpPr>
        <p:spPr>
          <a:xfrm>
            <a:off x="1046700" y="5277933"/>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3" name="Text Placeholder 49"/>
          <p:cNvSpPr>
            <a:spLocks noGrp="1"/>
          </p:cNvSpPr>
          <p:nvPr>
            <p:ph type="body" sz="quarter" idx="41" hasCustomPrompt="1"/>
          </p:nvPr>
        </p:nvSpPr>
        <p:spPr>
          <a:xfrm>
            <a:off x="330200" y="5129635"/>
            <a:ext cx="54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6"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2956344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 No Line">
    <p:spTree>
      <p:nvGrpSpPr>
        <p:cNvPr id="1" name=""/>
        <p:cNvGrpSpPr/>
        <p:nvPr/>
      </p:nvGrpSpPr>
      <p:grpSpPr>
        <a:xfrm>
          <a:off x="0" y="0"/>
          <a:ext cx="0" cy="0"/>
          <a:chOff x="0" y="0"/>
          <a:chExt cx="0" cy="0"/>
        </a:xfrm>
      </p:grpSpPr>
      <p:sp>
        <p:nvSpPr>
          <p:cNvPr id="10" name="Rectangle 9"/>
          <p:cNvSpPr/>
          <p:nvPr userDrawn="1"/>
        </p:nvSpPr>
        <p:spPr>
          <a:xfrm>
            <a:off x="145130"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a:solidFill>
                <a:srgbClr val="FFFFFF"/>
              </a:solidFill>
            </a:endParaRPr>
          </a:p>
        </p:txBody>
      </p:sp>
      <p:sp>
        <p:nvSpPr>
          <p:cNvPr id="4" name="Date Placeholder 3"/>
          <p:cNvSpPr>
            <a:spLocks noGrp="1"/>
          </p:cNvSpPr>
          <p:nvPr>
            <p:ph type="dt" sz="half" idx="10"/>
          </p:nvPr>
        </p:nvSpPr>
        <p:spPr/>
        <p:txBody>
          <a:bodyPr/>
          <a:lstStyle/>
          <a:p>
            <a:fld id="{F2D851DD-DD90-49DD-A1F0-CBECE2FA5822}" type="datetime1">
              <a:rPr lang="en-US" smtClean="0">
                <a:solidFill>
                  <a:srgbClr val="000000">
                    <a:tint val="75000"/>
                  </a:srgbClr>
                </a:solidFill>
              </a:rPr>
              <a:pPr/>
              <a:t>1/29/2019</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hasCustomPrompt="1"/>
          </p:nvPr>
        </p:nvSpPr>
        <p:spPr>
          <a:xfrm>
            <a:off x="342900" y="5851603"/>
            <a:ext cx="7391400" cy="1005840"/>
          </a:xfrm>
        </p:spPr>
        <p:txBody>
          <a:bodyPr anchor="b">
            <a:normAutofit/>
          </a:bodyPr>
          <a:lstStyle>
            <a:lvl1pPr marL="0" indent="0">
              <a:spcBef>
                <a:spcPts val="225"/>
              </a:spcBef>
              <a:buNone/>
              <a:defRPr sz="750"/>
            </a:lvl1pPr>
            <a:lvl2pPr marL="171450" indent="0">
              <a:buNone/>
              <a:defRPr/>
            </a:lvl2pPr>
            <a:lvl3pPr marL="342900" indent="0">
              <a:buNone/>
              <a:defRPr/>
            </a:lvl3pPr>
            <a:lvl4pPr marL="514350" indent="0">
              <a:buNone/>
              <a:defRPr/>
            </a:lvl4pPr>
            <a:lvl5pPr marL="685800" indent="0">
              <a:buNone/>
              <a:defRPr/>
            </a:lvl5pPr>
          </a:lstStyle>
          <a:p>
            <a:pPr lvl="0"/>
            <a:r>
              <a:rPr lang="en-US" dirty="0"/>
              <a:t>Reference(s)</a:t>
            </a:r>
          </a:p>
        </p:txBody>
      </p:sp>
      <p:sp>
        <p:nvSpPr>
          <p:cNvPr id="3" name="Content Placeholder 2"/>
          <p:cNvSpPr>
            <a:spLocks noGrp="1"/>
          </p:cNvSpPr>
          <p:nvPr>
            <p:ph idx="1"/>
          </p:nvPr>
        </p:nvSpPr>
        <p:spPr>
          <a:xfrm>
            <a:off x="342900" y="1028703"/>
            <a:ext cx="8458200" cy="48051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28272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9" name="Rectangle 8"/>
          <p:cNvSpPr/>
          <p:nvPr userDrawn="1"/>
        </p:nvSpPr>
        <p:spPr>
          <a:xfrm>
            <a:off x="7464404" y="6521496"/>
            <a:ext cx="1607475" cy="332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a:solidFill>
                <a:srgbClr val="FFFFFF"/>
              </a:solidFill>
            </a:endParaRPr>
          </a:p>
        </p:txBody>
      </p:sp>
      <p:sp>
        <p:nvSpPr>
          <p:cNvPr id="10" name="Rectangle 9"/>
          <p:cNvSpPr/>
          <p:nvPr userDrawn="1"/>
        </p:nvSpPr>
        <p:spPr>
          <a:xfrm>
            <a:off x="145130"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a:solidFill>
                <a:srgbClr val="FFFFFF"/>
              </a:solidFill>
            </a:endParaRPr>
          </a:p>
        </p:txBody>
      </p:sp>
      <p:sp>
        <p:nvSpPr>
          <p:cNvPr id="4" name="Date Placeholder 3"/>
          <p:cNvSpPr>
            <a:spLocks noGrp="1"/>
          </p:cNvSpPr>
          <p:nvPr>
            <p:ph type="dt" sz="half" idx="10"/>
          </p:nvPr>
        </p:nvSpPr>
        <p:spPr/>
        <p:txBody>
          <a:bodyPr/>
          <a:lstStyle/>
          <a:p>
            <a:fld id="{6BE0FAF7-061E-489C-964A-D03D0218C2FC}" type="datetime1">
              <a:rPr lang="en-US" smtClean="0">
                <a:solidFill>
                  <a:srgbClr val="000000">
                    <a:tint val="75000"/>
                  </a:srgbClr>
                </a:solidFill>
              </a:rPr>
              <a:pPr/>
              <a:t>1/29/2019</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3" name="Content Placeholder 2"/>
          <p:cNvSpPr>
            <a:spLocks noGrp="1"/>
          </p:cNvSpPr>
          <p:nvPr>
            <p:ph idx="1"/>
          </p:nvPr>
        </p:nvSpPr>
        <p:spPr>
          <a:xfrm>
            <a:off x="342900" y="1028703"/>
            <a:ext cx="8458200" cy="48051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085500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 No Line">
    <p:spTree>
      <p:nvGrpSpPr>
        <p:cNvPr id="1" name=""/>
        <p:cNvGrpSpPr/>
        <p:nvPr/>
      </p:nvGrpSpPr>
      <p:grpSpPr>
        <a:xfrm>
          <a:off x="0" y="0"/>
          <a:ext cx="0" cy="0"/>
          <a:chOff x="0" y="0"/>
          <a:chExt cx="0" cy="0"/>
        </a:xfrm>
      </p:grpSpPr>
      <p:sp>
        <p:nvSpPr>
          <p:cNvPr id="9" name="Rectangle 8"/>
          <p:cNvSpPr/>
          <p:nvPr userDrawn="1"/>
        </p:nvSpPr>
        <p:spPr>
          <a:xfrm>
            <a:off x="145130"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a:solidFill>
                <a:srgbClr val="FFFFFF"/>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84C2833-925A-427C-914C-48D32FC3A2DA}" type="datetime1">
              <a:rPr lang="en-US" smtClean="0">
                <a:solidFill>
                  <a:srgbClr val="000000">
                    <a:tint val="75000"/>
                  </a:srgbClr>
                </a:solidFill>
              </a:rPr>
              <a:pPr/>
              <a:t>1/29/2019</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Tree>
    <p:extLst>
      <p:ext uri="{BB962C8B-B14F-4D97-AF65-F5344CB8AC3E}">
        <p14:creationId xmlns:p14="http://schemas.microsoft.com/office/powerpoint/2010/main" val="77651780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Rectangle 7"/>
          <p:cNvSpPr/>
          <p:nvPr userDrawn="1"/>
        </p:nvSpPr>
        <p:spPr>
          <a:xfrm>
            <a:off x="145130"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a:solidFill>
                <a:srgbClr val="FFFFFF"/>
              </a:solidFill>
            </a:endParaRPr>
          </a:p>
        </p:txBody>
      </p:sp>
      <p:sp>
        <p:nvSpPr>
          <p:cNvPr id="2" name="Date Placeholder 1"/>
          <p:cNvSpPr>
            <a:spLocks noGrp="1"/>
          </p:cNvSpPr>
          <p:nvPr>
            <p:ph type="dt" sz="half" idx="10"/>
          </p:nvPr>
        </p:nvSpPr>
        <p:spPr/>
        <p:txBody>
          <a:bodyPr/>
          <a:lstStyle/>
          <a:p>
            <a:fld id="{D7A6E23B-978F-466F-8BEB-883E69D108E0}" type="datetime1">
              <a:rPr lang="en-US" smtClean="0">
                <a:solidFill>
                  <a:srgbClr val="000000">
                    <a:tint val="75000"/>
                  </a:srgbClr>
                </a:solidFill>
              </a:rPr>
              <a:pPr/>
              <a:t>1/29/2019</a:t>
            </a:fld>
            <a:endParaRPr lang="en-US">
              <a:solidFill>
                <a:srgbClr val="000000">
                  <a:tint val="75000"/>
                </a:srgbClr>
              </a:solidFill>
            </a:endParaRPr>
          </a:p>
        </p:txBody>
      </p:sp>
      <p:sp>
        <p:nvSpPr>
          <p:cNvPr id="3" name="Footer Placeholder 2"/>
          <p:cNvSpPr>
            <a:spLocks noGrp="1"/>
          </p:cNvSpPr>
          <p:nvPr>
            <p:ph type="ftr" sz="quarter" idx="11"/>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Tree>
    <p:extLst>
      <p:ext uri="{BB962C8B-B14F-4D97-AF65-F5344CB8AC3E}">
        <p14:creationId xmlns:p14="http://schemas.microsoft.com/office/powerpoint/2010/main" val="57292244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13"/>
          <p:cNvPicPr>
            <a:picLocks noChangeAspect="1"/>
          </p:cNvPicPr>
          <p:nvPr userDrawn="1"/>
        </p:nvPicPr>
        <p:blipFill>
          <a:blip r:embed="rId2" cstate="email">
            <a:extLst>
              <a:ext uri="{28A0092B-C50C-407E-A947-70E740481C1C}">
                <a14:useLocalDpi xmlns:a14="http://schemas.microsoft.com/office/drawing/2010/main" val="0"/>
              </a:ext>
            </a:extLst>
          </a:blip>
          <a:srcRect b="14449"/>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userDrawn="1"/>
        </p:nvSpPr>
        <p:spPr>
          <a:xfrm>
            <a:off x="762831" y="6100763"/>
            <a:ext cx="157094" cy="153888"/>
          </a:xfrm>
          <a:prstGeom prst="rect">
            <a:avLst/>
          </a:prstGeom>
          <a:noFill/>
        </p:spPr>
        <p:txBody>
          <a:bodyPr wrap="non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fontAlgn="auto" hangingPunct="1">
              <a:spcBef>
                <a:spcPts val="0"/>
              </a:spcBef>
              <a:spcAft>
                <a:spcPts val="0"/>
              </a:spcAft>
              <a:defRPr/>
            </a:pPr>
            <a:fld id="{8E42A58A-622E-48F1-93AB-DB2D71A92841}" type="slidenum">
              <a:rPr lang="en-US" sz="1000" b="0">
                <a:solidFill>
                  <a:prstClr val="white"/>
                </a:solidFill>
                <a:cs typeface="Arial" pitchFamily="34" charset="0"/>
              </a:rPr>
              <a:pPr algn="ctr" eaLnBrk="1" fontAlgn="auto" hangingPunct="1">
                <a:spcBef>
                  <a:spcPts val="0"/>
                </a:spcBef>
                <a:spcAft>
                  <a:spcPts val="0"/>
                </a:spcAft>
                <a:defRPr/>
              </a:pPr>
              <a:t>‹#›</a:t>
            </a:fld>
            <a:endParaRPr lang="en-US" sz="1000" b="0">
              <a:solidFill>
                <a:prstClr val="white"/>
              </a:solidFill>
              <a:cs typeface="Arial" pitchFamily="34" charset="0"/>
            </a:endParaRPr>
          </a:p>
        </p:txBody>
      </p:sp>
      <p:pic>
        <p:nvPicPr>
          <p:cNvPr id="8" name="Picture 2" descr="Z:\Clients\AZ-BMS\2014\5. Forxiga-Xigduo\3. Global projects\1. 360\786205172_Forxiga 2014 Speaker Training\4. Templates\Logo_19Aug14.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07975" y="244475"/>
            <a:ext cx="3995738" cy="231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4" descr="C:\Users\inam\Desktop\SF\AZ_DIAB_RGB_H_COL_LG.pn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7704138" y="6210315"/>
            <a:ext cx="1439862" cy="666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6" name="Rectangle 4"/>
          <p:cNvSpPr>
            <a:spLocks noGrp="1" noChangeArrowheads="1"/>
          </p:cNvSpPr>
          <p:nvPr>
            <p:ph type="ctrTitle" sz="quarter"/>
          </p:nvPr>
        </p:nvSpPr>
        <p:spPr bwMode="auto">
          <a:xfrm>
            <a:off x="1236043" y="2708926"/>
            <a:ext cx="6719888" cy="1328637"/>
          </a:xfrm>
          <a:prstGeom prst="rect">
            <a:avLst/>
          </a:prstGeom>
          <a:noFill/>
          <a:extLst/>
        </p:spPr>
        <p:txBody>
          <a:bodyPr lIns="0" rIns="0" anchor="b">
            <a:normAutofit/>
          </a:bodyPr>
          <a:lstStyle>
            <a:lvl1pPr algn="ctr">
              <a:defRPr sz="3600" smtClean="0">
                <a:solidFill>
                  <a:schemeClr val="accent2"/>
                </a:solidFill>
                <a:latin typeface="Arial" pitchFamily="34" charset="0"/>
                <a:ea typeface="ＭＳ Ｐゴシック" pitchFamily="34" charset="-128"/>
                <a:cs typeface="Arial" pitchFamily="34" charset="0"/>
              </a:defRPr>
            </a:lvl1pPr>
          </a:lstStyle>
          <a:p>
            <a:pPr lvl="0"/>
            <a:r>
              <a:rPr lang="en-US" noProof="0"/>
              <a:t>Click to edit Master title style</a:t>
            </a:r>
            <a:endParaRPr lang="en-GB" noProof="0" dirty="0"/>
          </a:p>
        </p:txBody>
      </p:sp>
      <p:sp>
        <p:nvSpPr>
          <p:cNvPr id="23557" name="Rectangle 5"/>
          <p:cNvSpPr>
            <a:spLocks noGrp="1" noChangeArrowheads="1"/>
          </p:cNvSpPr>
          <p:nvPr>
            <p:ph type="subTitle" sz="quarter" idx="1"/>
          </p:nvPr>
        </p:nvSpPr>
        <p:spPr bwMode="auto">
          <a:xfrm>
            <a:off x="1236043" y="4210151"/>
            <a:ext cx="6719888" cy="1068387"/>
          </a:xfrm>
          <a:prstGeom prst="rect">
            <a:avLst/>
          </a:prstGeom>
          <a:noFill/>
          <a:extLst/>
        </p:spPr>
        <p:txBody>
          <a:bodyPr>
            <a:normAutofit/>
          </a:bodyPr>
          <a:lstStyle>
            <a:lvl1pPr marL="0" indent="0" algn="ctr">
              <a:buFont typeface="Arial" pitchFamily="34" charset="0"/>
              <a:buNone/>
              <a:defRPr sz="2500" smtClean="0">
                <a:solidFill>
                  <a:schemeClr val="accent1"/>
                </a:solidFill>
                <a:latin typeface="Arial" pitchFamily="34" charset="0"/>
                <a:ea typeface="ＭＳ Ｐゴシック" pitchFamily="34" charset="-128"/>
                <a:cs typeface="Arial" pitchFamily="34" charset="0"/>
              </a:defRPr>
            </a:lvl1pPr>
          </a:lstStyle>
          <a:p>
            <a:pPr lvl="0"/>
            <a:r>
              <a:rPr lang="en-US" noProof="0"/>
              <a:t>Click to edit Master subtitle style</a:t>
            </a:r>
            <a:endParaRPr lang="en-GB" noProof="0" dirty="0"/>
          </a:p>
        </p:txBody>
      </p:sp>
      <p:sp>
        <p:nvSpPr>
          <p:cNvPr id="5" name="Text Placeholder 5"/>
          <p:cNvSpPr>
            <a:spLocks noGrp="1"/>
          </p:cNvSpPr>
          <p:nvPr>
            <p:ph type="body" sz="quarter" idx="11"/>
          </p:nvPr>
        </p:nvSpPr>
        <p:spPr>
          <a:xfrm>
            <a:off x="1407256" y="5335367"/>
            <a:ext cx="6549122" cy="469900"/>
          </a:xfrm>
          <a:prstGeom prst="rect">
            <a:avLst/>
          </a:prstGeom>
        </p:spPr>
        <p:txBody>
          <a:bodyPr lIns="360000" tIns="0" bIns="0" anchor="b"/>
          <a:lstStyle>
            <a:lvl1pPr marL="0" indent="0" algn="ctr">
              <a:spcBef>
                <a:spcPts val="0"/>
              </a:spcBef>
              <a:buNone/>
              <a:defRPr lang="en-GB" sz="1200" kern="1200" baseline="0" dirty="0" smtClean="0">
                <a:solidFill>
                  <a:srgbClr val="58595B"/>
                </a:solidFill>
                <a:latin typeface="Avenir LT Std 55 Roman"/>
                <a:ea typeface="ＭＳ Ｐゴシック" charset="-128"/>
                <a:cs typeface="+mn-cs"/>
              </a:defRPr>
            </a:lvl1pPr>
            <a:lvl2pPr algn="r">
              <a:defRPr lang="en-GB" sz="1400" kern="1200" dirty="0" smtClean="0">
                <a:solidFill>
                  <a:srgbClr val="58595B"/>
                </a:solidFill>
                <a:latin typeface="Avenir LT Std 55 Roman"/>
                <a:ea typeface="ＭＳ Ｐゴシック" charset="-128"/>
                <a:cs typeface="+mn-cs"/>
              </a:defRPr>
            </a:lvl2pPr>
          </a:lstStyle>
          <a:p>
            <a:pPr lvl="0"/>
            <a:r>
              <a:rPr lang="en-US"/>
              <a:t>Click to edit Master text styles</a:t>
            </a:r>
          </a:p>
        </p:txBody>
      </p:sp>
      <p:sp>
        <p:nvSpPr>
          <p:cNvPr id="10" name="Slide Number Placeholder 5"/>
          <p:cNvSpPr>
            <a:spLocks noGrp="1"/>
          </p:cNvSpPr>
          <p:nvPr>
            <p:ph type="sldNum" sz="quarter" idx="12"/>
          </p:nvPr>
        </p:nvSpPr>
        <p:spPr>
          <a:xfrm>
            <a:off x="4386275" y="6562734"/>
            <a:ext cx="371475"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defRPr>
            </a:lvl1pPr>
          </a:lstStyle>
          <a:p>
            <a:pPr defTabSz="912813">
              <a:defRPr/>
            </a:pPr>
            <a:fld id="{84274FB0-C3B0-411D-B8AB-FD26B4F8F074}" type="slidenum">
              <a:rPr lang="en-GB" b="0">
                <a:latin typeface="Arial" pitchFamily="34" charset="0"/>
                <a:ea typeface="ＭＳ Ｐゴシック" pitchFamily="34" charset="-128"/>
              </a:rPr>
              <a:pPr defTabSz="912813">
                <a:defRPr/>
              </a:pPr>
              <a:t>‹#›</a:t>
            </a:fld>
            <a:endParaRPr lang="en-GB" b="0">
              <a:latin typeface="Arial" pitchFamily="34" charset="0"/>
              <a:ea typeface="ＭＳ Ｐゴシック" pitchFamily="34" charset="-128"/>
            </a:endParaRPr>
          </a:p>
        </p:txBody>
      </p:sp>
    </p:spTree>
    <p:extLst>
      <p:ext uri="{BB962C8B-B14F-4D97-AF65-F5344CB8AC3E}">
        <p14:creationId xmlns:p14="http://schemas.microsoft.com/office/powerpoint/2010/main" val="2341110889"/>
      </p:ext>
    </p:extLst>
  </p:cSld>
  <p:clrMapOvr>
    <a:masterClrMapping/>
  </p:clrMapOvr>
  <p:transition spd="slow"/>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4" name="Picture 13"/>
          <p:cNvPicPr>
            <a:picLocks noChangeAspect="1"/>
          </p:cNvPicPr>
          <p:nvPr userDrawn="1"/>
        </p:nvPicPr>
        <p:blipFill>
          <a:blip r:embed="rId2" cstate="email">
            <a:extLst>
              <a:ext uri="{28A0092B-C50C-407E-A947-70E740481C1C}">
                <a14:useLocalDpi xmlns:a14="http://schemas.microsoft.com/office/drawing/2010/main" val="0"/>
              </a:ext>
            </a:extLst>
          </a:blip>
          <a:srcRect b="1430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C:\Users\inam\Desktop\SF\AZ_DIAB_RGB_H_COL_LG.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704138" y="6210315"/>
            <a:ext cx="1439862" cy="666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Z:\Clients\AZ-BMS\2014\5. Forxiga-Xigduo\3. Global projects\1. 360\786205172_Forxiga 2014 Speaker Training\4. Templates\Logo_19Aug14.pn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30164" y="5578489"/>
            <a:ext cx="2098675" cy="121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827586" y="1599636"/>
            <a:ext cx="7512448" cy="2701925"/>
          </a:xfrm>
          <a:prstGeom prst="rect">
            <a:avLst/>
          </a:prstGeom>
        </p:spPr>
        <p:txBody>
          <a:bodyPr>
            <a:normAutofit/>
          </a:bodyPr>
          <a:lstStyle>
            <a:lvl1pPr algn="ctr">
              <a:defRPr sz="3600"/>
            </a:lvl1pPr>
          </a:lstStyle>
          <a:p>
            <a:r>
              <a:rPr lang="en-US"/>
              <a:t>Click to edit Master title style</a:t>
            </a:r>
            <a:endParaRPr lang="en-GB" dirty="0"/>
          </a:p>
        </p:txBody>
      </p:sp>
      <p:sp>
        <p:nvSpPr>
          <p:cNvPr id="7" name="Text Placeholder 6"/>
          <p:cNvSpPr>
            <a:spLocks noGrp="1"/>
          </p:cNvSpPr>
          <p:nvPr>
            <p:ph type="body" sz="quarter" idx="10"/>
          </p:nvPr>
        </p:nvSpPr>
        <p:spPr>
          <a:xfrm>
            <a:off x="827586" y="4414402"/>
            <a:ext cx="7512448" cy="819377"/>
          </a:xfrm>
        </p:spPr>
        <p:txBody>
          <a:bodyPr>
            <a:normAutofit/>
          </a:bodyPr>
          <a:lstStyle>
            <a:lvl1pPr marL="0" indent="0" algn="ctr">
              <a:buNone/>
              <a:defRPr sz="2500">
                <a:solidFill>
                  <a:schemeClr val="accent2"/>
                </a:solidFill>
              </a:defRPr>
            </a:lvl1pPr>
          </a:lstStyle>
          <a:p>
            <a:pPr lvl="0"/>
            <a:r>
              <a:rPr lang="en-US"/>
              <a:t>Click to edit Master text styles</a:t>
            </a:r>
          </a:p>
        </p:txBody>
      </p:sp>
      <p:sp>
        <p:nvSpPr>
          <p:cNvPr id="8" name="Slide Number Placeholder 5"/>
          <p:cNvSpPr>
            <a:spLocks noGrp="1"/>
          </p:cNvSpPr>
          <p:nvPr>
            <p:ph type="sldNum" sz="quarter" idx="11"/>
          </p:nvPr>
        </p:nvSpPr>
        <p:spPr>
          <a:xfrm>
            <a:off x="4386275" y="6562734"/>
            <a:ext cx="371475"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defRPr>
            </a:lvl1pPr>
          </a:lstStyle>
          <a:p>
            <a:pPr defTabSz="912813">
              <a:defRPr/>
            </a:pPr>
            <a:fld id="{1092B0F2-3FA6-47EB-A7AB-41EC4455EF90}" type="slidenum">
              <a:rPr lang="en-GB" b="0">
                <a:latin typeface="Arial" pitchFamily="34" charset="0"/>
                <a:ea typeface="ＭＳ Ｐゴシック" pitchFamily="34" charset="-128"/>
              </a:rPr>
              <a:pPr defTabSz="912813">
                <a:defRPr/>
              </a:pPr>
              <a:t>‹#›</a:t>
            </a:fld>
            <a:endParaRPr lang="en-GB" b="0">
              <a:latin typeface="Arial" pitchFamily="34" charset="0"/>
              <a:ea typeface="ＭＳ Ｐゴシック" pitchFamily="34" charset="-128"/>
            </a:endParaRPr>
          </a:p>
        </p:txBody>
      </p:sp>
    </p:spTree>
    <p:extLst>
      <p:ext uri="{BB962C8B-B14F-4D97-AF65-F5344CB8AC3E}">
        <p14:creationId xmlns:p14="http://schemas.microsoft.com/office/powerpoint/2010/main" val="33769667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cxnSp>
        <p:nvCxnSpPr>
          <p:cNvPr id="5" name="Straight Connector 4"/>
          <p:cNvCxnSpPr/>
          <p:nvPr userDrawn="1"/>
        </p:nvCxnSpPr>
        <p:spPr>
          <a:xfrm>
            <a:off x="509589"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515942" y="280992"/>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endParaRPr lang="en-US" dirty="0"/>
          </a:p>
        </p:txBody>
      </p:sp>
      <p:sp>
        <p:nvSpPr>
          <p:cNvPr id="3" name="Content Placeholder 2"/>
          <p:cNvSpPr>
            <a:spLocks noGrp="1"/>
          </p:cNvSpPr>
          <p:nvPr>
            <p:ph idx="1"/>
          </p:nvPr>
        </p:nvSpPr>
        <p:spPr>
          <a:xfrm>
            <a:off x="509036" y="1203325"/>
            <a:ext cx="8166652" cy="4601939"/>
          </a:xfrm>
          <a:prstGeom prst="rect">
            <a:avLst/>
          </a:prstGeom>
        </p:spPr>
        <p:txBody>
          <a:bodyPr>
            <a:normAutofit/>
          </a:bodyPr>
          <a:lstStyle>
            <a:lvl1pPr>
              <a:lnSpc>
                <a:spcPct val="100000"/>
              </a:lnSpc>
              <a:spcBef>
                <a:spcPts val="0"/>
              </a:spcBef>
              <a:spcAft>
                <a:spcPts val="600"/>
              </a:spcAft>
              <a:buClr>
                <a:schemeClr val="accent1"/>
              </a:buClr>
              <a:defRPr sz="1800">
                <a:solidFill>
                  <a:schemeClr val="tx1"/>
                </a:solidFill>
                <a:latin typeface="+mj-lt"/>
              </a:defRPr>
            </a:lvl1pPr>
            <a:lvl2pPr>
              <a:lnSpc>
                <a:spcPct val="100000"/>
              </a:lnSpc>
              <a:spcBef>
                <a:spcPts val="0"/>
              </a:spcBef>
              <a:spcAft>
                <a:spcPts val="600"/>
              </a:spcAft>
              <a:buClr>
                <a:schemeClr val="accent2"/>
              </a:buClr>
              <a:buFont typeface="Arial"/>
              <a:buChar char="•"/>
              <a:defRPr sz="1800">
                <a:solidFill>
                  <a:schemeClr val="tx1"/>
                </a:solidFill>
                <a:latin typeface="+mj-lt"/>
              </a:defRPr>
            </a:lvl2pPr>
            <a:lvl3pPr>
              <a:lnSpc>
                <a:spcPct val="100000"/>
              </a:lnSpc>
              <a:spcBef>
                <a:spcPts val="0"/>
              </a:spcBef>
              <a:spcAft>
                <a:spcPts val="600"/>
              </a:spcAft>
              <a:buClr>
                <a:schemeClr val="accent3"/>
              </a:buClr>
              <a:buFont typeface="Wingdings" charset="2"/>
              <a:buChar char="§"/>
              <a:defRPr sz="1800">
                <a:solidFill>
                  <a:schemeClr val="tx1"/>
                </a:solidFill>
                <a:latin typeface="+mj-lt"/>
              </a:defRPr>
            </a:lvl3pPr>
            <a:lvl4pPr>
              <a:lnSpc>
                <a:spcPct val="100000"/>
              </a:lnSpc>
              <a:spcBef>
                <a:spcPts val="0"/>
              </a:spcBef>
              <a:spcAft>
                <a:spcPts val="600"/>
              </a:spcAft>
              <a:buClr>
                <a:schemeClr val="accent1"/>
              </a:buClr>
              <a:buFont typeface="Wingdings" charset="2"/>
              <a:buChar char="§"/>
              <a:defRPr sz="1800">
                <a:solidFill>
                  <a:schemeClr val="tx1"/>
                </a:solidFill>
                <a:latin typeface="+mj-lt"/>
              </a:defRPr>
            </a:lvl4pPr>
            <a:lvl5pPr>
              <a:lnSpc>
                <a:spcPct val="100000"/>
              </a:lnSpc>
              <a:spcBef>
                <a:spcPts val="0"/>
              </a:spcBef>
              <a:spcAft>
                <a:spcPts val="600"/>
              </a:spcAft>
              <a:buClr>
                <a:schemeClr val="accent2"/>
              </a:buClr>
              <a:buFont typeface="Courier New"/>
              <a:buChar char="o"/>
              <a:defRPr sz="1800">
                <a:solidFill>
                  <a:schemeClr val="tx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0"/>
          </p:nvPr>
        </p:nvSpPr>
        <p:spPr>
          <a:xfrm>
            <a:off x="1043608" y="5876931"/>
            <a:ext cx="7632080" cy="504403"/>
          </a:xfrm>
        </p:spPr>
        <p:txBody>
          <a:bodyPr anchor="b">
            <a:normAutofit/>
          </a:bodyPr>
          <a:lstStyle>
            <a:lvl1pPr marL="0" indent="0">
              <a:buNone/>
              <a:defRPr sz="800"/>
            </a:lvl1pPr>
          </a:lstStyle>
          <a:p>
            <a:pPr lvl="0"/>
            <a:r>
              <a:rPr lang="en-US" dirty="0"/>
              <a:t>Click to edit Master text styles</a:t>
            </a:r>
            <a:endParaRPr lang="en-GB" dirty="0"/>
          </a:p>
        </p:txBody>
      </p:sp>
      <p:sp>
        <p:nvSpPr>
          <p:cNvPr id="6" name="Slide Number Placeholder 5"/>
          <p:cNvSpPr>
            <a:spLocks noGrp="1"/>
          </p:cNvSpPr>
          <p:nvPr>
            <p:ph type="sldNum" sz="quarter" idx="11"/>
          </p:nvPr>
        </p:nvSpPr>
        <p:spPr>
          <a:xfrm>
            <a:off x="4386275" y="6562734"/>
            <a:ext cx="371475"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defRPr>
            </a:lvl1pPr>
          </a:lstStyle>
          <a:p>
            <a:pPr defTabSz="912813">
              <a:defRPr/>
            </a:pPr>
            <a:fld id="{9566DB53-56F9-47F3-9478-3CEC8D9D36DC}" type="slidenum">
              <a:rPr lang="en-GB" b="0">
                <a:latin typeface="Arial" pitchFamily="34" charset="0"/>
                <a:ea typeface="ＭＳ Ｐゴシック" pitchFamily="34" charset="-128"/>
              </a:rPr>
              <a:pPr defTabSz="912813">
                <a:defRPr/>
              </a:pPr>
              <a:t>‹#›</a:t>
            </a:fld>
            <a:endParaRPr lang="en-GB" b="0">
              <a:latin typeface="Arial" pitchFamily="34" charset="0"/>
              <a:ea typeface="ＭＳ Ｐゴシック" pitchFamily="34" charset="-128"/>
            </a:endParaRPr>
          </a:p>
        </p:txBody>
      </p:sp>
    </p:spTree>
    <p:extLst>
      <p:ext uri="{BB962C8B-B14F-4D97-AF65-F5344CB8AC3E}">
        <p14:creationId xmlns:p14="http://schemas.microsoft.com/office/powerpoint/2010/main" val="99235358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4" name="TextBox 13"/>
          <p:cNvSpPr txBox="1">
            <a:spLocks noChangeArrowheads="1"/>
          </p:cNvSpPr>
          <p:nvPr userDrawn="1"/>
        </p:nvSpPr>
        <p:spPr bwMode="auto">
          <a:xfrm>
            <a:off x="666528" y="6072203"/>
            <a:ext cx="341760" cy="246221"/>
          </a:xfrm>
          <a:prstGeom prst="rect">
            <a:avLst/>
          </a:prstGeom>
          <a:noFill/>
          <a:ln>
            <a:noFill/>
          </a:ln>
          <a:extLst/>
        </p:spPr>
        <p:txBody>
          <a:bodyPr wrap="none">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algn="ctr">
              <a:buFont typeface="Arial" pitchFamily="34" charset="0"/>
              <a:buNone/>
              <a:defRPr/>
            </a:pPr>
            <a:fld id="{57073D09-DFE3-409A-9791-4946B45DC412}" type="slidenum">
              <a:rPr lang="en-GB" sz="1000" b="0" smtClean="0">
                <a:solidFill>
                  <a:srgbClr val="FFFFFF"/>
                </a:solidFill>
              </a:rPr>
              <a:pPr algn="ctr">
                <a:buFont typeface="Arial" pitchFamily="34" charset="0"/>
                <a:buNone/>
                <a:defRPr/>
              </a:pPr>
              <a:t>‹#›</a:t>
            </a:fld>
            <a:endParaRPr lang="en-GB" sz="1000" b="0">
              <a:solidFill>
                <a:srgbClr val="FFFFFF"/>
              </a:solidFill>
            </a:endParaRPr>
          </a:p>
        </p:txBody>
      </p:sp>
      <p:cxnSp>
        <p:nvCxnSpPr>
          <p:cNvPr id="5" name="Straight Connector 4"/>
          <p:cNvCxnSpPr/>
          <p:nvPr userDrawn="1"/>
        </p:nvCxnSpPr>
        <p:spPr>
          <a:xfrm>
            <a:off x="509589"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Text Placeholder 7"/>
          <p:cNvSpPr>
            <a:spLocks noGrp="1"/>
          </p:cNvSpPr>
          <p:nvPr>
            <p:ph type="body" sz="quarter" idx="10"/>
          </p:nvPr>
        </p:nvSpPr>
        <p:spPr>
          <a:xfrm>
            <a:off x="1043608" y="5876931"/>
            <a:ext cx="7632080" cy="504403"/>
          </a:xfrm>
        </p:spPr>
        <p:txBody>
          <a:bodyPr anchor="b">
            <a:normAutofit/>
          </a:bodyPr>
          <a:lstStyle>
            <a:lvl1pPr marL="0" indent="0">
              <a:buNone/>
              <a:defRPr sz="800"/>
            </a:lvl1pPr>
          </a:lstStyle>
          <a:p>
            <a:pPr lvl="0"/>
            <a:r>
              <a:rPr lang="en-US" dirty="0"/>
              <a:t>Click to edit Master text styles</a:t>
            </a:r>
            <a:endParaRPr lang="en-GB" dirty="0"/>
          </a:p>
        </p:txBody>
      </p:sp>
      <p:sp>
        <p:nvSpPr>
          <p:cNvPr id="8" name="Title 1"/>
          <p:cNvSpPr>
            <a:spLocks noGrp="1"/>
          </p:cNvSpPr>
          <p:nvPr>
            <p:ph type="title"/>
          </p:nvPr>
        </p:nvSpPr>
        <p:spPr>
          <a:xfrm>
            <a:off x="515942" y="280992"/>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r>
              <a:rPr lang="en-US"/>
              <a:t>Click to edit Master title style</a:t>
            </a:r>
            <a:endParaRPr lang="en-US" dirty="0"/>
          </a:p>
        </p:txBody>
      </p:sp>
      <p:sp>
        <p:nvSpPr>
          <p:cNvPr id="7" name="Slide Number Placeholder 5"/>
          <p:cNvSpPr>
            <a:spLocks noGrp="1"/>
          </p:cNvSpPr>
          <p:nvPr>
            <p:ph type="sldNum" sz="quarter" idx="11"/>
          </p:nvPr>
        </p:nvSpPr>
        <p:spPr>
          <a:xfrm>
            <a:off x="4386275" y="6562734"/>
            <a:ext cx="371475"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defRPr>
            </a:lvl1pPr>
          </a:lstStyle>
          <a:p>
            <a:pPr defTabSz="912813">
              <a:defRPr/>
            </a:pPr>
            <a:fld id="{5E33ABD7-0402-4732-A1D5-29F831FDBD3E}" type="slidenum">
              <a:rPr lang="en-GB" b="0">
                <a:latin typeface="Arial" pitchFamily="34" charset="0"/>
                <a:ea typeface="ＭＳ Ｐゴシック" pitchFamily="34" charset="-128"/>
              </a:rPr>
              <a:pPr defTabSz="912813">
                <a:defRPr/>
              </a:pPr>
              <a:t>‹#›</a:t>
            </a:fld>
            <a:endParaRPr lang="en-GB" b="0">
              <a:latin typeface="Arial" pitchFamily="34" charset="0"/>
              <a:ea typeface="ＭＳ Ｐゴシック" pitchFamily="34" charset="-128"/>
            </a:endParaRPr>
          </a:p>
        </p:txBody>
      </p:sp>
    </p:spTree>
    <p:extLst>
      <p:ext uri="{BB962C8B-B14F-4D97-AF65-F5344CB8AC3E}">
        <p14:creationId xmlns:p14="http://schemas.microsoft.com/office/powerpoint/2010/main" val="179413224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cxnSp>
        <p:nvCxnSpPr>
          <p:cNvPr id="4" name="Straight Connector 3"/>
          <p:cNvCxnSpPr/>
          <p:nvPr userDrawn="1"/>
        </p:nvCxnSpPr>
        <p:spPr>
          <a:xfrm>
            <a:off x="509589" y="1014414"/>
            <a:ext cx="8112125" cy="1587"/>
          </a:xfrm>
          <a:prstGeom prst="line">
            <a:avLst/>
          </a:prstGeom>
          <a:ln w="12700">
            <a:solidFill>
              <a:srgbClr val="E32727"/>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515942" y="280992"/>
            <a:ext cx="8112125" cy="690363"/>
          </a:xfrm>
          <a:prstGeom prst="rect">
            <a:avLst/>
          </a:prstGeom>
        </p:spPr>
        <p:txBody>
          <a:bodyPr lIns="0" tIns="0" rIns="0" bIns="0" anchor="b">
            <a:normAutofit/>
          </a:bodyPr>
          <a:lstStyle>
            <a:lvl1pPr algn="l">
              <a:defRPr sz="2400" baseline="0">
                <a:solidFill>
                  <a:srgbClr val="EF4135"/>
                </a:solidFill>
                <a:latin typeface="+mj-lt"/>
              </a:defRPr>
            </a:lvl1pPr>
          </a:lstStyle>
          <a:p>
            <a:r>
              <a:rPr lang="en-GB" dirty="0"/>
              <a:t>Click to edit Master title style</a:t>
            </a:r>
            <a:endParaRPr lang="en-US" dirty="0"/>
          </a:p>
        </p:txBody>
      </p:sp>
      <p:sp>
        <p:nvSpPr>
          <p:cNvPr id="3" name="Content Placeholder 2"/>
          <p:cNvSpPr>
            <a:spLocks noGrp="1"/>
          </p:cNvSpPr>
          <p:nvPr>
            <p:ph idx="1"/>
          </p:nvPr>
        </p:nvSpPr>
        <p:spPr>
          <a:xfrm>
            <a:off x="509037" y="1203331"/>
            <a:ext cx="8112125" cy="4662361"/>
          </a:xfrm>
          <a:prstGeom prst="rect">
            <a:avLst/>
          </a:prstGeom>
        </p:spPr>
        <p:txBody>
          <a:bodyPr lIns="0" tIns="45720" rIns="0" bIns="45720">
            <a:normAutofit/>
          </a:bodyPr>
          <a:lstStyle>
            <a:lvl1pPr>
              <a:lnSpc>
                <a:spcPct val="100000"/>
              </a:lnSpc>
              <a:spcBef>
                <a:spcPts val="0"/>
              </a:spcBef>
              <a:spcAft>
                <a:spcPts val="600"/>
              </a:spcAft>
              <a:buClr>
                <a:srgbClr val="E32727"/>
              </a:buClr>
              <a:defRPr sz="1800">
                <a:solidFill>
                  <a:srgbClr val="58595B"/>
                </a:solidFill>
                <a:latin typeface="+mj-lt"/>
              </a:defRPr>
            </a:lvl1pPr>
            <a:lvl2pPr>
              <a:lnSpc>
                <a:spcPct val="100000"/>
              </a:lnSpc>
              <a:spcBef>
                <a:spcPts val="0"/>
              </a:spcBef>
              <a:spcAft>
                <a:spcPts val="600"/>
              </a:spcAft>
              <a:buClr>
                <a:srgbClr val="0096DF"/>
              </a:buClr>
              <a:buFont typeface="Arial"/>
              <a:buChar char="•"/>
              <a:defRPr sz="1800">
                <a:solidFill>
                  <a:srgbClr val="58595B"/>
                </a:solidFill>
                <a:latin typeface="+mj-lt"/>
              </a:defRPr>
            </a:lvl2pPr>
            <a:lvl3pPr>
              <a:lnSpc>
                <a:spcPct val="100000"/>
              </a:lnSpc>
              <a:spcBef>
                <a:spcPts val="0"/>
              </a:spcBef>
              <a:spcAft>
                <a:spcPts val="600"/>
              </a:spcAft>
              <a:buClr>
                <a:srgbClr val="E32727"/>
              </a:buClr>
              <a:buFont typeface="Wingdings" charset="2"/>
              <a:buChar char="§"/>
              <a:defRPr sz="1800">
                <a:solidFill>
                  <a:srgbClr val="58595B"/>
                </a:solidFill>
                <a:latin typeface="+mj-lt"/>
              </a:defRPr>
            </a:lvl3pPr>
            <a:lvl4pPr>
              <a:lnSpc>
                <a:spcPct val="100000"/>
              </a:lnSpc>
              <a:spcBef>
                <a:spcPts val="0"/>
              </a:spcBef>
              <a:spcAft>
                <a:spcPts val="600"/>
              </a:spcAft>
              <a:buClr>
                <a:srgbClr val="0096DF"/>
              </a:buClr>
              <a:buFont typeface="Wingdings" charset="2"/>
              <a:buChar char="§"/>
              <a:defRPr sz="1800">
                <a:solidFill>
                  <a:srgbClr val="58595B"/>
                </a:solidFill>
                <a:latin typeface="+mj-lt"/>
              </a:defRPr>
            </a:lvl4pPr>
            <a:lvl5pPr>
              <a:lnSpc>
                <a:spcPct val="100000"/>
              </a:lnSpc>
              <a:spcBef>
                <a:spcPts val="0"/>
              </a:spcBef>
              <a:spcAft>
                <a:spcPts val="600"/>
              </a:spcAft>
              <a:buClrTx/>
              <a:buFont typeface="Courier New"/>
              <a:buChar char="o"/>
              <a:defRPr sz="1800">
                <a:solidFill>
                  <a:srgbClr val="58595B"/>
                </a:solidFill>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2742928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a:xfrm>
            <a:off x="457200" y="1464919"/>
            <a:ext cx="8229600" cy="47355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1"/>
          </p:nvPr>
        </p:nvSpPr>
        <p:spPr>
          <a:xfrm>
            <a:off x="4" y="6539466"/>
            <a:ext cx="8504663" cy="318549"/>
          </a:xfrm>
        </p:spPr>
        <p:txBody>
          <a:bodyPr lIns="457200" bIns="182880" anchor="b">
            <a:spAutoFit/>
          </a:bodyPr>
          <a:lstStyle>
            <a:lvl1pPr marL="0" indent="0">
              <a:spcBef>
                <a:spcPts val="0"/>
              </a:spcBef>
              <a:buNone/>
              <a:defRPr sz="600"/>
            </a:lvl1pPr>
            <a:lvl2pPr marL="342900" indent="0">
              <a:buNone/>
              <a:defRPr sz="600"/>
            </a:lvl2pPr>
            <a:lvl3pPr marL="685800" indent="0">
              <a:buNone/>
              <a:defRPr sz="600"/>
            </a:lvl3pPr>
            <a:lvl4pPr marL="1028700" indent="0">
              <a:buNone/>
              <a:defRPr sz="600"/>
            </a:lvl4pPr>
            <a:lvl5pPr marL="1371600" indent="0">
              <a:buNone/>
              <a:defRPr sz="600"/>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85260AFE-C7C1-4510-ADE9-763D2493B3A9}"/>
              </a:ext>
            </a:extLst>
          </p:cNvPr>
          <p:cNvSpPr>
            <a:spLocks noGrp="1"/>
          </p:cNvSpPr>
          <p:nvPr>
            <p:ph type="sldNum" sz="quarter" idx="12"/>
          </p:nvPr>
        </p:nvSpPr>
        <p:spPr>
          <a:xfrm>
            <a:off x="7942" y="6650039"/>
            <a:ext cx="395287" cy="215900"/>
          </a:xfrm>
        </p:spPr>
        <p:txBody>
          <a:bodyPr/>
          <a:lstStyle>
            <a:lvl1pPr>
              <a:defRPr/>
            </a:lvl1pPr>
          </a:lstStyle>
          <a:p>
            <a:pPr>
              <a:defRPr/>
            </a:pPr>
            <a:fld id="{3BC8C3A5-C592-43B5-B168-E9D3AA17DE76}" type="slidenum">
              <a:rPr lang="en-GB" altLang="cs-CZ">
                <a:solidFill>
                  <a:srgbClr val="000000"/>
                </a:solidFill>
              </a:rPr>
              <a:pPr>
                <a:defRPr/>
              </a:pPr>
              <a:t>‹#›</a:t>
            </a:fld>
            <a:endParaRPr lang="en-GB" altLang="cs-CZ">
              <a:solidFill>
                <a:srgbClr val="000000"/>
              </a:solidFill>
            </a:endParaRPr>
          </a:p>
        </p:txBody>
      </p:sp>
    </p:spTree>
    <p:extLst>
      <p:ext uri="{BB962C8B-B14F-4D97-AF65-F5344CB8AC3E}">
        <p14:creationId xmlns:p14="http://schemas.microsoft.com/office/powerpoint/2010/main" val="31997214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27"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5 title</a:t>
            </a:r>
          </a:p>
        </p:txBody>
      </p:sp>
      <p:sp>
        <p:nvSpPr>
          <p:cNvPr id="22" name="Table Placeholder 29"/>
          <p:cNvSpPr>
            <a:spLocks noGrp="1"/>
          </p:cNvSpPr>
          <p:nvPr>
            <p:ph type="tbl" sz="quarter" idx="15"/>
          </p:nvPr>
        </p:nvSpPr>
        <p:spPr>
          <a:xfrm>
            <a:off x="987429" y="1731133"/>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3" name="Text Placeholder 2"/>
          <p:cNvSpPr>
            <a:spLocks noGrp="1"/>
          </p:cNvSpPr>
          <p:nvPr>
            <p:ph type="body" sz="quarter" idx="14"/>
          </p:nvPr>
        </p:nvSpPr>
        <p:spPr>
          <a:xfrm>
            <a:off x="1046700" y="1879896"/>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731600"/>
            <a:ext cx="54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1</a:t>
            </a:r>
          </a:p>
        </p:txBody>
      </p:sp>
      <p:sp>
        <p:nvSpPr>
          <p:cNvPr id="28" name="Table Placeholder 29"/>
          <p:cNvSpPr>
            <a:spLocks noGrp="1"/>
          </p:cNvSpPr>
          <p:nvPr>
            <p:ph type="tbl" sz="quarter" idx="27"/>
          </p:nvPr>
        </p:nvSpPr>
        <p:spPr>
          <a:xfrm>
            <a:off x="987429" y="240348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9" name="Text Placeholder 2"/>
          <p:cNvSpPr>
            <a:spLocks noGrp="1"/>
          </p:cNvSpPr>
          <p:nvPr>
            <p:ph type="body" sz="quarter" idx="28"/>
          </p:nvPr>
        </p:nvSpPr>
        <p:spPr>
          <a:xfrm>
            <a:off x="1046700" y="2552256"/>
            <a:ext cx="5718173"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1" name="Text Placeholder 49"/>
          <p:cNvSpPr>
            <a:spLocks noGrp="1"/>
          </p:cNvSpPr>
          <p:nvPr>
            <p:ph type="body" sz="quarter" idx="29" hasCustomPrompt="1"/>
          </p:nvPr>
        </p:nvSpPr>
        <p:spPr>
          <a:xfrm>
            <a:off x="330200" y="2403956"/>
            <a:ext cx="540000" cy="540000"/>
          </a:xfrm>
          <a:prstGeom prst="rect">
            <a:avLst/>
          </a:prstGeom>
          <a:solidFill>
            <a:srgbClr val="83005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2" name="Table Placeholder 29"/>
          <p:cNvSpPr>
            <a:spLocks noGrp="1"/>
          </p:cNvSpPr>
          <p:nvPr>
            <p:ph type="tbl" sz="quarter" idx="30"/>
          </p:nvPr>
        </p:nvSpPr>
        <p:spPr>
          <a:xfrm>
            <a:off x="987429" y="3082231"/>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3" name="Text Placeholder 2"/>
          <p:cNvSpPr>
            <a:spLocks noGrp="1"/>
          </p:cNvSpPr>
          <p:nvPr>
            <p:ph type="body" sz="quarter" idx="31"/>
          </p:nvPr>
        </p:nvSpPr>
        <p:spPr>
          <a:xfrm>
            <a:off x="1046700" y="3230997"/>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4" name="Text Placeholder 49"/>
          <p:cNvSpPr>
            <a:spLocks noGrp="1"/>
          </p:cNvSpPr>
          <p:nvPr>
            <p:ph type="body" sz="quarter" idx="32" hasCustomPrompt="1"/>
          </p:nvPr>
        </p:nvSpPr>
        <p:spPr>
          <a:xfrm>
            <a:off x="330200" y="3082699"/>
            <a:ext cx="54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5" name="Table Placeholder 29"/>
          <p:cNvSpPr>
            <a:spLocks noGrp="1"/>
          </p:cNvSpPr>
          <p:nvPr>
            <p:ph type="tbl" sz="quarter" idx="33"/>
          </p:nvPr>
        </p:nvSpPr>
        <p:spPr>
          <a:xfrm>
            <a:off x="987429" y="3763175"/>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6" name="Text Placeholder 2"/>
          <p:cNvSpPr>
            <a:spLocks noGrp="1"/>
          </p:cNvSpPr>
          <p:nvPr>
            <p:ph type="body" sz="quarter" idx="34"/>
          </p:nvPr>
        </p:nvSpPr>
        <p:spPr>
          <a:xfrm>
            <a:off x="1046700" y="3911936"/>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7" name="Text Placeholder 49"/>
          <p:cNvSpPr>
            <a:spLocks noGrp="1"/>
          </p:cNvSpPr>
          <p:nvPr>
            <p:ph type="body" sz="quarter" idx="35" hasCustomPrompt="1"/>
          </p:nvPr>
        </p:nvSpPr>
        <p:spPr>
          <a:xfrm>
            <a:off x="330200" y="3763643"/>
            <a:ext cx="540000" cy="540000"/>
          </a:xfrm>
          <a:prstGeom prst="rect">
            <a:avLst/>
          </a:prstGeom>
          <a:solidFill>
            <a:srgbClr val="83005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8" name="Table Placeholder 29"/>
          <p:cNvSpPr>
            <a:spLocks noGrp="1"/>
          </p:cNvSpPr>
          <p:nvPr>
            <p:ph type="tbl" sz="quarter" idx="36"/>
          </p:nvPr>
        </p:nvSpPr>
        <p:spPr>
          <a:xfrm>
            <a:off x="987429" y="444087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9" name="Text Placeholder 2"/>
          <p:cNvSpPr>
            <a:spLocks noGrp="1"/>
          </p:cNvSpPr>
          <p:nvPr>
            <p:ph type="body" sz="quarter" idx="37"/>
          </p:nvPr>
        </p:nvSpPr>
        <p:spPr>
          <a:xfrm>
            <a:off x="1046700" y="4589644"/>
            <a:ext cx="5718173" cy="394199"/>
          </a:xfrm>
          <a:prstGeom prst="rect">
            <a:avLst/>
          </a:prstGeom>
        </p:spPr>
        <p:txBody>
          <a:bodyPr vert="horz"/>
          <a:lstStyle>
            <a:lvl1pPr marL="0" indent="0">
              <a:lnSpc>
                <a:spcPct val="60000"/>
              </a:lnSpc>
              <a:buNone/>
              <a:defRPr sz="20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0" name="Text Placeholder 49"/>
          <p:cNvSpPr>
            <a:spLocks noGrp="1"/>
          </p:cNvSpPr>
          <p:nvPr>
            <p:ph type="body" sz="quarter" idx="38" hasCustomPrompt="1"/>
          </p:nvPr>
        </p:nvSpPr>
        <p:spPr>
          <a:xfrm>
            <a:off x="330200" y="4441345"/>
            <a:ext cx="540000" cy="540000"/>
          </a:xfrm>
          <a:prstGeom prst="rect">
            <a:avLst/>
          </a:prstGeom>
          <a:solidFill>
            <a:srgbClr val="D8DCDE"/>
          </a:solidFill>
          <a:ln w="19050" cmpd="sng">
            <a:noFill/>
          </a:ln>
        </p:spPr>
        <p:txBody>
          <a:bodyPr vert="horz" anchor="ctr"/>
          <a:lstStyle>
            <a:lvl1pPr marL="0" indent="0" algn="ctr">
              <a:lnSpc>
                <a:spcPts val="2800"/>
              </a:lnSpc>
              <a:spcBef>
                <a:spcPts val="0"/>
              </a:spcBef>
              <a:buNone/>
              <a:defRPr sz="2400" b="1">
                <a:solidFill>
                  <a:srgbClr val="830051"/>
                </a:solidFill>
                <a:latin typeface="Arial" pitchFamily="34" charset="0"/>
                <a:cs typeface="Arial" pitchFamily="34" charset="0"/>
              </a:defRPr>
            </a:lvl1pPr>
          </a:lstStyle>
          <a:p>
            <a:pPr lvl="0"/>
            <a:r>
              <a:rPr lang="en-GB" noProof="0"/>
              <a:t>5</a:t>
            </a:r>
          </a:p>
        </p:txBody>
      </p:sp>
      <p:sp>
        <p:nvSpPr>
          <p:cNvPr id="41" name="Table Placeholder 29"/>
          <p:cNvSpPr>
            <a:spLocks noGrp="1"/>
          </p:cNvSpPr>
          <p:nvPr>
            <p:ph type="tbl" sz="quarter" idx="39"/>
          </p:nvPr>
        </p:nvSpPr>
        <p:spPr>
          <a:xfrm>
            <a:off x="987429" y="5129167"/>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2" name="Text Placeholder 2"/>
          <p:cNvSpPr>
            <a:spLocks noGrp="1"/>
          </p:cNvSpPr>
          <p:nvPr>
            <p:ph type="body" sz="quarter" idx="40"/>
          </p:nvPr>
        </p:nvSpPr>
        <p:spPr>
          <a:xfrm>
            <a:off x="1046700" y="5277933"/>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3" name="Text Placeholder 49"/>
          <p:cNvSpPr>
            <a:spLocks noGrp="1"/>
          </p:cNvSpPr>
          <p:nvPr>
            <p:ph type="body" sz="quarter" idx="41" hasCustomPrompt="1"/>
          </p:nvPr>
        </p:nvSpPr>
        <p:spPr>
          <a:xfrm>
            <a:off x="330200" y="5129635"/>
            <a:ext cx="54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6"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3349143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Layout">
    <p:spTree>
      <p:nvGrpSpPr>
        <p:cNvPr id="1" name=""/>
        <p:cNvGrpSpPr/>
        <p:nvPr/>
      </p:nvGrpSpPr>
      <p:grpSpPr>
        <a:xfrm>
          <a:off x="0" y="0"/>
          <a:ext cx="0" cy="0"/>
          <a:chOff x="0" y="0"/>
          <a:chExt cx="0" cy="0"/>
        </a:xfrm>
      </p:grpSpPr>
      <p:pic>
        <p:nvPicPr>
          <p:cNvPr id="4" name="Picture 10">
            <a:extLst>
              <a:ext uri="{FF2B5EF4-FFF2-40B4-BE49-F238E27FC236}">
                <a16:creationId xmlns:a16="http://schemas.microsoft.com/office/drawing/2014/main" id="{6A6AF998-1D1F-493D-B066-DF1B4BFF11B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1024483"/>
            <a:ext cx="8229600" cy="1143000"/>
          </a:xfrm>
        </p:spPr>
        <p:txBody>
          <a:bodyPr/>
          <a:lstStyle>
            <a:lvl1pPr algn="ctr">
              <a:defRPr sz="2100">
                <a:solidFill>
                  <a:schemeClr val="bg1"/>
                </a:solidFill>
              </a:defRPr>
            </a:lvl1pPr>
          </a:lstStyle>
          <a:p>
            <a:r>
              <a:rPr lang="en-US" dirty="0"/>
              <a:t>Click to edit Master title style</a:t>
            </a:r>
          </a:p>
        </p:txBody>
      </p:sp>
      <p:sp>
        <p:nvSpPr>
          <p:cNvPr id="6" name="Text Placeholder 5"/>
          <p:cNvSpPr>
            <a:spLocks noGrp="1"/>
          </p:cNvSpPr>
          <p:nvPr>
            <p:ph type="body" sz="quarter" idx="12"/>
          </p:nvPr>
        </p:nvSpPr>
        <p:spPr>
          <a:xfrm>
            <a:off x="846138" y="2520958"/>
            <a:ext cx="7451724" cy="1025525"/>
          </a:xfrm>
        </p:spPr>
        <p:txBody>
          <a:bodyPr>
            <a:normAutofit/>
          </a:bodyPr>
          <a:lstStyle>
            <a:lvl1pPr marL="0" indent="0" algn="ctr">
              <a:buNone/>
              <a:defRPr sz="1350">
                <a:solidFill>
                  <a:schemeClr val="accent6"/>
                </a:solidFill>
              </a:defRPr>
            </a:lvl1pPr>
          </a:lstStyle>
          <a:p>
            <a:pPr lvl="0"/>
            <a:r>
              <a:rPr lang="en-US" dirty="0"/>
              <a:t>Click to edit Master text styles</a:t>
            </a:r>
          </a:p>
        </p:txBody>
      </p:sp>
      <p:sp>
        <p:nvSpPr>
          <p:cNvPr id="5" name="Slide Number Placeholder 2">
            <a:extLst>
              <a:ext uri="{FF2B5EF4-FFF2-40B4-BE49-F238E27FC236}">
                <a16:creationId xmlns:a16="http://schemas.microsoft.com/office/drawing/2014/main" id="{F41034B0-74C9-4F44-9341-3CEA3ED6C432}"/>
              </a:ext>
            </a:extLst>
          </p:cNvPr>
          <p:cNvSpPr>
            <a:spLocks noGrp="1"/>
          </p:cNvSpPr>
          <p:nvPr>
            <p:ph type="sldNum" sz="quarter" idx="13"/>
          </p:nvPr>
        </p:nvSpPr>
        <p:spPr/>
        <p:txBody>
          <a:bodyPr/>
          <a:lstStyle>
            <a:lvl1pPr>
              <a:defRPr/>
            </a:lvl1pPr>
          </a:lstStyle>
          <a:p>
            <a:pPr>
              <a:defRPr/>
            </a:pPr>
            <a:fld id="{92D84C2E-9F28-4DEB-8D32-4FCABA63C589}" type="slidenum">
              <a:rPr lang="en-GB" altLang="cs-CZ">
                <a:solidFill>
                  <a:srgbClr val="000000"/>
                </a:solidFill>
              </a:rPr>
              <a:pPr>
                <a:defRPr/>
              </a:pPr>
              <a:t>‹#›</a:t>
            </a:fld>
            <a:endParaRPr lang="en-GB" altLang="cs-CZ">
              <a:solidFill>
                <a:srgbClr val="000000"/>
              </a:solidFill>
            </a:endParaRPr>
          </a:p>
        </p:txBody>
      </p:sp>
      <p:sp>
        <p:nvSpPr>
          <p:cNvPr id="7" name="Footer Placeholder 3">
            <a:extLst>
              <a:ext uri="{FF2B5EF4-FFF2-40B4-BE49-F238E27FC236}">
                <a16:creationId xmlns:a16="http://schemas.microsoft.com/office/drawing/2014/main" id="{CEEF152F-EA9A-435E-81DA-61D840097298}"/>
              </a:ext>
            </a:extLst>
          </p:cNvPr>
          <p:cNvSpPr>
            <a:spLocks noGrp="1"/>
          </p:cNvSpPr>
          <p:nvPr>
            <p:ph type="ftr" sz="quarter" idx="14"/>
          </p:nvPr>
        </p:nvSpPr>
        <p:spPr>
          <a:xfrm>
            <a:off x="3124200" y="6489706"/>
            <a:ext cx="2895600" cy="365125"/>
          </a:xfrm>
        </p:spPr>
        <p:txBody>
          <a:bodyPr/>
          <a:lstStyle>
            <a:lvl1pPr>
              <a:defRPr/>
            </a:lvl1pPr>
          </a:lstStyle>
          <a:p>
            <a:pPr>
              <a:defRPr/>
            </a:pPr>
            <a:endParaRPr lang="en-US">
              <a:solidFill>
                <a:srgbClr val="3F4444"/>
              </a:solidFill>
            </a:endParaRPr>
          </a:p>
        </p:txBody>
      </p:sp>
    </p:spTree>
    <p:extLst>
      <p:ext uri="{BB962C8B-B14F-4D97-AF65-F5344CB8AC3E}">
        <p14:creationId xmlns:p14="http://schemas.microsoft.com/office/powerpoint/2010/main" val="16858749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2"/>
          </p:nvPr>
        </p:nvSpPr>
        <p:spPr>
          <a:xfrm>
            <a:off x="4" y="6539466"/>
            <a:ext cx="8504663" cy="318549"/>
          </a:xfrm>
        </p:spPr>
        <p:txBody>
          <a:bodyPr lIns="457200" bIns="182880" anchor="b">
            <a:spAutoFit/>
          </a:bodyPr>
          <a:lstStyle>
            <a:lvl1pPr marL="0" indent="0">
              <a:spcBef>
                <a:spcPts val="0"/>
              </a:spcBef>
              <a:buNone/>
              <a:defRPr sz="600"/>
            </a:lvl1pPr>
            <a:lvl2pPr marL="342900" indent="0">
              <a:buNone/>
              <a:defRPr sz="600"/>
            </a:lvl2pPr>
            <a:lvl3pPr marL="685800" indent="0">
              <a:buNone/>
              <a:defRPr sz="600"/>
            </a:lvl3pPr>
            <a:lvl4pPr marL="1028700" indent="0">
              <a:buNone/>
              <a:defRPr sz="600"/>
            </a:lvl4pPr>
            <a:lvl5pPr marL="1371600" indent="0">
              <a:buNone/>
              <a:defRPr sz="600"/>
            </a:lvl5pPr>
          </a:lstStyle>
          <a:p>
            <a:pPr lvl="0"/>
            <a:r>
              <a:rPr lang="en-US" dirty="0"/>
              <a:t>Click to edit Master text styles</a:t>
            </a:r>
          </a:p>
        </p:txBody>
      </p:sp>
      <p:sp>
        <p:nvSpPr>
          <p:cNvPr id="4" name="Slide Number Placeholder 5">
            <a:extLst>
              <a:ext uri="{FF2B5EF4-FFF2-40B4-BE49-F238E27FC236}">
                <a16:creationId xmlns:a16="http://schemas.microsoft.com/office/drawing/2014/main" id="{639534BF-EEF7-4E47-9697-55044B1BBFC5}"/>
              </a:ext>
            </a:extLst>
          </p:cNvPr>
          <p:cNvSpPr>
            <a:spLocks noGrp="1"/>
          </p:cNvSpPr>
          <p:nvPr>
            <p:ph type="sldNum" sz="quarter" idx="13"/>
          </p:nvPr>
        </p:nvSpPr>
        <p:spPr/>
        <p:txBody>
          <a:bodyPr/>
          <a:lstStyle>
            <a:lvl1pPr>
              <a:defRPr/>
            </a:lvl1pPr>
          </a:lstStyle>
          <a:p>
            <a:pPr>
              <a:defRPr/>
            </a:pPr>
            <a:fld id="{E4D5C1A9-A79F-4433-8546-EA38411AE081}" type="slidenum">
              <a:rPr lang="en-GB" altLang="cs-CZ">
                <a:solidFill>
                  <a:srgbClr val="000000"/>
                </a:solidFill>
              </a:rPr>
              <a:pPr>
                <a:defRPr/>
              </a:pPr>
              <a:t>‹#›</a:t>
            </a:fld>
            <a:endParaRPr lang="en-GB" altLang="cs-CZ">
              <a:solidFill>
                <a:srgbClr val="000000"/>
              </a:solidFill>
            </a:endParaRPr>
          </a:p>
        </p:txBody>
      </p:sp>
      <p:sp>
        <p:nvSpPr>
          <p:cNvPr id="6" name="Footer Placeholder 5">
            <a:extLst>
              <a:ext uri="{FF2B5EF4-FFF2-40B4-BE49-F238E27FC236}">
                <a16:creationId xmlns:a16="http://schemas.microsoft.com/office/drawing/2014/main" id="{1E470683-7E90-4199-A2E9-9E2D294A398D}"/>
              </a:ext>
            </a:extLst>
          </p:cNvPr>
          <p:cNvSpPr>
            <a:spLocks noGrp="1"/>
          </p:cNvSpPr>
          <p:nvPr>
            <p:ph type="ftr" sz="quarter" idx="14"/>
          </p:nvPr>
        </p:nvSpPr>
        <p:spPr/>
        <p:txBody>
          <a:bodyPr/>
          <a:lstStyle>
            <a:lvl1pPr>
              <a:defRPr/>
            </a:lvl1pPr>
          </a:lstStyle>
          <a:p>
            <a:pPr>
              <a:defRPr/>
            </a:pPr>
            <a:endParaRPr lang="en-US">
              <a:solidFill>
                <a:srgbClr val="3F4444"/>
              </a:solidFill>
            </a:endParaRPr>
          </a:p>
        </p:txBody>
      </p:sp>
    </p:spTree>
    <p:extLst>
      <p:ext uri="{BB962C8B-B14F-4D97-AF65-F5344CB8AC3E}">
        <p14:creationId xmlns:p14="http://schemas.microsoft.com/office/powerpoint/2010/main" val="285661864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Break layout">
    <p:spTree>
      <p:nvGrpSpPr>
        <p:cNvPr id="1" name=""/>
        <p:cNvGrpSpPr/>
        <p:nvPr/>
      </p:nvGrpSpPr>
      <p:grpSpPr>
        <a:xfrm>
          <a:off x="0" y="0"/>
          <a:ext cx="0" cy="0"/>
          <a:chOff x="0" y="0"/>
          <a:chExt cx="0" cy="0"/>
        </a:xfrm>
      </p:grpSpPr>
      <p:pic>
        <p:nvPicPr>
          <p:cNvPr id="3" name="Picture 10">
            <a:extLst>
              <a:ext uri="{FF2B5EF4-FFF2-40B4-BE49-F238E27FC236}">
                <a16:creationId xmlns:a16="http://schemas.microsoft.com/office/drawing/2014/main" id="{327CBB3F-A6EE-4F49-9637-5B3BDF6664C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1">
            <a:extLst>
              <a:ext uri="{FF2B5EF4-FFF2-40B4-BE49-F238E27FC236}">
                <a16:creationId xmlns:a16="http://schemas.microsoft.com/office/drawing/2014/main" id="{BDAAD9C0-F061-4E90-B089-E5101B11F1C5}"/>
              </a:ext>
            </a:extLst>
          </p:cNvPr>
          <p:cNvSpPr txBox="1">
            <a:spLocks noChangeArrowheads="1"/>
          </p:cNvSpPr>
          <p:nvPr userDrawn="1"/>
        </p:nvSpPr>
        <p:spPr bwMode="auto">
          <a:xfrm>
            <a:off x="4478343" y="2239963"/>
            <a:ext cx="286168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457200" fontAlgn="auto">
              <a:spcBef>
                <a:spcPct val="50000"/>
              </a:spcBef>
              <a:spcAft>
                <a:spcPts val="0"/>
              </a:spcAft>
              <a:defRPr/>
            </a:pPr>
            <a:r>
              <a:rPr lang="en-US" altLang="cs-CZ" sz="1050">
                <a:solidFill>
                  <a:srgbClr val="F0AB00"/>
                </a:solidFill>
              </a:rPr>
              <a:t>Treating diabetes is more than A</a:t>
            </a:r>
            <a:r>
              <a:rPr lang="en-US" altLang="cs-CZ" sz="1050" baseline="-25000">
                <a:solidFill>
                  <a:srgbClr val="F0AB00"/>
                </a:solidFill>
              </a:rPr>
              <a:t>1c</a:t>
            </a:r>
            <a:r>
              <a:rPr lang="en-US" altLang="cs-CZ" sz="1050">
                <a:solidFill>
                  <a:srgbClr val="F0AB00"/>
                </a:solidFill>
              </a:rPr>
              <a:t> control</a:t>
            </a:r>
          </a:p>
        </p:txBody>
      </p:sp>
      <p:sp>
        <p:nvSpPr>
          <p:cNvPr id="2" name="Title 1"/>
          <p:cNvSpPr>
            <a:spLocks noGrp="1"/>
          </p:cNvSpPr>
          <p:nvPr>
            <p:ph type="title"/>
          </p:nvPr>
        </p:nvSpPr>
        <p:spPr>
          <a:xfrm>
            <a:off x="4475356" y="600297"/>
            <a:ext cx="4211444" cy="1143000"/>
          </a:xfrm>
        </p:spPr>
        <p:txBody>
          <a:bodyPr/>
          <a:lstStyle>
            <a:lvl1pPr>
              <a:defRPr sz="1800">
                <a:solidFill>
                  <a:schemeClr val="bg1"/>
                </a:solidFill>
              </a:defRPr>
            </a:lvl1pPr>
          </a:lstStyle>
          <a:p>
            <a:r>
              <a:rPr lang="en-US" dirty="0"/>
              <a:t>Click to edit Master title style</a:t>
            </a:r>
          </a:p>
        </p:txBody>
      </p:sp>
      <p:sp>
        <p:nvSpPr>
          <p:cNvPr id="5" name="Slide Number Placeholder 2">
            <a:extLst>
              <a:ext uri="{FF2B5EF4-FFF2-40B4-BE49-F238E27FC236}">
                <a16:creationId xmlns:a16="http://schemas.microsoft.com/office/drawing/2014/main" id="{34040C57-EC3C-4DC3-BE40-1ECAF31C2E3F}"/>
              </a:ext>
            </a:extLst>
          </p:cNvPr>
          <p:cNvSpPr>
            <a:spLocks noGrp="1"/>
          </p:cNvSpPr>
          <p:nvPr>
            <p:ph type="sldNum" sz="quarter" idx="10"/>
          </p:nvPr>
        </p:nvSpPr>
        <p:spPr/>
        <p:txBody>
          <a:bodyPr/>
          <a:lstStyle>
            <a:lvl1pPr>
              <a:defRPr/>
            </a:lvl1pPr>
          </a:lstStyle>
          <a:p>
            <a:pPr>
              <a:defRPr/>
            </a:pPr>
            <a:fld id="{2873FFAD-F4DD-4E21-9CBC-CF39BA9EF810}" type="slidenum">
              <a:rPr lang="en-GB" altLang="cs-CZ">
                <a:solidFill>
                  <a:srgbClr val="000000"/>
                </a:solidFill>
              </a:rPr>
              <a:pPr>
                <a:defRPr/>
              </a:pPr>
              <a:t>‹#›</a:t>
            </a:fld>
            <a:endParaRPr lang="en-GB" altLang="cs-CZ">
              <a:solidFill>
                <a:srgbClr val="000000"/>
              </a:solidFill>
            </a:endParaRPr>
          </a:p>
        </p:txBody>
      </p:sp>
      <p:sp>
        <p:nvSpPr>
          <p:cNvPr id="6" name="Footer Placeholder 3">
            <a:extLst>
              <a:ext uri="{FF2B5EF4-FFF2-40B4-BE49-F238E27FC236}">
                <a16:creationId xmlns:a16="http://schemas.microsoft.com/office/drawing/2014/main" id="{34BE2E9B-CAAA-4B43-BBA7-A9B61FE8BDF1}"/>
              </a:ext>
            </a:extLst>
          </p:cNvPr>
          <p:cNvSpPr>
            <a:spLocks noGrp="1"/>
          </p:cNvSpPr>
          <p:nvPr>
            <p:ph type="ftr" sz="quarter" idx="11"/>
          </p:nvPr>
        </p:nvSpPr>
        <p:spPr/>
        <p:txBody>
          <a:bodyPr/>
          <a:lstStyle>
            <a:lvl1pPr>
              <a:defRPr/>
            </a:lvl1pPr>
          </a:lstStyle>
          <a:p>
            <a:pPr>
              <a:defRPr/>
            </a:pPr>
            <a:endParaRPr lang="en-US">
              <a:solidFill>
                <a:srgbClr val="3F4444"/>
              </a:solidFill>
            </a:endParaRPr>
          </a:p>
        </p:txBody>
      </p:sp>
    </p:spTree>
    <p:extLst>
      <p:ext uri="{BB962C8B-B14F-4D97-AF65-F5344CB8AC3E}">
        <p14:creationId xmlns:p14="http://schemas.microsoft.com/office/powerpoint/2010/main" val="230970572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B187F361-05FD-420C-8C07-8AA9EE0389F7}"/>
              </a:ext>
            </a:extLst>
          </p:cNvPr>
          <p:cNvSpPr>
            <a:spLocks noGrp="1" noChangeArrowheads="1"/>
          </p:cNvSpPr>
          <p:nvPr userDrawn="1"/>
        </p:nvSpPr>
        <p:spPr bwMode="auto">
          <a:xfrm>
            <a:off x="496889" y="4892675"/>
            <a:ext cx="268922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457200" fontAlgn="auto">
              <a:spcBef>
                <a:spcPts val="0"/>
              </a:spcBef>
              <a:spcAft>
                <a:spcPts val="0"/>
              </a:spcAft>
              <a:defRPr/>
            </a:pPr>
            <a:r>
              <a:rPr lang="en-GB" altLang="cs-CZ" sz="1200">
                <a:solidFill>
                  <a:srgbClr val="000000"/>
                </a:solidFill>
              </a:rPr>
              <a:t>Confidentiality Notice </a:t>
            </a:r>
            <a:endParaRPr lang="en-GB" altLang="cs-CZ" sz="2100" b="0">
              <a:solidFill>
                <a:srgbClr val="000000"/>
              </a:solidFill>
            </a:endParaRPr>
          </a:p>
        </p:txBody>
      </p:sp>
      <p:sp>
        <p:nvSpPr>
          <p:cNvPr id="3" name="Rectangle 11">
            <a:extLst>
              <a:ext uri="{FF2B5EF4-FFF2-40B4-BE49-F238E27FC236}">
                <a16:creationId xmlns:a16="http://schemas.microsoft.com/office/drawing/2014/main" id="{22D4FF37-BF7A-4FA1-B367-4262C3278469}"/>
              </a:ext>
            </a:extLst>
          </p:cNvPr>
          <p:cNvSpPr>
            <a:spLocks noGrp="1" noChangeArrowheads="1"/>
          </p:cNvSpPr>
          <p:nvPr userDrawn="1"/>
        </p:nvSpPr>
        <p:spPr bwMode="auto">
          <a:xfrm>
            <a:off x="515938" y="5273675"/>
            <a:ext cx="83439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457200" fontAlgn="auto">
              <a:spcBef>
                <a:spcPts val="0"/>
              </a:spcBef>
              <a:spcAft>
                <a:spcPts val="0"/>
              </a:spcAft>
              <a:defRPr/>
            </a:pPr>
            <a:r>
              <a:rPr lang="en-GB" altLang="cs-CZ" sz="750" b="0">
                <a:solidFill>
                  <a:srgbClr val="000000"/>
                </a:solidFill>
              </a:rPr>
              <a:t>This file is private and may contain confidential and proprietary information. If you have received this file in error, please notify us and remove </a:t>
            </a:r>
          </a:p>
          <a:p>
            <a:pPr defTabSz="457200" fontAlgn="auto">
              <a:spcBef>
                <a:spcPts val="0"/>
              </a:spcBef>
              <a:spcAft>
                <a:spcPts val="0"/>
              </a:spcAft>
              <a:defRPr/>
            </a:pPr>
            <a:r>
              <a:rPr lang="en-GB" altLang="cs-CZ" sz="750" b="0">
                <a:solidFill>
                  <a:srgbClr val="000000"/>
                </a:solidFill>
              </a:rPr>
              <a:t>it from your system and note that you must not copy, distribute or take any action in reliance on it. Any unauthorized use or disclosure of the contents of this file is not permitted and may be unlawful. AstraZeneca PLC, 2 Kingdom Street, London, W2 6BD, UK, T: +44(0)20 7604 8000, </a:t>
            </a:r>
          </a:p>
          <a:p>
            <a:pPr defTabSz="457200" fontAlgn="auto">
              <a:spcBef>
                <a:spcPts val="0"/>
              </a:spcBef>
              <a:spcAft>
                <a:spcPts val="0"/>
              </a:spcAft>
              <a:defRPr/>
            </a:pPr>
            <a:r>
              <a:rPr lang="en-GB" altLang="cs-CZ" sz="750" b="0">
                <a:solidFill>
                  <a:srgbClr val="000000"/>
                </a:solidFill>
              </a:rPr>
              <a:t>F: +44 (0)20 7604 8151, www.astrazeneca.com</a:t>
            </a:r>
          </a:p>
        </p:txBody>
      </p:sp>
      <p:sp>
        <p:nvSpPr>
          <p:cNvPr id="4" name="Slide Number Placeholder 5">
            <a:extLst>
              <a:ext uri="{FF2B5EF4-FFF2-40B4-BE49-F238E27FC236}">
                <a16:creationId xmlns:a16="http://schemas.microsoft.com/office/drawing/2014/main" id="{8ACE99DA-CAF3-4D6A-8DD8-4B64C6AA710F}"/>
              </a:ext>
            </a:extLst>
          </p:cNvPr>
          <p:cNvSpPr>
            <a:spLocks noGrp="1"/>
          </p:cNvSpPr>
          <p:nvPr>
            <p:ph type="sldNum" sz="quarter" idx="10"/>
          </p:nvPr>
        </p:nvSpPr>
        <p:spPr>
          <a:xfrm>
            <a:off x="338155" y="6564315"/>
            <a:ext cx="395287" cy="215900"/>
          </a:xfrm>
        </p:spPr>
        <p:txBody>
          <a:bodyPr/>
          <a:lstStyle>
            <a:lvl1pPr algn="l">
              <a:defRPr/>
            </a:lvl1pPr>
          </a:lstStyle>
          <a:p>
            <a:pPr>
              <a:defRPr/>
            </a:pPr>
            <a:fld id="{E149B336-0A1E-4D94-883C-670672459E49}" type="slidenum">
              <a:rPr lang="en-GB" altLang="cs-CZ">
                <a:solidFill>
                  <a:srgbClr val="000000"/>
                </a:solidFill>
              </a:rPr>
              <a:pPr>
                <a:defRPr/>
              </a:pPr>
              <a:t>‹#›</a:t>
            </a:fld>
            <a:endParaRPr lang="en-GB" altLang="cs-CZ">
              <a:solidFill>
                <a:srgbClr val="000000"/>
              </a:solidFill>
            </a:endParaRPr>
          </a:p>
        </p:txBody>
      </p:sp>
    </p:spTree>
    <p:extLst>
      <p:ext uri="{BB962C8B-B14F-4D97-AF65-F5344CB8AC3E}">
        <p14:creationId xmlns:p14="http://schemas.microsoft.com/office/powerpoint/2010/main" val="357888626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750498"/>
            <a:ext cx="3542400" cy="2042057"/>
          </a:xfrm>
        </p:spPr>
        <p:txBody>
          <a:bodyPr anchor="b"/>
          <a:lstStyle>
            <a:lvl1pPr algn="r">
              <a:lnSpc>
                <a:spcPct val="85000"/>
              </a:lnSpc>
              <a:defRPr sz="4267"/>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899" y="4033952"/>
            <a:ext cx="3543319"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867"/>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355350088"/>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687230"/>
            <a:ext cx="8510400" cy="521883"/>
          </a:xfrm>
        </p:spPr>
        <p:txBody>
          <a:bodyPr/>
          <a:lstStyle>
            <a:lvl1pPr>
              <a:defRPr sz="3200"/>
            </a:lvl1pPr>
          </a:lstStyle>
          <a:p>
            <a:r>
              <a:rPr lang="en-US" noProof="0"/>
              <a:t>Click to edit Master title style</a:t>
            </a:r>
            <a:endParaRPr lang="en-GB" noProof="0" dirty="0"/>
          </a:p>
        </p:txBody>
      </p:sp>
      <p:sp>
        <p:nvSpPr>
          <p:cNvPr id="9" name="Text Placeholder 10"/>
          <p:cNvSpPr>
            <a:spLocks noGrp="1"/>
          </p:cNvSpPr>
          <p:nvPr>
            <p:ph type="body" sz="quarter" idx="18"/>
          </p:nvPr>
        </p:nvSpPr>
        <p:spPr>
          <a:xfrm>
            <a:off x="318201" y="6301348"/>
            <a:ext cx="8509000" cy="391583"/>
          </a:xfrm>
        </p:spPr>
        <p:txBody>
          <a:bodyPr anchor="b"/>
          <a:lstStyle>
            <a:lvl1pPr marL="0" indent="0">
              <a:spcBef>
                <a:spcPts val="0"/>
              </a:spcBef>
              <a:spcAft>
                <a:spcPts val="0"/>
              </a:spcAft>
              <a:buNone/>
              <a:defRPr sz="800">
                <a:solidFill>
                  <a:srgbClr val="82786F"/>
                </a:solidFill>
              </a:defRPr>
            </a:lvl1pPr>
            <a:lvl2pPr marL="353474" indent="0">
              <a:buNone/>
              <a:defRPr sz="1200"/>
            </a:lvl2pPr>
            <a:lvl3pPr marL="715415" indent="0">
              <a:buNone/>
              <a:defRPr sz="1200"/>
            </a:lvl3pPr>
            <a:lvl4pPr marL="1077357" indent="0">
              <a:buNone/>
              <a:defRPr sz="1200"/>
            </a:lvl4pPr>
            <a:lvl5pPr marL="1430831" indent="0">
              <a:buNone/>
              <a:defRPr sz="1200"/>
            </a:lvl5pPr>
          </a:lstStyle>
          <a:p>
            <a:pPr lvl="0"/>
            <a:r>
              <a:rPr lang="en-US"/>
              <a:t>Click to edit Master text styles</a:t>
            </a:r>
          </a:p>
        </p:txBody>
      </p:sp>
    </p:spTree>
    <p:extLst>
      <p:ext uri="{BB962C8B-B14F-4D97-AF65-F5344CB8AC3E}">
        <p14:creationId xmlns:p14="http://schemas.microsoft.com/office/powerpoint/2010/main" val="2002218429"/>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1209138"/>
            <a:ext cx="8510400" cy="266301"/>
          </a:xfrm>
          <a:extLst>
            <a:ext uri="{909E8E84-426E-40DD-AFC4-6F175D3DCCD1}">
              <a14:hiddenFill xmlns:a14="http://schemas.microsoft.com/office/drawing/2010/main">
                <a:solidFill>
                  <a:schemeClr val="accent1"/>
                </a:solidFill>
              </a14:hiddenFill>
            </a:ext>
          </a:extLst>
        </p:spPr>
        <p:txBody>
          <a:bodyPr wrap="none" lIns="18000" anchor="ctr"/>
          <a:lstStyle>
            <a:lvl1pPr marL="0" indent="0" algn="l">
              <a:buFontTx/>
              <a:buNone/>
              <a:defRPr sz="1867" baseline="0">
                <a:solidFill>
                  <a:srgbClr val="009FDA"/>
                </a:solidFill>
              </a:defRPr>
            </a:lvl1pPr>
          </a:lstStyle>
          <a:p>
            <a:pPr lvl="0"/>
            <a:r>
              <a:rPr lang="en-US" noProof="0" dirty="0"/>
              <a:t>CLICK TO EDIT MASTER SUBTITLE STYLE</a:t>
            </a:r>
            <a:endParaRPr lang="en-GB" noProof="0" dirty="0"/>
          </a:p>
        </p:txBody>
      </p:sp>
      <p:sp>
        <p:nvSpPr>
          <p:cNvPr id="13" name="Title 1"/>
          <p:cNvSpPr>
            <a:spLocks noGrp="1"/>
          </p:cNvSpPr>
          <p:nvPr>
            <p:ph type="title"/>
          </p:nvPr>
        </p:nvSpPr>
        <p:spPr>
          <a:xfrm>
            <a:off x="316800" y="687230"/>
            <a:ext cx="8510400" cy="521883"/>
          </a:xfrm>
        </p:spPr>
        <p:txBody>
          <a:bodyPr/>
          <a:lstStyle>
            <a:lvl1pPr>
              <a:defRPr sz="32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0"/>
          <p:cNvSpPr>
            <a:spLocks noGrp="1"/>
          </p:cNvSpPr>
          <p:nvPr>
            <p:ph type="body" sz="quarter" idx="18"/>
          </p:nvPr>
        </p:nvSpPr>
        <p:spPr>
          <a:xfrm>
            <a:off x="318201" y="6301348"/>
            <a:ext cx="8509000" cy="391583"/>
          </a:xfrm>
        </p:spPr>
        <p:txBody>
          <a:bodyPr anchor="b"/>
          <a:lstStyle>
            <a:lvl1pPr marL="0" indent="0">
              <a:spcBef>
                <a:spcPts val="0"/>
              </a:spcBef>
              <a:spcAft>
                <a:spcPts val="0"/>
              </a:spcAft>
              <a:buNone/>
              <a:defRPr sz="800">
                <a:solidFill>
                  <a:srgbClr val="82786F"/>
                </a:solidFill>
              </a:defRPr>
            </a:lvl1pPr>
            <a:lvl2pPr marL="353474" indent="0">
              <a:buNone/>
              <a:defRPr sz="1200"/>
            </a:lvl2pPr>
            <a:lvl3pPr marL="715415" indent="0">
              <a:buNone/>
              <a:defRPr sz="1200"/>
            </a:lvl3pPr>
            <a:lvl4pPr marL="1077357" indent="0">
              <a:buNone/>
              <a:defRPr sz="1200"/>
            </a:lvl4pPr>
            <a:lvl5pPr marL="1430831" indent="0">
              <a:buNone/>
              <a:defRPr sz="1200"/>
            </a:lvl5pPr>
          </a:lstStyle>
          <a:p>
            <a:pPr lvl="0"/>
            <a:r>
              <a:rPr lang="en-US"/>
              <a:t>Click to edit Master text styles</a:t>
            </a:r>
          </a:p>
        </p:txBody>
      </p:sp>
    </p:spTree>
    <p:extLst>
      <p:ext uri="{BB962C8B-B14F-4D97-AF65-F5344CB8AC3E}">
        <p14:creationId xmlns:p14="http://schemas.microsoft.com/office/powerpoint/2010/main" val="3894394422"/>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318826" y="687234"/>
            <a:ext cx="6692499" cy="5006607"/>
          </a:xfrm>
        </p:spPr>
        <p:txBody>
          <a:bodyPr tIns="57600" anchor="t"/>
          <a:lstStyle>
            <a:lvl1pPr>
              <a:lnSpc>
                <a:spcPct val="90000"/>
              </a:lnSpc>
              <a:defRPr sz="8000" spc="-200"/>
            </a:lvl1pPr>
          </a:lstStyle>
          <a:p>
            <a:r>
              <a:rPr lang="en-US" noProof="0"/>
              <a:t>Click to edit Master title style</a:t>
            </a:r>
            <a:endParaRPr lang="en-GB" noProof="0" dirty="0"/>
          </a:p>
        </p:txBody>
      </p:sp>
      <p:sp>
        <p:nvSpPr>
          <p:cNvPr id="8" name="Text Placeholder 10"/>
          <p:cNvSpPr>
            <a:spLocks noGrp="1"/>
          </p:cNvSpPr>
          <p:nvPr>
            <p:ph type="body" sz="quarter" idx="18"/>
          </p:nvPr>
        </p:nvSpPr>
        <p:spPr>
          <a:xfrm>
            <a:off x="318201" y="6301348"/>
            <a:ext cx="8509000" cy="391583"/>
          </a:xfrm>
        </p:spPr>
        <p:txBody>
          <a:bodyPr anchor="b"/>
          <a:lstStyle>
            <a:lvl1pPr marL="0" indent="0">
              <a:spcBef>
                <a:spcPts val="0"/>
              </a:spcBef>
              <a:spcAft>
                <a:spcPts val="0"/>
              </a:spcAft>
              <a:buNone/>
              <a:defRPr sz="800">
                <a:solidFill>
                  <a:srgbClr val="82786F"/>
                </a:solidFill>
              </a:defRPr>
            </a:lvl1pPr>
            <a:lvl2pPr marL="353474" indent="0">
              <a:buNone/>
              <a:defRPr sz="1200"/>
            </a:lvl2pPr>
            <a:lvl3pPr marL="715415" indent="0">
              <a:buNone/>
              <a:defRPr sz="1200"/>
            </a:lvl3pPr>
            <a:lvl4pPr marL="1077357" indent="0">
              <a:buNone/>
              <a:defRPr sz="1200"/>
            </a:lvl4pPr>
            <a:lvl5pPr marL="1430831" indent="0">
              <a:buNone/>
              <a:defRPr sz="1200"/>
            </a:lvl5pPr>
          </a:lstStyle>
          <a:p>
            <a:pPr lvl="0"/>
            <a:r>
              <a:rPr lang="en-US"/>
              <a:t>Click to edit Master text styles</a:t>
            </a:r>
          </a:p>
        </p:txBody>
      </p:sp>
    </p:spTree>
    <p:extLst>
      <p:ext uri="{BB962C8B-B14F-4D97-AF65-F5344CB8AC3E}">
        <p14:creationId xmlns:p14="http://schemas.microsoft.com/office/powerpoint/2010/main" val="4089619323"/>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687230"/>
            <a:ext cx="8510400" cy="521883"/>
          </a:xfrm>
        </p:spPr>
        <p:txBody>
          <a:bodyPr/>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316801" y="1749631"/>
            <a:ext cx="40968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749631"/>
            <a:ext cx="40968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0"/>
          <p:cNvSpPr>
            <a:spLocks noGrp="1"/>
          </p:cNvSpPr>
          <p:nvPr>
            <p:ph type="body" sz="quarter" idx="18"/>
          </p:nvPr>
        </p:nvSpPr>
        <p:spPr>
          <a:xfrm>
            <a:off x="318201" y="6301348"/>
            <a:ext cx="8509000" cy="391583"/>
          </a:xfrm>
        </p:spPr>
        <p:txBody>
          <a:bodyPr anchor="b"/>
          <a:lstStyle>
            <a:lvl1pPr marL="0" indent="0">
              <a:spcBef>
                <a:spcPts val="0"/>
              </a:spcBef>
              <a:spcAft>
                <a:spcPts val="0"/>
              </a:spcAft>
              <a:buNone/>
              <a:defRPr sz="800">
                <a:solidFill>
                  <a:srgbClr val="82786F"/>
                </a:solidFill>
              </a:defRPr>
            </a:lvl1pPr>
            <a:lvl2pPr marL="353474" indent="0">
              <a:buNone/>
              <a:defRPr sz="1200"/>
            </a:lvl2pPr>
            <a:lvl3pPr marL="715415" indent="0">
              <a:buNone/>
              <a:defRPr sz="1200"/>
            </a:lvl3pPr>
            <a:lvl4pPr marL="1077357" indent="0">
              <a:buNone/>
              <a:defRPr sz="1200"/>
            </a:lvl4pPr>
            <a:lvl5pPr marL="1430831" indent="0">
              <a:buNone/>
              <a:defRPr sz="1200"/>
            </a:lvl5pPr>
          </a:lstStyle>
          <a:p>
            <a:pPr lvl="0"/>
            <a:r>
              <a:rPr lang="en-US"/>
              <a:t>Click to edit Master text styles</a:t>
            </a:r>
          </a:p>
        </p:txBody>
      </p:sp>
    </p:spTree>
    <p:extLst>
      <p:ext uri="{BB962C8B-B14F-4D97-AF65-F5344CB8AC3E}">
        <p14:creationId xmlns:p14="http://schemas.microsoft.com/office/powerpoint/2010/main" val="1138167806"/>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316800" y="687230"/>
            <a:ext cx="8510400" cy="521883"/>
          </a:xfrm>
        </p:spPr>
        <p:txBody>
          <a:bodyPr/>
          <a:lstStyle>
            <a:lvl1pPr>
              <a:defRPr sz="3200"/>
            </a:lvl1pPr>
          </a:lstStyle>
          <a:p>
            <a:r>
              <a:rPr lang="en-US" noProof="0"/>
              <a:t>Click to edit Master title style</a:t>
            </a:r>
            <a:endParaRPr lang="en-GB" noProof="0" dirty="0"/>
          </a:p>
        </p:txBody>
      </p:sp>
      <p:sp>
        <p:nvSpPr>
          <p:cNvPr id="24" name="Content Placeholder 2"/>
          <p:cNvSpPr>
            <a:spLocks noGrp="1"/>
          </p:cNvSpPr>
          <p:nvPr>
            <p:ph idx="1"/>
          </p:nvPr>
        </p:nvSpPr>
        <p:spPr>
          <a:xfrm>
            <a:off x="316800" y="1749632"/>
            <a:ext cx="8510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
          <p:cNvSpPr>
            <a:spLocks noGrp="1"/>
          </p:cNvSpPr>
          <p:nvPr>
            <p:ph idx="25"/>
          </p:nvPr>
        </p:nvSpPr>
        <p:spPr>
          <a:xfrm>
            <a:off x="316800" y="3831315"/>
            <a:ext cx="8510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0"/>
          <p:cNvSpPr>
            <a:spLocks noGrp="1"/>
          </p:cNvSpPr>
          <p:nvPr>
            <p:ph type="body" sz="quarter" idx="18"/>
          </p:nvPr>
        </p:nvSpPr>
        <p:spPr>
          <a:xfrm>
            <a:off x="318201" y="6301348"/>
            <a:ext cx="8509000" cy="391583"/>
          </a:xfrm>
        </p:spPr>
        <p:txBody>
          <a:bodyPr anchor="b"/>
          <a:lstStyle>
            <a:lvl1pPr marL="0" indent="0">
              <a:spcBef>
                <a:spcPts val="0"/>
              </a:spcBef>
              <a:spcAft>
                <a:spcPts val="0"/>
              </a:spcAft>
              <a:buNone/>
              <a:defRPr sz="800">
                <a:solidFill>
                  <a:srgbClr val="82786F"/>
                </a:solidFill>
              </a:defRPr>
            </a:lvl1pPr>
            <a:lvl2pPr marL="353474" indent="0">
              <a:buNone/>
              <a:defRPr sz="1200"/>
            </a:lvl2pPr>
            <a:lvl3pPr marL="715415" indent="0">
              <a:buNone/>
              <a:defRPr sz="1200"/>
            </a:lvl3pPr>
            <a:lvl4pPr marL="1077357" indent="0">
              <a:buNone/>
              <a:defRPr sz="1200"/>
            </a:lvl4pPr>
            <a:lvl5pPr marL="1430831" indent="0">
              <a:buNone/>
              <a:defRPr sz="1200"/>
            </a:lvl5pPr>
          </a:lstStyle>
          <a:p>
            <a:pPr lvl="0"/>
            <a:r>
              <a:rPr lang="en-US"/>
              <a:t>Click to edit Master text styles</a:t>
            </a:r>
          </a:p>
        </p:txBody>
      </p:sp>
    </p:spTree>
    <p:extLst>
      <p:ext uri="{BB962C8B-B14F-4D97-AF65-F5344CB8AC3E}">
        <p14:creationId xmlns:p14="http://schemas.microsoft.com/office/powerpoint/2010/main" val="1063826554"/>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27"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6 title</a:t>
            </a:r>
          </a:p>
        </p:txBody>
      </p:sp>
      <p:sp>
        <p:nvSpPr>
          <p:cNvPr id="22" name="Table Placeholder 29"/>
          <p:cNvSpPr>
            <a:spLocks noGrp="1"/>
          </p:cNvSpPr>
          <p:nvPr>
            <p:ph type="tbl" sz="quarter" idx="15"/>
          </p:nvPr>
        </p:nvSpPr>
        <p:spPr>
          <a:xfrm>
            <a:off x="987429" y="1731133"/>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3" name="Text Placeholder 2"/>
          <p:cNvSpPr>
            <a:spLocks noGrp="1"/>
          </p:cNvSpPr>
          <p:nvPr>
            <p:ph type="body" sz="quarter" idx="14"/>
          </p:nvPr>
        </p:nvSpPr>
        <p:spPr>
          <a:xfrm>
            <a:off x="1046700" y="1879896"/>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731600"/>
            <a:ext cx="540000" cy="540000"/>
          </a:xfrm>
          <a:prstGeom prst="rect">
            <a:avLst/>
          </a:prstGeom>
          <a:solidFill>
            <a:srgbClr val="83005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1</a:t>
            </a:r>
          </a:p>
        </p:txBody>
      </p:sp>
      <p:sp>
        <p:nvSpPr>
          <p:cNvPr id="28" name="Table Placeholder 29"/>
          <p:cNvSpPr>
            <a:spLocks noGrp="1"/>
          </p:cNvSpPr>
          <p:nvPr>
            <p:ph type="tbl" sz="quarter" idx="27"/>
          </p:nvPr>
        </p:nvSpPr>
        <p:spPr>
          <a:xfrm>
            <a:off x="987429" y="240348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9" name="Text Placeholder 2"/>
          <p:cNvSpPr>
            <a:spLocks noGrp="1"/>
          </p:cNvSpPr>
          <p:nvPr>
            <p:ph type="body" sz="quarter" idx="28"/>
          </p:nvPr>
        </p:nvSpPr>
        <p:spPr>
          <a:xfrm>
            <a:off x="1046700" y="2552256"/>
            <a:ext cx="5718173"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1" name="Text Placeholder 49"/>
          <p:cNvSpPr>
            <a:spLocks noGrp="1"/>
          </p:cNvSpPr>
          <p:nvPr>
            <p:ph type="body" sz="quarter" idx="29" hasCustomPrompt="1"/>
          </p:nvPr>
        </p:nvSpPr>
        <p:spPr>
          <a:xfrm>
            <a:off x="330200" y="2403956"/>
            <a:ext cx="540000" cy="540000"/>
          </a:xfrm>
          <a:prstGeom prst="rect">
            <a:avLst/>
          </a:prstGeom>
          <a:solidFill>
            <a:srgbClr val="83005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2</a:t>
            </a:r>
          </a:p>
        </p:txBody>
      </p:sp>
      <p:sp>
        <p:nvSpPr>
          <p:cNvPr id="32" name="Table Placeholder 29"/>
          <p:cNvSpPr>
            <a:spLocks noGrp="1"/>
          </p:cNvSpPr>
          <p:nvPr>
            <p:ph type="tbl" sz="quarter" idx="30"/>
          </p:nvPr>
        </p:nvSpPr>
        <p:spPr>
          <a:xfrm>
            <a:off x="987429" y="3082231"/>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3" name="Text Placeholder 2"/>
          <p:cNvSpPr>
            <a:spLocks noGrp="1"/>
          </p:cNvSpPr>
          <p:nvPr>
            <p:ph type="body" sz="quarter" idx="31"/>
          </p:nvPr>
        </p:nvSpPr>
        <p:spPr>
          <a:xfrm>
            <a:off x="1046700" y="3230997"/>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4" name="Text Placeholder 49"/>
          <p:cNvSpPr>
            <a:spLocks noGrp="1"/>
          </p:cNvSpPr>
          <p:nvPr>
            <p:ph type="body" sz="quarter" idx="32" hasCustomPrompt="1"/>
          </p:nvPr>
        </p:nvSpPr>
        <p:spPr>
          <a:xfrm>
            <a:off x="330200" y="3082699"/>
            <a:ext cx="54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5" name="Table Placeholder 29"/>
          <p:cNvSpPr>
            <a:spLocks noGrp="1"/>
          </p:cNvSpPr>
          <p:nvPr>
            <p:ph type="tbl" sz="quarter" idx="33"/>
          </p:nvPr>
        </p:nvSpPr>
        <p:spPr>
          <a:xfrm>
            <a:off x="987429" y="3763175"/>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6" name="Text Placeholder 2"/>
          <p:cNvSpPr>
            <a:spLocks noGrp="1"/>
          </p:cNvSpPr>
          <p:nvPr>
            <p:ph type="body" sz="quarter" idx="34"/>
          </p:nvPr>
        </p:nvSpPr>
        <p:spPr>
          <a:xfrm>
            <a:off x="1046700" y="3911936"/>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7" name="Text Placeholder 49"/>
          <p:cNvSpPr>
            <a:spLocks noGrp="1"/>
          </p:cNvSpPr>
          <p:nvPr>
            <p:ph type="body" sz="quarter" idx="35" hasCustomPrompt="1"/>
          </p:nvPr>
        </p:nvSpPr>
        <p:spPr>
          <a:xfrm>
            <a:off x="330200" y="3763643"/>
            <a:ext cx="54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8" name="Table Placeholder 29"/>
          <p:cNvSpPr>
            <a:spLocks noGrp="1"/>
          </p:cNvSpPr>
          <p:nvPr>
            <p:ph type="tbl" sz="quarter" idx="36"/>
          </p:nvPr>
        </p:nvSpPr>
        <p:spPr>
          <a:xfrm>
            <a:off x="987429" y="444087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9" name="Text Placeholder 2"/>
          <p:cNvSpPr>
            <a:spLocks noGrp="1"/>
          </p:cNvSpPr>
          <p:nvPr>
            <p:ph type="body" sz="quarter" idx="37"/>
          </p:nvPr>
        </p:nvSpPr>
        <p:spPr>
          <a:xfrm>
            <a:off x="1046700" y="4589644"/>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0" name="Text Placeholder 49"/>
          <p:cNvSpPr>
            <a:spLocks noGrp="1"/>
          </p:cNvSpPr>
          <p:nvPr>
            <p:ph type="body" sz="quarter" idx="38" hasCustomPrompt="1"/>
          </p:nvPr>
        </p:nvSpPr>
        <p:spPr>
          <a:xfrm>
            <a:off x="330200" y="4441345"/>
            <a:ext cx="540000" cy="540000"/>
          </a:xfrm>
          <a:prstGeom prst="rect">
            <a:avLst/>
          </a:prstGeom>
          <a:solidFill>
            <a:schemeClr val="tx2"/>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1" name="Table Placeholder 29"/>
          <p:cNvSpPr>
            <a:spLocks noGrp="1"/>
          </p:cNvSpPr>
          <p:nvPr>
            <p:ph type="tbl" sz="quarter" idx="39"/>
          </p:nvPr>
        </p:nvSpPr>
        <p:spPr>
          <a:xfrm>
            <a:off x="987429" y="5129167"/>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2" name="Text Placeholder 2"/>
          <p:cNvSpPr>
            <a:spLocks noGrp="1"/>
          </p:cNvSpPr>
          <p:nvPr>
            <p:ph type="body" sz="quarter" idx="40"/>
          </p:nvPr>
        </p:nvSpPr>
        <p:spPr>
          <a:xfrm>
            <a:off x="1046700" y="5277933"/>
            <a:ext cx="5718173" cy="394199"/>
          </a:xfrm>
          <a:prstGeom prst="rect">
            <a:avLst/>
          </a:prstGeom>
        </p:spPr>
        <p:txBody>
          <a:bodyPr vert="horz"/>
          <a:lstStyle>
            <a:lvl1pPr marL="0" indent="0">
              <a:lnSpc>
                <a:spcPct val="60000"/>
              </a:lnSpc>
              <a:buNone/>
              <a:defRPr sz="20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3" name="Text Placeholder 49"/>
          <p:cNvSpPr>
            <a:spLocks noGrp="1"/>
          </p:cNvSpPr>
          <p:nvPr>
            <p:ph type="body" sz="quarter" idx="41" hasCustomPrompt="1"/>
          </p:nvPr>
        </p:nvSpPr>
        <p:spPr>
          <a:xfrm>
            <a:off x="330200" y="5129635"/>
            <a:ext cx="540000" cy="540000"/>
          </a:xfrm>
          <a:prstGeom prst="rect">
            <a:avLst/>
          </a:prstGeom>
          <a:solidFill>
            <a:srgbClr val="D8DCDE"/>
          </a:solidFill>
          <a:ln w="19050" cmpd="sng">
            <a:noFill/>
          </a:ln>
        </p:spPr>
        <p:txBody>
          <a:bodyPr vert="horz" anchor="ctr"/>
          <a:lstStyle>
            <a:lvl1pPr marL="0" indent="0" algn="ctr">
              <a:lnSpc>
                <a:spcPts val="2800"/>
              </a:lnSpc>
              <a:spcBef>
                <a:spcPts val="0"/>
              </a:spcBef>
              <a:buNone/>
              <a:defRPr sz="2400" b="1">
                <a:solidFill>
                  <a:srgbClr val="830051"/>
                </a:solidFill>
                <a:latin typeface="Arial" pitchFamily="34" charset="0"/>
                <a:cs typeface="Arial" pitchFamily="34" charset="0"/>
              </a:defRPr>
            </a:lvl1pPr>
          </a:lstStyle>
          <a:p>
            <a:pPr lvl="0"/>
            <a:r>
              <a:rPr lang="en-GB" noProof="0" dirty="0"/>
              <a:t>6</a:t>
            </a:r>
          </a:p>
        </p:txBody>
      </p:sp>
      <p:sp>
        <p:nvSpPr>
          <p:cNvPr id="26"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89043302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316800" y="687230"/>
            <a:ext cx="8510400" cy="521883"/>
          </a:xfrm>
        </p:spPr>
        <p:txBody>
          <a:bodyPr/>
          <a:lstStyle>
            <a:lvl1pPr>
              <a:defRPr sz="3200"/>
            </a:lvl1pPr>
          </a:lstStyle>
          <a:p>
            <a:r>
              <a:rPr lang="en-US" noProof="0"/>
              <a:t>Click to edit Master title style</a:t>
            </a:r>
            <a:endParaRPr lang="en-GB" noProof="0" dirty="0"/>
          </a:p>
        </p:txBody>
      </p:sp>
      <p:sp>
        <p:nvSpPr>
          <p:cNvPr id="27" name="Content Placeholder 2"/>
          <p:cNvSpPr>
            <a:spLocks noGrp="1"/>
          </p:cNvSpPr>
          <p:nvPr>
            <p:ph idx="1"/>
          </p:nvPr>
        </p:nvSpPr>
        <p:spPr>
          <a:xfrm>
            <a:off x="316800" y="1749631"/>
            <a:ext cx="2623250"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
          <p:cNvSpPr>
            <a:spLocks noGrp="1"/>
          </p:cNvSpPr>
          <p:nvPr>
            <p:ph idx="10"/>
          </p:nvPr>
        </p:nvSpPr>
        <p:spPr>
          <a:xfrm>
            <a:off x="3260377" y="1749631"/>
            <a:ext cx="2623250"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Content Placeholder 2"/>
          <p:cNvSpPr>
            <a:spLocks noGrp="1"/>
          </p:cNvSpPr>
          <p:nvPr>
            <p:ph idx="11"/>
          </p:nvPr>
        </p:nvSpPr>
        <p:spPr>
          <a:xfrm>
            <a:off x="6203950" y="1749631"/>
            <a:ext cx="2623250"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ext Placeholder 10"/>
          <p:cNvSpPr>
            <a:spLocks noGrp="1"/>
          </p:cNvSpPr>
          <p:nvPr>
            <p:ph type="body" sz="quarter" idx="18"/>
          </p:nvPr>
        </p:nvSpPr>
        <p:spPr>
          <a:xfrm>
            <a:off x="318201" y="6301348"/>
            <a:ext cx="8509000" cy="391583"/>
          </a:xfrm>
        </p:spPr>
        <p:txBody>
          <a:bodyPr anchor="b"/>
          <a:lstStyle>
            <a:lvl1pPr marL="0" indent="0">
              <a:spcBef>
                <a:spcPts val="0"/>
              </a:spcBef>
              <a:spcAft>
                <a:spcPts val="0"/>
              </a:spcAft>
              <a:buNone/>
              <a:defRPr sz="800">
                <a:solidFill>
                  <a:srgbClr val="82786F"/>
                </a:solidFill>
              </a:defRPr>
            </a:lvl1pPr>
            <a:lvl2pPr marL="353474" indent="0">
              <a:buNone/>
              <a:defRPr sz="1200"/>
            </a:lvl2pPr>
            <a:lvl3pPr marL="715415" indent="0">
              <a:buNone/>
              <a:defRPr sz="1200"/>
            </a:lvl3pPr>
            <a:lvl4pPr marL="1077357" indent="0">
              <a:buNone/>
              <a:defRPr sz="1200"/>
            </a:lvl4pPr>
            <a:lvl5pPr marL="1430831" indent="0">
              <a:buNone/>
              <a:defRPr sz="1200"/>
            </a:lvl5pPr>
          </a:lstStyle>
          <a:p>
            <a:pPr lvl="0"/>
            <a:r>
              <a:rPr lang="en-US"/>
              <a:t>Click to edit Master text styles</a:t>
            </a:r>
          </a:p>
        </p:txBody>
      </p:sp>
    </p:spTree>
    <p:extLst>
      <p:ext uri="{BB962C8B-B14F-4D97-AF65-F5344CB8AC3E}">
        <p14:creationId xmlns:p14="http://schemas.microsoft.com/office/powerpoint/2010/main" val="3064563813"/>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316800" y="687230"/>
            <a:ext cx="8510400" cy="521883"/>
          </a:xfrm>
        </p:spPr>
        <p:txBody>
          <a:bodyPr/>
          <a:lstStyle>
            <a:lvl1pPr>
              <a:defRPr sz="3200"/>
            </a:lvl1pPr>
          </a:lstStyle>
          <a:p>
            <a:r>
              <a:rPr lang="en-US" noProof="0"/>
              <a:t>Click to edit Master title style</a:t>
            </a:r>
            <a:endParaRPr lang="en-GB" noProof="0" dirty="0"/>
          </a:p>
        </p:txBody>
      </p:sp>
      <p:sp>
        <p:nvSpPr>
          <p:cNvPr id="10" name="Content Placeholder 2"/>
          <p:cNvSpPr>
            <a:spLocks noGrp="1"/>
          </p:cNvSpPr>
          <p:nvPr>
            <p:ph idx="10"/>
          </p:nvPr>
        </p:nvSpPr>
        <p:spPr>
          <a:xfrm>
            <a:off x="4730400" y="1749632"/>
            <a:ext cx="40968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2"/>
          <p:cNvSpPr>
            <a:spLocks noGrp="1"/>
          </p:cNvSpPr>
          <p:nvPr>
            <p:ph idx="26"/>
          </p:nvPr>
        </p:nvSpPr>
        <p:spPr>
          <a:xfrm>
            <a:off x="316801" y="1749632"/>
            <a:ext cx="40968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2"/>
          <p:cNvSpPr>
            <a:spLocks noGrp="1"/>
          </p:cNvSpPr>
          <p:nvPr>
            <p:ph idx="27"/>
          </p:nvPr>
        </p:nvSpPr>
        <p:spPr>
          <a:xfrm>
            <a:off x="4729512" y="3831316"/>
            <a:ext cx="40968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
          <p:cNvSpPr>
            <a:spLocks noGrp="1"/>
          </p:cNvSpPr>
          <p:nvPr>
            <p:ph idx="28"/>
          </p:nvPr>
        </p:nvSpPr>
        <p:spPr>
          <a:xfrm>
            <a:off x="315913" y="3831316"/>
            <a:ext cx="40968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Text Placeholder 10"/>
          <p:cNvSpPr>
            <a:spLocks noGrp="1"/>
          </p:cNvSpPr>
          <p:nvPr>
            <p:ph type="body" sz="quarter" idx="18"/>
          </p:nvPr>
        </p:nvSpPr>
        <p:spPr>
          <a:xfrm>
            <a:off x="318201" y="6301348"/>
            <a:ext cx="8509000" cy="391583"/>
          </a:xfrm>
        </p:spPr>
        <p:txBody>
          <a:bodyPr anchor="b"/>
          <a:lstStyle>
            <a:lvl1pPr marL="0" indent="0">
              <a:spcBef>
                <a:spcPts val="0"/>
              </a:spcBef>
              <a:spcAft>
                <a:spcPts val="0"/>
              </a:spcAft>
              <a:buNone/>
              <a:defRPr sz="800">
                <a:solidFill>
                  <a:srgbClr val="82786F"/>
                </a:solidFill>
              </a:defRPr>
            </a:lvl1pPr>
            <a:lvl2pPr marL="353474" indent="0">
              <a:buNone/>
              <a:defRPr sz="1200"/>
            </a:lvl2pPr>
            <a:lvl3pPr marL="715415" indent="0">
              <a:buNone/>
              <a:defRPr sz="1200"/>
            </a:lvl3pPr>
            <a:lvl4pPr marL="1077357" indent="0">
              <a:buNone/>
              <a:defRPr sz="1200"/>
            </a:lvl4pPr>
            <a:lvl5pPr marL="1430831" indent="0">
              <a:buNone/>
              <a:defRPr sz="1200"/>
            </a:lvl5pPr>
          </a:lstStyle>
          <a:p>
            <a:pPr lvl="0"/>
            <a:r>
              <a:rPr lang="en-US"/>
              <a:t>Click to edit Master text styles</a:t>
            </a:r>
          </a:p>
        </p:txBody>
      </p:sp>
    </p:spTree>
    <p:extLst>
      <p:ext uri="{BB962C8B-B14F-4D97-AF65-F5344CB8AC3E}">
        <p14:creationId xmlns:p14="http://schemas.microsoft.com/office/powerpoint/2010/main" val="4104962233"/>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10"/>
          <p:cNvSpPr>
            <a:spLocks noGrp="1"/>
          </p:cNvSpPr>
          <p:nvPr>
            <p:ph type="body" sz="quarter" idx="18"/>
          </p:nvPr>
        </p:nvSpPr>
        <p:spPr>
          <a:xfrm>
            <a:off x="318201" y="6301348"/>
            <a:ext cx="8509000" cy="391583"/>
          </a:xfrm>
        </p:spPr>
        <p:txBody>
          <a:bodyPr anchor="b"/>
          <a:lstStyle>
            <a:lvl1pPr marL="0" indent="0">
              <a:spcBef>
                <a:spcPts val="0"/>
              </a:spcBef>
              <a:spcAft>
                <a:spcPts val="0"/>
              </a:spcAft>
              <a:buNone/>
              <a:defRPr sz="800">
                <a:solidFill>
                  <a:srgbClr val="82786F"/>
                </a:solidFill>
              </a:defRPr>
            </a:lvl1pPr>
            <a:lvl2pPr marL="353474" indent="0">
              <a:buNone/>
              <a:defRPr sz="1200"/>
            </a:lvl2pPr>
            <a:lvl3pPr marL="715415" indent="0">
              <a:buNone/>
              <a:defRPr sz="1200"/>
            </a:lvl3pPr>
            <a:lvl4pPr marL="1077357" indent="0">
              <a:buNone/>
              <a:defRPr sz="1200"/>
            </a:lvl4pPr>
            <a:lvl5pPr marL="1430831" indent="0">
              <a:buNone/>
              <a:defRPr sz="1200"/>
            </a:lvl5pPr>
          </a:lstStyle>
          <a:p>
            <a:pPr lvl="0"/>
            <a:r>
              <a:rPr lang="en-US"/>
              <a:t>Click to edit Master text styles</a:t>
            </a:r>
          </a:p>
        </p:txBody>
      </p:sp>
    </p:spTree>
    <p:extLst>
      <p:ext uri="{BB962C8B-B14F-4D97-AF65-F5344CB8AC3E}">
        <p14:creationId xmlns:p14="http://schemas.microsoft.com/office/powerpoint/2010/main" val="2823783311"/>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4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687230"/>
            <a:ext cx="8510400" cy="521883"/>
          </a:xfrm>
        </p:spPr>
        <p:txBody>
          <a:bodyPr/>
          <a:lstStyle>
            <a:lvl1pPr>
              <a:defRPr sz="3200"/>
            </a:lvl1pPr>
          </a:lstStyle>
          <a:p>
            <a:r>
              <a:rPr lang="en-US" noProof="0"/>
              <a:t>Click to edit Master title style</a:t>
            </a:r>
            <a:endParaRPr lang="en-GB" noProof="0" dirty="0"/>
          </a:p>
        </p:txBody>
      </p:sp>
      <p:sp>
        <p:nvSpPr>
          <p:cNvPr id="11" name="Text Placeholder 10"/>
          <p:cNvSpPr>
            <a:spLocks noGrp="1"/>
          </p:cNvSpPr>
          <p:nvPr>
            <p:ph type="body" sz="quarter" idx="18"/>
          </p:nvPr>
        </p:nvSpPr>
        <p:spPr>
          <a:xfrm>
            <a:off x="318201" y="6301349"/>
            <a:ext cx="8509000" cy="391583"/>
          </a:xfrm>
        </p:spPr>
        <p:txBody>
          <a:bodyPr anchor="b"/>
          <a:lstStyle>
            <a:lvl1pPr marL="0" indent="0">
              <a:spcBef>
                <a:spcPts val="0"/>
              </a:spcBef>
              <a:spcAft>
                <a:spcPts val="0"/>
              </a:spcAft>
              <a:buNone/>
              <a:defRPr sz="800">
                <a:solidFill>
                  <a:srgbClr val="82786F"/>
                </a:solidFill>
              </a:defRPr>
            </a:lvl1pPr>
            <a:lvl2pPr marL="353466" indent="0">
              <a:buNone/>
              <a:defRPr sz="1200"/>
            </a:lvl2pPr>
            <a:lvl3pPr marL="715397" indent="0">
              <a:buNone/>
              <a:defRPr sz="1200"/>
            </a:lvl3pPr>
            <a:lvl4pPr marL="1077330" indent="0">
              <a:buNone/>
              <a:defRPr sz="1200"/>
            </a:lvl4pPr>
            <a:lvl5pPr marL="1430795" indent="0">
              <a:buNone/>
              <a:defRPr sz="1200"/>
            </a:lvl5pPr>
          </a:lstStyle>
          <a:p>
            <a:pPr lvl="0"/>
            <a:r>
              <a:rPr lang="en-US"/>
              <a:t>Click to edit Master text styles</a:t>
            </a:r>
          </a:p>
        </p:txBody>
      </p:sp>
    </p:spTree>
    <p:extLst>
      <p:ext uri="{BB962C8B-B14F-4D97-AF65-F5344CB8AC3E}">
        <p14:creationId xmlns:p14="http://schemas.microsoft.com/office/powerpoint/2010/main" val="3492907395"/>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4_Normal">
    <p:spTree>
      <p:nvGrpSpPr>
        <p:cNvPr id="1" name=""/>
        <p:cNvGrpSpPr/>
        <p:nvPr/>
      </p:nvGrpSpPr>
      <p:grpSpPr>
        <a:xfrm>
          <a:off x="0" y="0"/>
          <a:ext cx="0" cy="0"/>
          <a:chOff x="0" y="0"/>
          <a:chExt cx="0" cy="0"/>
        </a:xfrm>
      </p:grpSpPr>
      <p:sp>
        <p:nvSpPr>
          <p:cNvPr id="11" name="Title 1"/>
          <p:cNvSpPr>
            <a:spLocks noGrp="1"/>
          </p:cNvSpPr>
          <p:nvPr>
            <p:ph type="title"/>
          </p:nvPr>
        </p:nvSpPr>
        <p:spPr>
          <a:xfrm>
            <a:off x="316800" y="687230"/>
            <a:ext cx="8510400" cy="521883"/>
          </a:xfrm>
        </p:spPr>
        <p:txBody>
          <a:bodyPr/>
          <a:lstStyle>
            <a:lvl1pPr>
              <a:defRPr sz="32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a:xfrm>
            <a:off x="8515351" y="139731"/>
            <a:ext cx="311150" cy="135467"/>
          </a:xfrm>
          <a:prstGeom prst="rect">
            <a:avLst/>
          </a:prstGeom>
          <a:ln/>
        </p:spPr>
        <p:txBody>
          <a:bodyPr/>
          <a:lstStyle>
            <a:lvl1pPr>
              <a:defRPr/>
            </a:lvl1pPr>
          </a:lstStyle>
          <a:p>
            <a:pPr fontAlgn="auto">
              <a:spcBef>
                <a:spcPts val="0"/>
              </a:spcBef>
              <a:spcAft>
                <a:spcPts val="0"/>
              </a:spcAft>
              <a:defRPr/>
            </a:pPr>
            <a:fld id="{CBE9FAB3-31B1-409E-92E4-4C0885D0CD84}" type="slidenum">
              <a:rPr lang="en-GB" sz="1800" b="0">
                <a:solidFill>
                  <a:srgbClr val="001965"/>
                </a:solidFill>
                <a:latin typeface="Verdana"/>
                <a:cs typeface="Lucida Sans Unicode" pitchFamily="34" charset="0"/>
              </a:rPr>
              <a:pPr fontAlgn="auto">
                <a:spcBef>
                  <a:spcPts val="0"/>
                </a:spcBef>
                <a:spcAft>
                  <a:spcPts val="0"/>
                </a:spcAft>
                <a:defRPr/>
              </a:pPr>
              <a:t>‹#›</a:t>
            </a:fld>
            <a:endParaRPr lang="en-GB" sz="1800" b="0" dirty="0">
              <a:solidFill>
                <a:srgbClr val="001965"/>
              </a:solidFill>
              <a:latin typeface="Verdana"/>
              <a:cs typeface="Lucida Sans Unicode" pitchFamily="34" charset="0"/>
            </a:endParaRPr>
          </a:p>
        </p:txBody>
      </p:sp>
      <p:sp>
        <p:nvSpPr>
          <p:cNvPr id="5" name="Rectangle 5"/>
          <p:cNvSpPr>
            <a:spLocks noGrp="1" noChangeArrowheads="1"/>
          </p:cNvSpPr>
          <p:nvPr>
            <p:ph type="ftr" sz="quarter" idx="11"/>
          </p:nvPr>
        </p:nvSpPr>
        <p:spPr>
          <a:xfrm>
            <a:off x="4173540" y="137615"/>
            <a:ext cx="2900362" cy="135467"/>
          </a:xfrm>
          <a:prstGeom prst="rect">
            <a:avLst/>
          </a:prstGeom>
          <a:ln/>
        </p:spPr>
        <p:txBody>
          <a:bodyPr/>
          <a:lstStyle>
            <a:lvl1pPr>
              <a:defRPr/>
            </a:lvl1pPr>
          </a:lstStyle>
          <a:p>
            <a:pPr fontAlgn="auto">
              <a:spcBef>
                <a:spcPts val="0"/>
              </a:spcBef>
              <a:spcAft>
                <a:spcPts val="0"/>
              </a:spcAft>
              <a:defRPr/>
            </a:pPr>
            <a:endParaRPr lang="en-GB" sz="1800" b="0" dirty="0">
              <a:solidFill>
                <a:srgbClr val="001965"/>
              </a:solidFill>
              <a:latin typeface="Verdana"/>
              <a:cs typeface="Lucida Sans Unicode" pitchFamily="34" charset="0"/>
            </a:endParaRPr>
          </a:p>
        </p:txBody>
      </p:sp>
      <p:sp>
        <p:nvSpPr>
          <p:cNvPr id="7" name="Rectangle 81"/>
          <p:cNvSpPr>
            <a:spLocks noGrp="1" noChangeArrowheads="1"/>
          </p:cNvSpPr>
          <p:nvPr>
            <p:ph type="dt" sz="half" idx="12"/>
          </p:nvPr>
        </p:nvSpPr>
        <p:spPr>
          <a:xfrm>
            <a:off x="7186619" y="137615"/>
            <a:ext cx="1201737" cy="135467"/>
          </a:xfrm>
          <a:prstGeom prst="rect">
            <a:avLst/>
          </a:prstGeom>
          <a:ln/>
        </p:spPr>
        <p:txBody>
          <a:bodyPr/>
          <a:lstStyle>
            <a:lvl1pPr>
              <a:defRPr/>
            </a:lvl1pPr>
          </a:lstStyle>
          <a:p>
            <a:pPr fontAlgn="auto">
              <a:spcBef>
                <a:spcPts val="0"/>
              </a:spcBef>
              <a:spcAft>
                <a:spcPts val="0"/>
              </a:spcAft>
              <a:defRPr/>
            </a:pPr>
            <a:endParaRPr lang="en-GB" sz="1800" b="0" dirty="0">
              <a:solidFill>
                <a:srgbClr val="001965"/>
              </a:solidFill>
              <a:latin typeface="Verdana"/>
              <a:cs typeface="Lucida Sans Unicode" pitchFamily="34" charset="0"/>
            </a:endParaRPr>
          </a:p>
        </p:txBody>
      </p:sp>
      <p:sp>
        <p:nvSpPr>
          <p:cNvPr id="9" name="Text Placeholder 10"/>
          <p:cNvSpPr>
            <a:spLocks noGrp="1"/>
          </p:cNvSpPr>
          <p:nvPr>
            <p:ph type="body" sz="quarter" idx="18"/>
          </p:nvPr>
        </p:nvSpPr>
        <p:spPr>
          <a:xfrm>
            <a:off x="318201" y="6301352"/>
            <a:ext cx="8509000" cy="391583"/>
          </a:xfrm>
        </p:spPr>
        <p:txBody>
          <a:bodyPr anchor="b"/>
          <a:lstStyle>
            <a:lvl1pPr marL="0" indent="0">
              <a:spcBef>
                <a:spcPts val="0"/>
              </a:spcBef>
              <a:spcAft>
                <a:spcPts val="0"/>
              </a:spcAft>
              <a:buNone/>
              <a:defRPr sz="800">
                <a:solidFill>
                  <a:srgbClr val="82786F"/>
                </a:solidFill>
              </a:defRPr>
            </a:lvl1pPr>
            <a:lvl2pPr marL="353466" indent="0">
              <a:buNone/>
              <a:defRPr sz="1200"/>
            </a:lvl2pPr>
            <a:lvl3pPr marL="715397" indent="0">
              <a:buNone/>
              <a:defRPr sz="1200"/>
            </a:lvl3pPr>
            <a:lvl4pPr marL="1077330" indent="0">
              <a:buNone/>
              <a:defRPr sz="1200"/>
            </a:lvl4pPr>
            <a:lvl5pPr marL="1430795" indent="0">
              <a:buNone/>
              <a:defRPr sz="1200"/>
            </a:lvl5pPr>
          </a:lstStyle>
          <a:p>
            <a:pPr lvl="0"/>
            <a:r>
              <a:rPr lang="en-US"/>
              <a:t>Click to edit Master text styles</a:t>
            </a:r>
          </a:p>
        </p:txBody>
      </p:sp>
    </p:spTree>
    <p:extLst>
      <p:ext uri="{BB962C8B-B14F-4D97-AF65-F5344CB8AC3E}">
        <p14:creationId xmlns:p14="http://schemas.microsoft.com/office/powerpoint/2010/main" val="1028272575"/>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42004"/>
            <a:ext cx="8510400" cy="4348687"/>
          </a:xfrm>
        </p:spPr>
        <p:txBody>
          <a:bodyPr/>
          <a:lstStyle>
            <a:lvl1pPr>
              <a:spcBef>
                <a:spcPts val="800"/>
              </a:spcBef>
              <a:spcAft>
                <a:spcPts val="8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687230"/>
            <a:ext cx="8510400" cy="521883"/>
          </a:xfrm>
        </p:spPr>
        <p:txBody>
          <a:bodyPr/>
          <a:lstStyle>
            <a:lvl1pPr>
              <a:defRPr sz="2800"/>
            </a:lvl1pPr>
          </a:lstStyle>
          <a:p>
            <a:r>
              <a:rPr lang="en-US" noProof="0"/>
              <a:t>Click to edit Master title style</a:t>
            </a:r>
            <a:endParaRPr lang="en-GB" noProof="0" dirty="0"/>
          </a:p>
        </p:txBody>
      </p:sp>
      <p:sp>
        <p:nvSpPr>
          <p:cNvPr id="3" name="Text Placeholder 2"/>
          <p:cNvSpPr>
            <a:spLocks noGrp="1"/>
          </p:cNvSpPr>
          <p:nvPr>
            <p:ph type="body" sz="quarter" idx="10" hasCustomPrompt="1"/>
          </p:nvPr>
        </p:nvSpPr>
        <p:spPr>
          <a:xfrm>
            <a:off x="316800" y="5618565"/>
            <a:ext cx="8509700" cy="1027768"/>
          </a:xfrm>
        </p:spPr>
        <p:txBody>
          <a:bodyPr anchor="b"/>
          <a:lstStyle>
            <a:lvl1pPr marL="0" marR="0" indent="0" algn="l" defTabSz="1219170" rtl="0" eaLnBrk="1" fontAlgn="base" latinLnBrk="0" hangingPunct="1">
              <a:lnSpc>
                <a:spcPct val="100000"/>
              </a:lnSpc>
              <a:spcBef>
                <a:spcPts val="0"/>
              </a:spcBef>
              <a:spcAft>
                <a:spcPts val="0"/>
              </a:spcAft>
              <a:buClr>
                <a:schemeClr val="accent1"/>
              </a:buClr>
              <a:buSzTx/>
              <a:buFont typeface="Verdana" pitchFamily="34" charset="0"/>
              <a:buNone/>
              <a:tabLst/>
              <a:defRPr sz="1067" baseline="0">
                <a:solidFill>
                  <a:srgbClr val="82786F"/>
                </a:solidFill>
              </a:defRPr>
            </a:lvl1pPr>
          </a:lstStyle>
          <a:p>
            <a:r>
              <a:rPr lang="da-DK" dirty="0"/>
              <a:t>Please enter footnotes and references here.</a:t>
            </a:r>
          </a:p>
          <a:p>
            <a:r>
              <a:rPr lang="da-DK" dirty="0"/>
              <a:t>[Set to NN Granite grey; Verdana (body) 8pt]</a:t>
            </a:r>
          </a:p>
        </p:txBody>
      </p:sp>
    </p:spTree>
    <p:extLst>
      <p:ext uri="{BB962C8B-B14F-4D97-AF65-F5344CB8AC3E}">
        <p14:creationId xmlns:p14="http://schemas.microsoft.com/office/powerpoint/2010/main" val="3761454278"/>
      </p:ext>
    </p:extLst>
  </p:cSld>
  <p:clrMapOvr>
    <a:masterClrMapping/>
  </p:clrMapOvr>
  <p:transition/>
  <p:extLst mod="1">
    <p:ext uri="{DCECCB84-F9BA-43D5-87BE-67443E8EF086}">
      <p15:sldGuideLst xmlns:p15="http://schemas.microsoft.com/office/powerpoint/2012/main">
        <p15:guide id="1" orient="horz" pos="3140">
          <p15:clr>
            <a:srgbClr val="FBAE40"/>
          </p15:clr>
        </p15:guide>
        <p15:guide id="2" pos="288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411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2119"/>
                        <a:ext cx="1587" cy="2116"/>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457200" y="2102490"/>
            <a:ext cx="3600000" cy="984885"/>
          </a:xfrm>
        </p:spPr>
        <p:txBody>
          <a:bodyPr anchor="b" anchorCtr="0">
            <a:spAutoFit/>
          </a:bodyPr>
          <a:lstStyle>
            <a:lvl1pPr algn="l">
              <a:defRPr sz="3200" b="1"/>
            </a:lvl1pPr>
          </a:lstStyle>
          <a:p>
            <a:r>
              <a:rPr lang="en-US" dirty="0"/>
              <a:t>CLICK TO ADD TITLE</a:t>
            </a:r>
            <a:endParaRPr lang="en-GB" dirty="0"/>
          </a:p>
        </p:txBody>
      </p:sp>
      <p:sp>
        <p:nvSpPr>
          <p:cNvPr id="3" name="Subtitle 2"/>
          <p:cNvSpPr>
            <a:spLocks noGrp="1"/>
          </p:cNvSpPr>
          <p:nvPr>
            <p:ph type="subTitle" idx="1" hasCustomPrompt="1"/>
            <p:custDataLst>
              <p:tags r:id="rId4"/>
            </p:custDataLst>
          </p:nvPr>
        </p:nvSpPr>
        <p:spPr>
          <a:xfrm>
            <a:off x="457200" y="3225607"/>
            <a:ext cx="3600000" cy="820866"/>
          </a:xfrm>
          <a:prstGeom prst="rect">
            <a:avLst/>
          </a:prstGeom>
        </p:spPr>
        <p:txBody>
          <a:bodyPr>
            <a:spAutoFit/>
          </a:bodyPr>
          <a:lstStyle>
            <a:lvl1pPr marL="0" indent="0" algn="l">
              <a:buNone/>
              <a:defRPr sz="2667">
                <a:solidFill>
                  <a:schemeClr val="tx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pPr marL="0" lvl="0" indent="0">
              <a:buNone/>
            </a:pPr>
            <a:r>
              <a:rPr lang="en-US" dirty="0"/>
              <a:t>CLICK TO ADD SUBTITLE</a:t>
            </a:r>
          </a:p>
        </p:txBody>
      </p:sp>
      <p:grpSp>
        <p:nvGrpSpPr>
          <p:cNvPr id="12" name="Group 11"/>
          <p:cNvGrpSpPr/>
          <p:nvPr userDrawn="1">
            <p:custDataLst>
              <p:tags r:id="rId5"/>
            </p:custDataLst>
          </p:nvPr>
        </p:nvGrpSpPr>
        <p:grpSpPr>
          <a:xfrm>
            <a:off x="0" y="5756305"/>
            <a:ext cx="9144000" cy="74613"/>
            <a:chOff x="0" y="5756275"/>
            <a:chExt cx="9144000" cy="74613"/>
          </a:xfrm>
        </p:grpSpPr>
        <p:sp>
          <p:nvSpPr>
            <p:cNvPr id="9" name="Line 4"/>
            <p:cNvSpPr>
              <a:spLocks noChangeShapeType="1"/>
            </p:cNvSpPr>
            <p:nvPr userDrawn="1"/>
          </p:nvSpPr>
          <p:spPr bwMode="auto">
            <a:xfrm>
              <a:off x="0" y="5756275"/>
              <a:ext cx="9144000" cy="0"/>
            </a:xfrm>
            <a:prstGeom prst="line">
              <a:avLst/>
            </a:prstGeom>
            <a:noFill/>
            <a:ln w="38100">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b="0" dirty="0">
                <a:solidFill>
                  <a:srgbClr val="001965"/>
                </a:solidFill>
                <a:latin typeface="Verdana"/>
                <a:cs typeface="Lucida Sans Unicode" pitchFamily="34" charset="0"/>
              </a:endParaRPr>
            </a:p>
          </p:txBody>
        </p:sp>
        <p:sp>
          <p:nvSpPr>
            <p:cNvPr id="10" name="Line 5"/>
            <p:cNvSpPr>
              <a:spLocks noChangeShapeType="1"/>
            </p:cNvSpPr>
            <p:nvPr userDrawn="1"/>
          </p:nvSpPr>
          <p:spPr bwMode="auto">
            <a:xfrm>
              <a:off x="0" y="5792788"/>
              <a:ext cx="9144000" cy="0"/>
            </a:xfrm>
            <a:prstGeom prst="line">
              <a:avLst/>
            </a:prstGeom>
            <a:noFill/>
            <a:ln w="38100">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b="0" dirty="0">
                <a:solidFill>
                  <a:srgbClr val="001965"/>
                </a:solidFill>
                <a:latin typeface="Verdana"/>
                <a:cs typeface="Lucida Sans Unicode" pitchFamily="34" charset="0"/>
              </a:endParaRPr>
            </a:p>
          </p:txBody>
        </p:sp>
        <p:sp>
          <p:nvSpPr>
            <p:cNvPr id="11" name="Line 6"/>
            <p:cNvSpPr>
              <a:spLocks noChangeShapeType="1"/>
            </p:cNvSpPr>
            <p:nvPr userDrawn="1"/>
          </p:nvSpPr>
          <p:spPr bwMode="auto">
            <a:xfrm>
              <a:off x="0" y="5830888"/>
              <a:ext cx="9144000" cy="0"/>
            </a:xfrm>
            <a:prstGeom prst="line">
              <a:avLst/>
            </a:prstGeom>
            <a:noFill/>
            <a:ln w="38100">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GB" b="0" dirty="0">
                <a:solidFill>
                  <a:srgbClr val="001965"/>
                </a:solidFill>
                <a:latin typeface="Verdana"/>
                <a:cs typeface="Lucida Sans Unicode" pitchFamily="34" charset="0"/>
              </a:endParaRPr>
            </a:p>
          </p:txBody>
        </p:sp>
      </p:grpSp>
      <p:sp>
        <p:nvSpPr>
          <p:cNvPr id="5" name="Date Placeholder 4"/>
          <p:cNvSpPr>
            <a:spLocks noGrp="1"/>
          </p:cNvSpPr>
          <p:nvPr>
            <p:ph type="dt" sz="half" idx="10"/>
          </p:nvPr>
        </p:nvSpPr>
        <p:spPr>
          <a:xfrm>
            <a:off x="6084888" y="64800"/>
            <a:ext cx="1412800" cy="143629"/>
          </a:xfrm>
          <a:prstGeom prst="rect">
            <a:avLst/>
          </a:prstGeom>
        </p:spPr>
        <p:txBody>
          <a:bodyPr/>
          <a:lstStyle/>
          <a:p>
            <a:pPr fontAlgn="auto">
              <a:spcBef>
                <a:spcPts val="0"/>
              </a:spcBef>
              <a:spcAft>
                <a:spcPts val="0"/>
              </a:spcAft>
            </a:pPr>
            <a:endParaRPr lang="da-DK" sz="1800" b="0" dirty="0">
              <a:solidFill>
                <a:srgbClr val="001965"/>
              </a:solidFill>
              <a:latin typeface="Verdana"/>
              <a:cs typeface="Lucida Sans Unicode" pitchFamily="34" charset="0"/>
            </a:endParaRPr>
          </a:p>
        </p:txBody>
      </p:sp>
      <p:sp>
        <p:nvSpPr>
          <p:cNvPr id="6" name="Slide Number Placeholder 5"/>
          <p:cNvSpPr>
            <a:spLocks noGrp="1"/>
          </p:cNvSpPr>
          <p:nvPr>
            <p:ph type="sldNum" sz="quarter" idx="11"/>
          </p:nvPr>
        </p:nvSpPr>
        <p:spPr>
          <a:xfrm>
            <a:off x="7621200" y="64800"/>
            <a:ext cx="1080000" cy="143629"/>
          </a:xfrm>
          <a:prstGeom prst="rect">
            <a:avLst/>
          </a:prstGeom>
        </p:spPr>
        <p:txBody>
          <a:bodyPr/>
          <a:lstStyle/>
          <a:p>
            <a:pPr fontAlgn="auto">
              <a:spcBef>
                <a:spcPts val="0"/>
              </a:spcBef>
              <a:spcAft>
                <a:spcPts val="0"/>
              </a:spcAft>
            </a:pPr>
            <a:r>
              <a:rPr lang="en-GB" sz="1800" b="0">
                <a:solidFill>
                  <a:srgbClr val="001965"/>
                </a:solidFill>
                <a:latin typeface="Verdana"/>
                <a:cs typeface="Lucida Sans Unicode" pitchFamily="34" charset="0"/>
              </a:rPr>
              <a:t>Slide no </a:t>
            </a:r>
            <a:fld id="{55DA1A73-5B16-4430-804B-35A4A2D71273}" type="slidenum">
              <a:rPr lang="en-GB" sz="1800" b="0" smtClean="0">
                <a:solidFill>
                  <a:srgbClr val="001965"/>
                </a:solidFill>
                <a:latin typeface="Verdana"/>
                <a:cs typeface="Lucida Sans Unicode" pitchFamily="34" charset="0"/>
              </a:rPr>
              <a:pPr fontAlgn="auto">
                <a:spcBef>
                  <a:spcPts val="0"/>
                </a:spcBef>
                <a:spcAft>
                  <a:spcPts val="0"/>
                </a:spcAft>
              </a:pPr>
              <a:t>‹#›</a:t>
            </a:fld>
            <a:endParaRPr lang="en-GB" sz="1800" b="0" dirty="0">
              <a:solidFill>
                <a:srgbClr val="001965"/>
              </a:solidFill>
              <a:latin typeface="Verdana"/>
              <a:cs typeface="Lucida Sans Unicode" pitchFamily="34" charset="0"/>
            </a:endParaRPr>
          </a:p>
        </p:txBody>
      </p:sp>
    </p:spTree>
    <p:extLst>
      <p:ext uri="{BB962C8B-B14F-4D97-AF65-F5344CB8AC3E}">
        <p14:creationId xmlns:p14="http://schemas.microsoft.com/office/powerpoint/2010/main" val="45730421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1"/>
          <p:cNvSpPr>
            <a:spLocks noGrp="1"/>
          </p:cNvSpPr>
          <p:nvPr>
            <p:ph type="title"/>
          </p:nvPr>
        </p:nvSpPr>
        <p:spPr>
          <a:xfrm>
            <a:off x="571500" y="0"/>
            <a:ext cx="8229600" cy="1199408"/>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21078415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Section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750493"/>
            <a:ext cx="3542400" cy="2042057"/>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891" y="4033952"/>
            <a:ext cx="3543319"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3676879910"/>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Content | Footer">
    <p:spTree>
      <p:nvGrpSpPr>
        <p:cNvPr id="1" name=""/>
        <p:cNvGrpSpPr/>
        <p:nvPr/>
      </p:nvGrpSpPr>
      <p:grpSpPr>
        <a:xfrm>
          <a:off x="0" y="0"/>
          <a:ext cx="0" cy="0"/>
          <a:chOff x="0" y="0"/>
          <a:chExt cx="0" cy="0"/>
        </a:xfrm>
      </p:grpSpPr>
      <p:sp>
        <p:nvSpPr>
          <p:cNvPr id="11" name="Title 1"/>
          <p:cNvSpPr>
            <a:spLocks noGrp="1"/>
          </p:cNvSpPr>
          <p:nvPr>
            <p:ph type="title"/>
          </p:nvPr>
        </p:nvSpPr>
        <p:spPr>
          <a:xfrm>
            <a:off x="316800" y="687230"/>
            <a:ext cx="8510400" cy="521883"/>
          </a:xfrm>
        </p:spPr>
        <p:txBody>
          <a:bodyPr/>
          <a:lstStyle>
            <a:lvl1pPr>
              <a:defRPr sz="2000"/>
            </a:lvl1pPr>
          </a:lstStyle>
          <a:p>
            <a:r>
              <a:rPr lang="en-US" noProof="0" dirty="0"/>
              <a:t>Click to edit Master title style</a:t>
            </a:r>
            <a:endParaRPr lang="en-GB" noProof="0" dirty="0"/>
          </a:p>
        </p:txBody>
      </p:sp>
      <p:sp>
        <p:nvSpPr>
          <p:cNvPr id="3" name="Text Placeholder 2"/>
          <p:cNvSpPr>
            <a:spLocks noGrp="1"/>
          </p:cNvSpPr>
          <p:nvPr>
            <p:ph type="body" sz="quarter" idx="10" hasCustomPrompt="1"/>
          </p:nvPr>
        </p:nvSpPr>
        <p:spPr>
          <a:xfrm>
            <a:off x="316801" y="6317889"/>
            <a:ext cx="8509700" cy="363800"/>
          </a:xfrm>
        </p:spPr>
        <p:txBody>
          <a:bodyPr anchor="b"/>
          <a:lstStyle>
            <a:lvl1pPr marL="0" marR="0" indent="0" algn="l" defTabSz="914378"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en-GB" noProof="0" dirty="0"/>
              <a:t>Footnotes</a:t>
            </a:r>
          </a:p>
          <a:p>
            <a:r>
              <a:rPr lang="en-GB" noProof="0" dirty="0"/>
              <a:t>Reference</a:t>
            </a:r>
          </a:p>
        </p:txBody>
      </p:sp>
      <p:sp>
        <p:nvSpPr>
          <p:cNvPr id="5" name="Content Placeholder 2"/>
          <p:cNvSpPr>
            <a:spLocks noGrp="1"/>
          </p:cNvSpPr>
          <p:nvPr>
            <p:ph idx="1"/>
          </p:nvPr>
        </p:nvSpPr>
        <p:spPr>
          <a:xfrm>
            <a:off x="316800" y="1746044"/>
            <a:ext cx="8510400" cy="409842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lvl1pPr>
              <a:lnSpc>
                <a:spcPct val="100000"/>
              </a:lnSpc>
              <a:spcBef>
                <a:spcPts val="432"/>
              </a:spcBef>
              <a:spcAft>
                <a:spcPts val="300"/>
              </a:spcAft>
              <a:defRPr lang="en-US" sz="1800" noProof="0" dirty="0" smtClean="0"/>
            </a:lvl1pPr>
            <a:lvl2pPr>
              <a:lnSpc>
                <a:spcPct val="100000"/>
              </a:lnSpc>
              <a:spcBef>
                <a:spcPts val="432"/>
              </a:spcBef>
              <a:spcAft>
                <a:spcPts val="300"/>
              </a:spcAft>
              <a:defRPr lang="en-US" sz="1600" noProof="0" dirty="0" smtClean="0"/>
            </a:lvl2pPr>
            <a:lvl3pPr>
              <a:lnSpc>
                <a:spcPct val="100000"/>
              </a:lnSpc>
              <a:spcBef>
                <a:spcPts val="432"/>
              </a:spcBef>
              <a:spcAft>
                <a:spcPts val="300"/>
              </a:spcAft>
              <a:defRPr lang="en-US" sz="1400" noProof="0" dirty="0" smtClean="0"/>
            </a:lvl3pPr>
            <a:lvl4pPr>
              <a:lnSpc>
                <a:spcPct val="100000"/>
              </a:lnSpc>
              <a:spcBef>
                <a:spcPts val="432"/>
              </a:spcBef>
              <a:spcAft>
                <a:spcPts val="300"/>
              </a:spcAft>
              <a:defRPr lang="en-US" sz="1200" noProof="0" dirty="0" smtClean="0"/>
            </a:lvl4pPr>
            <a:lvl5pPr>
              <a:lnSpc>
                <a:spcPct val="100000"/>
              </a:lnSpc>
              <a:spcBef>
                <a:spcPts val="432"/>
              </a:spcBef>
              <a:spcAft>
                <a:spcPts val="300"/>
              </a:spcAft>
              <a:defRPr lang="en-GB" sz="1100" noProof="0" dirty="0"/>
            </a:lvl5pPr>
          </a:lstStyle>
          <a:p>
            <a:pPr lvl="0">
              <a:spcBef>
                <a:spcPts val="450"/>
              </a:spcBef>
              <a:spcAft>
                <a:spcPts val="450"/>
              </a:spcAft>
            </a:pPr>
            <a:r>
              <a:rPr lang="en-GB" noProof="0" dirty="0"/>
              <a:t>Click to edit Master text styles</a:t>
            </a:r>
          </a:p>
          <a:p>
            <a:pPr lvl="1">
              <a:spcBef>
                <a:spcPts val="450"/>
              </a:spcBef>
              <a:spcAft>
                <a:spcPts val="450"/>
              </a:spcAft>
            </a:pPr>
            <a:r>
              <a:rPr lang="en-GB" noProof="0" dirty="0"/>
              <a:t>Second level</a:t>
            </a:r>
          </a:p>
          <a:p>
            <a:pPr lvl="2">
              <a:spcBef>
                <a:spcPts val="450"/>
              </a:spcBef>
              <a:spcAft>
                <a:spcPts val="450"/>
              </a:spcAft>
              <a:buClr>
                <a:schemeClr val="accent5"/>
              </a:buClr>
            </a:pPr>
            <a:r>
              <a:rPr lang="en-GB" noProof="0" dirty="0"/>
              <a:t>Third level</a:t>
            </a:r>
          </a:p>
          <a:p>
            <a:pPr lvl="3">
              <a:spcBef>
                <a:spcPts val="450"/>
              </a:spcBef>
              <a:spcAft>
                <a:spcPts val="450"/>
              </a:spcAft>
              <a:buClr>
                <a:schemeClr val="accent3"/>
              </a:buClr>
            </a:pPr>
            <a:r>
              <a:rPr lang="en-GB" noProof="0" dirty="0"/>
              <a:t>Fourth level</a:t>
            </a:r>
          </a:p>
          <a:p>
            <a:pPr lvl="4">
              <a:spcBef>
                <a:spcPts val="450"/>
              </a:spcBef>
              <a:spcAft>
                <a:spcPts val="450"/>
              </a:spcAft>
            </a:pPr>
            <a:r>
              <a:rPr lang="en-GB" noProof="0" dirty="0"/>
              <a:t>Fifth level</a:t>
            </a:r>
          </a:p>
        </p:txBody>
      </p:sp>
    </p:spTree>
    <p:extLst>
      <p:ext uri="{BB962C8B-B14F-4D97-AF65-F5344CB8AC3E}">
        <p14:creationId xmlns:p14="http://schemas.microsoft.com/office/powerpoint/2010/main" val="2971307812"/>
      </p:ext>
    </p:extLst>
  </p:cSld>
  <p:clrMapOvr>
    <a:masterClrMapping/>
  </p:clrMapOvr>
  <p:transition/>
  <p:extLst mod="1">
    <p:ext uri="{DCECCB84-F9BA-43D5-87BE-67443E8EF086}">
      <p15:sldGuideLst xmlns:p15="http://schemas.microsoft.com/office/powerpoint/2012/main">
        <p15:guide id="1" orient="horz" pos="317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a:spLocks noGrp="1" noChangeArrowheads="1"/>
          </p:cNvSpPr>
          <p:nvPr userDrawn="1"/>
        </p:nvSpPr>
        <p:spPr bwMode="auto">
          <a:xfrm>
            <a:off x="497010" y="4892675"/>
            <a:ext cx="2689225" cy="381000"/>
          </a:xfrm>
          <a:prstGeom prst="rect">
            <a:avLst/>
          </a:prstGeom>
          <a:noFill/>
          <a:ln w="9525">
            <a:noFill/>
            <a:miter lim="800000"/>
            <a:headEnd/>
            <a:tailEnd/>
          </a:ln>
          <a:effectLst/>
        </p:spPr>
        <p:txBody>
          <a:bodyPr anchor="b"/>
          <a:lstStyle/>
          <a:p>
            <a:pPr defTabSz="457200" fontAlgn="auto">
              <a:spcBef>
                <a:spcPts val="0"/>
              </a:spcBef>
              <a:spcAft>
                <a:spcPts val="0"/>
              </a:spcAft>
            </a:pPr>
            <a:r>
              <a:rPr lang="en-GB" sz="1600" dirty="0">
                <a:solidFill>
                  <a:srgbClr val="000000"/>
                </a:solidFill>
                <a:latin typeface="Arial" pitchFamily="34" charset="0"/>
                <a:ea typeface="+mn-ea"/>
                <a:cs typeface="Arial" pitchFamily="34" charset="0"/>
              </a:rPr>
              <a:t>Confidentiality Notice </a:t>
            </a:r>
            <a:endParaRPr lang="en-GB" sz="2800" b="0" dirty="0">
              <a:solidFill>
                <a:srgbClr val="000000"/>
              </a:solidFill>
              <a:latin typeface="Arial" pitchFamily="34" charset="0"/>
              <a:ea typeface="+mn-ea"/>
              <a:cs typeface="Arial" pitchFamily="34" charset="0"/>
            </a:endParaRPr>
          </a:p>
        </p:txBody>
      </p:sp>
      <p:sp>
        <p:nvSpPr>
          <p:cNvPr id="11" name="Rectangle 10"/>
          <p:cNvSpPr>
            <a:spLocks noGrp="1" noChangeArrowheads="1"/>
          </p:cNvSpPr>
          <p:nvPr userDrawn="1"/>
        </p:nvSpPr>
        <p:spPr bwMode="auto">
          <a:xfrm>
            <a:off x="516057" y="5273675"/>
            <a:ext cx="8343928" cy="685800"/>
          </a:xfrm>
          <a:prstGeom prst="rect">
            <a:avLst/>
          </a:prstGeom>
          <a:noFill/>
          <a:ln w="9525">
            <a:noFill/>
            <a:miter lim="800000"/>
            <a:headEnd/>
            <a:tailEnd/>
          </a:ln>
          <a:effectLst/>
        </p:spPr>
        <p:txBody>
          <a:bodyPr/>
          <a:lstStyle/>
          <a:p>
            <a:pPr defTabSz="457200" fontAlgn="auto">
              <a:spcBef>
                <a:spcPts val="0"/>
              </a:spcBef>
              <a:spcAft>
                <a:spcPts val="0"/>
              </a:spcAft>
            </a:pPr>
            <a:r>
              <a:rPr lang="en-GB" sz="1000" b="0" dirty="0">
                <a:solidFill>
                  <a:srgbClr val="000000"/>
                </a:solidFill>
                <a:latin typeface="Arial" pitchFamily="34" charset="0"/>
                <a:ea typeface="+mn-ea"/>
                <a:cs typeface="Arial" pitchFamily="34" charset="0"/>
              </a:rPr>
              <a:t>This file is private and may contain confidential and proprietary information. If you have received this file in error, please notify us and remove </a:t>
            </a:r>
          </a:p>
          <a:p>
            <a:pPr defTabSz="457200" fontAlgn="auto">
              <a:spcBef>
                <a:spcPts val="0"/>
              </a:spcBef>
              <a:spcAft>
                <a:spcPts val="0"/>
              </a:spcAft>
            </a:pPr>
            <a:r>
              <a:rPr lang="en-GB" sz="1000" b="0" dirty="0">
                <a:solidFill>
                  <a:srgbClr val="000000"/>
                </a:solidFill>
                <a:latin typeface="Arial" pitchFamily="34" charset="0"/>
                <a:ea typeface="+mn-ea"/>
                <a:cs typeface="Arial" pitchFamily="34" charset="0"/>
              </a:rPr>
              <a:t>it from your system and note that you must not copy, distribute or take any action in reliance on it. Any unauthorized use or disclosure of the contents of this file is not permitted and may be unlawful. AstraZeneca PLC, 2 Kingdom Street, London, W2 6BD, UK, T: +44(0)20 7604 8000, </a:t>
            </a:r>
          </a:p>
          <a:p>
            <a:pPr defTabSz="457200" fontAlgn="auto">
              <a:spcBef>
                <a:spcPts val="0"/>
              </a:spcBef>
              <a:spcAft>
                <a:spcPts val="0"/>
              </a:spcAft>
            </a:pPr>
            <a:r>
              <a:rPr lang="en-GB" sz="1000" b="0" dirty="0">
                <a:solidFill>
                  <a:srgbClr val="000000"/>
                </a:solidFill>
                <a:latin typeface="Arial" pitchFamily="34" charset="0"/>
                <a:ea typeface="+mn-ea"/>
                <a:cs typeface="Arial" pitchFamily="34" charset="0"/>
              </a:rPr>
              <a:t>F: +44 (0)20 7604 8151, www.astrazeneca.com</a:t>
            </a:r>
          </a:p>
        </p:txBody>
      </p:sp>
      <p:sp>
        <p:nvSpPr>
          <p:cNvPr id="5"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6" name="Rounded Rectangle 5"/>
          <p:cNvSpPr/>
          <p:nvPr userDrawn="1"/>
        </p:nvSpPr>
        <p:spPr>
          <a:xfrm>
            <a:off x="7160056" y="508011"/>
            <a:ext cx="1400432" cy="32264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020706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ubtitle | Content | Foot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35062"/>
            <a:ext cx="8510400" cy="4098423"/>
          </a:xfrm>
        </p:spPr>
        <p:txBody>
          <a:bodyPr/>
          <a:lstStyle>
            <a:lvl1pPr>
              <a:spcBef>
                <a:spcPts val="450"/>
              </a:spcBef>
              <a:spcAft>
                <a:spcPts val="450"/>
              </a:spcAft>
              <a:buClr>
                <a:schemeClr val="accent1"/>
              </a:buClr>
              <a:defRPr sz="1800">
                <a:solidFill>
                  <a:schemeClr val="accent2"/>
                </a:solidFill>
              </a:defRPr>
            </a:lvl1pPr>
            <a:lvl2pPr>
              <a:spcBef>
                <a:spcPts val="450"/>
              </a:spcBef>
              <a:spcAft>
                <a:spcPts val="450"/>
              </a:spcAft>
              <a:buClr>
                <a:schemeClr val="tx2"/>
              </a:buClr>
              <a:defRPr sz="1600">
                <a:solidFill>
                  <a:schemeClr val="accent2"/>
                </a:solidFill>
              </a:defRPr>
            </a:lvl2pPr>
            <a:lvl3pPr>
              <a:spcBef>
                <a:spcPts val="450"/>
              </a:spcBef>
              <a:spcAft>
                <a:spcPts val="450"/>
              </a:spcAft>
              <a:buClr>
                <a:schemeClr val="accent5"/>
              </a:buClr>
              <a:defRPr sz="1400">
                <a:solidFill>
                  <a:schemeClr val="accent2"/>
                </a:solidFill>
              </a:defRPr>
            </a:lvl3pPr>
            <a:lvl4pPr>
              <a:spcBef>
                <a:spcPts val="450"/>
              </a:spcBef>
              <a:spcAft>
                <a:spcPts val="450"/>
              </a:spcAft>
              <a:buClr>
                <a:schemeClr val="accent3"/>
              </a:buClr>
              <a:defRPr sz="1200">
                <a:solidFill>
                  <a:schemeClr val="accent2"/>
                </a:solidFill>
              </a:defRPr>
            </a:lvl4pPr>
            <a:lvl5pPr>
              <a:spcBef>
                <a:spcPts val="450"/>
              </a:spcBef>
              <a:spcAft>
                <a:spcPts val="450"/>
              </a:spcAft>
              <a:buClr>
                <a:srgbClr val="001423"/>
              </a:buClr>
              <a:defRPr sz="1100">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p:cNvSpPr>
            <a:spLocks noGrp="1"/>
          </p:cNvSpPr>
          <p:nvPr>
            <p:ph type="title"/>
          </p:nvPr>
        </p:nvSpPr>
        <p:spPr/>
        <p:txBody>
          <a:bodyPr/>
          <a:lstStyle/>
          <a:p>
            <a:r>
              <a:rPr lang="en-GB" noProof="0" dirty="0"/>
              <a:t>Click to edit Master title style</a:t>
            </a:r>
          </a:p>
        </p:txBody>
      </p:sp>
      <p:sp>
        <p:nvSpPr>
          <p:cNvPr id="5" name="Text Placeholder 4"/>
          <p:cNvSpPr>
            <a:spLocks noGrp="1"/>
          </p:cNvSpPr>
          <p:nvPr>
            <p:ph type="body" sz="quarter" idx="11" hasCustomPrompt="1"/>
          </p:nvPr>
        </p:nvSpPr>
        <p:spPr>
          <a:xfrm>
            <a:off x="316707" y="1141425"/>
            <a:ext cx="8509397" cy="296863"/>
          </a:xfrm>
        </p:spPr>
        <p:txBody>
          <a:bodyPr/>
          <a:lstStyle>
            <a:lvl1pPr marL="0" indent="0">
              <a:buNone/>
              <a:defRPr sz="1400" b="1">
                <a:solidFill>
                  <a:srgbClr val="009FDA"/>
                </a:solidFill>
              </a:defRPr>
            </a:lvl1pPr>
            <a:lvl2pPr marL="265105" indent="0">
              <a:buNone/>
              <a:defRPr sz="1050" b="1">
                <a:solidFill>
                  <a:srgbClr val="009FDA"/>
                </a:solidFill>
              </a:defRPr>
            </a:lvl2pPr>
            <a:lvl3pPr marL="536561" indent="0">
              <a:buNone/>
              <a:defRPr sz="1050" b="1">
                <a:solidFill>
                  <a:srgbClr val="009FDA"/>
                </a:solidFill>
              </a:defRPr>
            </a:lvl3pPr>
            <a:lvl4pPr marL="808018" indent="0">
              <a:buNone/>
              <a:defRPr sz="1050" b="1">
                <a:solidFill>
                  <a:srgbClr val="009FDA"/>
                </a:solidFill>
              </a:defRPr>
            </a:lvl4pPr>
            <a:lvl5pPr marL="1073123" indent="0">
              <a:buNone/>
              <a:defRPr sz="1050" b="1">
                <a:solidFill>
                  <a:srgbClr val="009FDA"/>
                </a:solidFill>
              </a:defRPr>
            </a:lvl5pPr>
          </a:lstStyle>
          <a:p>
            <a:pPr lvl="0"/>
            <a:r>
              <a:rPr lang="en-GB" noProof="0" dirty="0"/>
              <a:t>Enter subtitle here in </a:t>
            </a:r>
            <a:r>
              <a:rPr lang="en-GB" noProof="0" dirty="0" err="1"/>
              <a:t>verdana</a:t>
            </a:r>
            <a:r>
              <a:rPr lang="en-GB" noProof="0" dirty="0"/>
              <a:t>, </a:t>
            </a:r>
            <a:r>
              <a:rPr lang="en-GB" noProof="0" dirty="0" err="1"/>
              <a:t>nn</a:t>
            </a:r>
            <a:r>
              <a:rPr lang="en-GB" noProof="0" dirty="0"/>
              <a:t> light blue, 14 </a:t>
            </a:r>
            <a:r>
              <a:rPr lang="en-GB" noProof="0" dirty="0" err="1"/>
              <a:t>pt</a:t>
            </a:r>
            <a:endParaRPr lang="en-GB" noProof="0" dirty="0"/>
          </a:p>
        </p:txBody>
      </p:sp>
      <p:sp>
        <p:nvSpPr>
          <p:cNvPr id="7" name="Text Placeholder 2"/>
          <p:cNvSpPr>
            <a:spLocks noGrp="1"/>
          </p:cNvSpPr>
          <p:nvPr>
            <p:ph type="body" sz="quarter" idx="12" hasCustomPrompt="1"/>
          </p:nvPr>
        </p:nvSpPr>
        <p:spPr>
          <a:xfrm>
            <a:off x="316801" y="6317889"/>
            <a:ext cx="8509700" cy="363800"/>
          </a:xfrm>
        </p:spPr>
        <p:txBody>
          <a:bodyPr anchor="b"/>
          <a:lstStyle>
            <a:lvl1pPr marL="0" marR="0" indent="0" algn="l" defTabSz="914378"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en-GB" noProof="0" dirty="0"/>
              <a:t>Footnotes</a:t>
            </a:r>
          </a:p>
          <a:p>
            <a:r>
              <a:rPr lang="en-GB" noProof="0" dirty="0"/>
              <a:t>Reference</a:t>
            </a:r>
          </a:p>
        </p:txBody>
      </p:sp>
    </p:spTree>
    <p:extLst>
      <p:ext uri="{BB962C8B-B14F-4D97-AF65-F5344CB8AC3E}">
        <p14:creationId xmlns:p14="http://schemas.microsoft.com/office/powerpoint/2010/main" val="1408262374"/>
      </p:ext>
    </p:extLst>
  </p:cSld>
  <p:clrMapOvr>
    <a:masterClrMapping/>
  </p:clrMapOvr>
  <p:transition/>
  <p:extLst mod="1">
    <p:ext uri="{DCECCB84-F9BA-43D5-87BE-67443E8EF086}">
      <p15:sldGuideLst xmlns:p15="http://schemas.microsoft.com/office/powerpoint/2012/main">
        <p15:guide id="1" orient="horz" pos="317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687230"/>
            <a:ext cx="8510400" cy="521883"/>
          </a:xfrm>
        </p:spPr>
        <p:txBody>
          <a:bodyPr anchor="ctr" anchorCtr="0"/>
          <a:lstStyle>
            <a:lvl1pPr>
              <a:defRPr sz="2000"/>
            </a:lvl1pPr>
          </a:lstStyle>
          <a:p>
            <a:r>
              <a:rPr lang="en-US" noProof="0"/>
              <a:t>Click to edit Master title style</a:t>
            </a:r>
            <a:endParaRPr lang="en-GB" noProof="0" dirty="0"/>
          </a:p>
        </p:txBody>
      </p:sp>
      <p:sp>
        <p:nvSpPr>
          <p:cNvPr id="3" name="Content Placeholder 2"/>
          <p:cNvSpPr>
            <a:spLocks noGrp="1"/>
          </p:cNvSpPr>
          <p:nvPr>
            <p:ph sz="quarter" idx="10" hasCustomPrompt="1"/>
          </p:nvPr>
        </p:nvSpPr>
        <p:spPr>
          <a:xfrm>
            <a:off x="316800" y="6115063"/>
            <a:ext cx="8510400" cy="606105"/>
          </a:xfrm>
        </p:spPr>
        <p:txBody>
          <a:bodyPr rIns="0" anchor="b" anchorCtr="0">
            <a:noAutofit/>
          </a:bodyPr>
          <a:lstStyle>
            <a:lvl1pPr marL="0" indent="0">
              <a:spcBef>
                <a:spcPts val="0"/>
              </a:spcBef>
              <a:buNone/>
              <a:defRPr sz="800">
                <a:solidFill>
                  <a:srgbClr val="82786F"/>
                </a:solidFill>
              </a:defRPr>
            </a:lvl1pPr>
            <a:lvl2pPr marL="265106" indent="0">
              <a:buNone/>
              <a:defRPr sz="800"/>
            </a:lvl2pPr>
            <a:lvl3pPr marL="536561" indent="0">
              <a:buNone/>
              <a:defRPr sz="800"/>
            </a:lvl3pPr>
            <a:lvl4pPr marL="808018" indent="0">
              <a:buNone/>
              <a:defRPr sz="800"/>
            </a:lvl4pPr>
            <a:lvl5pPr marL="1073123" indent="0">
              <a:buNone/>
              <a:defRPr sz="800"/>
            </a:lvl5pPr>
          </a:lstStyle>
          <a:p>
            <a:pPr lvl="0"/>
            <a:r>
              <a:rPr lang="en-US" dirty="0"/>
              <a:t>Click to add text</a:t>
            </a:r>
          </a:p>
        </p:txBody>
      </p:sp>
    </p:spTree>
    <p:extLst>
      <p:ext uri="{BB962C8B-B14F-4D97-AF65-F5344CB8AC3E}">
        <p14:creationId xmlns:p14="http://schemas.microsoft.com/office/powerpoint/2010/main" val="930451309"/>
      </p:ext>
    </p:extLst>
  </p:cSld>
  <p:clrMapOvr>
    <a:masterClrMapping/>
  </p:clrMapOvr>
  <p:transition/>
  <p:extLst mod="1">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1" y="1032168"/>
            <a:ext cx="8510400" cy="369919"/>
          </a:xfrm>
          <a:extLst>
            <a:ext uri="{909E8E84-426E-40DD-AFC4-6F175D3DCCD1}">
              <a14:hiddenFill xmlns:a14="http://schemas.microsoft.com/office/drawing/2010/main">
                <a:solidFill>
                  <a:schemeClr val="accent1"/>
                </a:solidFill>
              </a14:hiddenFill>
            </a:ext>
          </a:extLst>
        </p:spPr>
        <p:txBody>
          <a:bodyPr wrap="none" lIns="18000" anchor="t" anchorCtr="0">
            <a:normAutofit/>
          </a:bodyPr>
          <a:lstStyle>
            <a:lvl1pPr marL="0" indent="0" algn="l">
              <a:buFontTx/>
              <a:buNone/>
              <a:defRPr sz="1300" b="1" baseline="0">
                <a:solidFill>
                  <a:srgbClr val="009FDA"/>
                </a:solidFill>
              </a:defRPr>
            </a:lvl1pPr>
          </a:lstStyle>
          <a:p>
            <a:pPr lvl="0"/>
            <a:r>
              <a:rPr lang="en-GB" noProof="0" dirty="0"/>
              <a:t>Insert subtitle</a:t>
            </a:r>
          </a:p>
        </p:txBody>
      </p:sp>
      <p:sp>
        <p:nvSpPr>
          <p:cNvPr id="9"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1"/>
          <p:cNvSpPr>
            <a:spLocks noGrp="1"/>
          </p:cNvSpPr>
          <p:nvPr>
            <p:ph type="body" sz="quarter" idx="10" hasCustomPrompt="1"/>
          </p:nvPr>
        </p:nvSpPr>
        <p:spPr>
          <a:xfrm>
            <a:off x="316801" y="6115200"/>
            <a:ext cx="8509700" cy="604800"/>
          </a:xfrm>
        </p:spPr>
        <p:txBody>
          <a:bodyPr rIns="0" anchor="b" anchorCtr="0">
            <a:noAutofit/>
          </a:bodyPr>
          <a:lstStyle>
            <a:lvl1pPr marL="0" indent="0">
              <a:spcBef>
                <a:spcPts val="0"/>
              </a:spcBef>
              <a:spcAft>
                <a:spcPts val="0"/>
              </a:spcAft>
              <a:buNone/>
              <a:defRPr sz="800">
                <a:solidFill>
                  <a:srgbClr val="82786F"/>
                </a:solidFill>
              </a:defRPr>
            </a:lvl1pPr>
            <a:lvl2pPr marL="265112" indent="0">
              <a:buNone/>
              <a:defRPr sz="800">
                <a:solidFill>
                  <a:srgbClr val="82786F"/>
                </a:solidFill>
              </a:defRPr>
            </a:lvl2pPr>
            <a:lvl3pPr>
              <a:defRPr sz="800">
                <a:solidFill>
                  <a:srgbClr val="82786F"/>
                </a:solidFill>
              </a:defRPr>
            </a:lvl3pPr>
            <a:lvl4pPr>
              <a:defRPr sz="800">
                <a:solidFill>
                  <a:srgbClr val="82786F"/>
                </a:solidFill>
              </a:defRPr>
            </a:lvl4pPr>
            <a:lvl5pPr>
              <a:defRPr sz="800">
                <a:solidFill>
                  <a:srgbClr val="82786F"/>
                </a:solidFill>
              </a:defRPr>
            </a:lvl5pPr>
          </a:lstStyle>
          <a:p>
            <a:pPr lvl="0"/>
            <a:r>
              <a:rPr lang="en-US" dirty="0"/>
              <a:t>Click to insert text</a:t>
            </a:r>
            <a:endParaRPr lang="en-GB" dirty="0"/>
          </a:p>
        </p:txBody>
      </p:sp>
      <p:sp>
        <p:nvSpPr>
          <p:cNvPr id="12" name="Title 1"/>
          <p:cNvSpPr>
            <a:spLocks noGrp="1"/>
          </p:cNvSpPr>
          <p:nvPr>
            <p:ph type="title"/>
          </p:nvPr>
        </p:nvSpPr>
        <p:spPr>
          <a:xfrm>
            <a:off x="316800" y="534838"/>
            <a:ext cx="8510400" cy="521883"/>
          </a:xfrm>
        </p:spPr>
        <p:txBody>
          <a:bodyPr anchor="ctr" anchorCtr="0"/>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5971684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2"/>
            <a:ext cx="9144000" cy="2527300"/>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8" name="Content Placeholder 2"/>
          <p:cNvSpPr>
            <a:spLocks noGrp="1"/>
          </p:cNvSpPr>
          <p:nvPr>
            <p:ph idx="25"/>
          </p:nvPr>
        </p:nvSpPr>
        <p:spPr>
          <a:xfrm>
            <a:off x="316800" y="3831356"/>
            <a:ext cx="8510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Rectangle 5"/>
          <p:cNvSpPr>
            <a:spLocks noGrp="1" noChangeArrowheads="1"/>
          </p:cNvSpPr>
          <p:nvPr>
            <p:ph type="ftr" sz="quarter" idx="3"/>
          </p:nvPr>
        </p:nvSpPr>
        <p:spPr bwMode="auto">
          <a:xfrm>
            <a:off x="4173002" y="138555"/>
            <a:ext cx="2900363"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fontAlgn="auto">
              <a:spcAft>
                <a:spcPts val="0"/>
              </a:spcAft>
              <a:defRPr/>
            </a:pPr>
            <a:endParaRPr lang="en-GB" dirty="0">
              <a:solidFill>
                <a:srgbClr val="FFFFFF"/>
              </a:solidFill>
              <a:latin typeface="Verdana"/>
              <a:cs typeface="Lucida Sans Unicode" pitchFamily="34" charset="0"/>
            </a:endParaRPr>
          </a:p>
        </p:txBody>
      </p:sp>
      <p:sp>
        <p:nvSpPr>
          <p:cNvPr id="14" name="Rectangle 81"/>
          <p:cNvSpPr>
            <a:spLocks noGrp="1" noChangeArrowheads="1"/>
          </p:cNvSpPr>
          <p:nvPr>
            <p:ph type="dt" sz="half" idx="2"/>
          </p:nvPr>
        </p:nvSpPr>
        <p:spPr bwMode="auto">
          <a:xfrm>
            <a:off x="7187154" y="138555"/>
            <a:ext cx="1201738"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fontAlgn="auto">
              <a:spcAft>
                <a:spcPts val="0"/>
              </a:spcAft>
              <a:defRPr/>
            </a:pPr>
            <a:endParaRPr lang="en-GB" dirty="0">
              <a:solidFill>
                <a:srgbClr val="FFFFFF"/>
              </a:solidFill>
              <a:latin typeface="Verdana"/>
              <a:cs typeface="Lucida Sans Unicode" pitchFamily="34" charset="0"/>
            </a:endParaRPr>
          </a:p>
        </p:txBody>
      </p:sp>
      <p:sp>
        <p:nvSpPr>
          <p:cNvPr id="15" name="Slide Number Placeholder 23"/>
          <p:cNvSpPr>
            <a:spLocks noGrp="1" noChangeArrowheads="1"/>
          </p:cNvSpPr>
          <p:nvPr>
            <p:ph type="sldNum" sz="quarter" idx="4"/>
          </p:nvPr>
        </p:nvSpPr>
        <p:spPr bwMode="auto">
          <a:xfrm>
            <a:off x="8514822" y="140079"/>
            <a:ext cx="312378"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bg1"/>
                </a:solidFill>
              </a:defRPr>
            </a:lvl1pPr>
          </a:lstStyle>
          <a:p>
            <a:pPr fontAlgn="auto">
              <a:spcBef>
                <a:spcPts val="0"/>
              </a:spcBef>
              <a:spcAft>
                <a:spcPts val="0"/>
              </a:spcAft>
              <a:defRPr/>
            </a:pPr>
            <a:fld id="{4B01E8EF-57E8-4F85-90EB-163CEE512F88}" type="slidenum">
              <a:rPr lang="en-GB">
                <a:solidFill>
                  <a:srgbClr val="FFFFFF"/>
                </a:solidFill>
                <a:latin typeface="Verdana"/>
                <a:cs typeface="Lucida Sans Unicode" pitchFamily="34" charset="0"/>
              </a:rPr>
              <a:pPr fontAlgn="auto">
                <a:spcBef>
                  <a:spcPts val="0"/>
                </a:spcBef>
                <a:spcAft>
                  <a:spcPts val="0"/>
                </a:spcAft>
                <a:defRPr/>
              </a:pPr>
              <a:t>‹#›</a:t>
            </a:fld>
            <a:endParaRPr lang="en-GB" dirty="0">
              <a:solidFill>
                <a:srgbClr val="FFFFFF"/>
              </a:solidFill>
              <a:latin typeface="Verdana"/>
              <a:cs typeface="Lucida Sans Unicode" pitchFamily="34" charset="0"/>
            </a:endParaRPr>
          </a:p>
        </p:txBody>
      </p:sp>
    </p:spTree>
    <p:extLst>
      <p:ext uri="{BB962C8B-B14F-4D97-AF65-F5344CB8AC3E}">
        <p14:creationId xmlns:p14="http://schemas.microsoft.com/office/powerpoint/2010/main" val="188886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6858000"/>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Tree>
    <p:extLst>
      <p:ext uri="{BB962C8B-B14F-4D97-AF65-F5344CB8AC3E}">
        <p14:creationId xmlns:p14="http://schemas.microsoft.com/office/powerpoint/2010/main" val="1383546350"/>
      </p:ext>
    </p:extLst>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Rectangle 1"/>
          <p:cNvSpPr/>
          <p:nvPr userDrawn="1"/>
        </p:nvSpPr>
        <p:spPr>
          <a:xfrm>
            <a:off x="7868653" y="5358074"/>
            <a:ext cx="1267326" cy="148924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sz="1350" b="0">
              <a:solidFill>
                <a:srgbClr val="FFFFFF"/>
              </a:solidFill>
            </a:endParaRPr>
          </a:p>
        </p:txBody>
      </p:sp>
      <p:sp>
        <p:nvSpPr>
          <p:cNvPr id="3" name="Text Placeholder 2"/>
          <p:cNvSpPr>
            <a:spLocks noGrp="1"/>
          </p:cNvSpPr>
          <p:nvPr>
            <p:ph type="body" sz="quarter" idx="13" hasCustomPrompt="1"/>
          </p:nvPr>
        </p:nvSpPr>
        <p:spPr>
          <a:xfrm>
            <a:off x="317501" y="6518650"/>
            <a:ext cx="8518850" cy="183425"/>
          </a:xfrm>
        </p:spPr>
        <p:txBody>
          <a:bodyPr anchor="b" anchorCtr="0">
            <a:noAutofit/>
          </a:bodyPr>
          <a:lstStyle>
            <a:lvl1pPr marL="0" indent="0">
              <a:spcBef>
                <a:spcPts val="0"/>
              </a:spcBef>
              <a:buNone/>
              <a:defRPr sz="800" baseline="0">
                <a:solidFill>
                  <a:srgbClr val="82786F"/>
                </a:solidFill>
              </a:defRPr>
            </a:lvl1pPr>
            <a:lvl2pPr marL="265112" indent="0">
              <a:buNone/>
              <a:defRPr sz="800">
                <a:solidFill>
                  <a:srgbClr val="82786F"/>
                </a:solidFill>
              </a:defRPr>
            </a:lvl2pPr>
            <a:lvl3pPr marL="536575" indent="0">
              <a:buNone/>
              <a:defRPr sz="800">
                <a:solidFill>
                  <a:srgbClr val="82786F"/>
                </a:solidFill>
              </a:defRPr>
            </a:lvl3pPr>
            <a:lvl4pPr marL="808038" indent="0">
              <a:buNone/>
              <a:defRPr sz="800">
                <a:solidFill>
                  <a:srgbClr val="82786F"/>
                </a:solidFill>
              </a:defRPr>
            </a:lvl4pPr>
            <a:lvl5pPr marL="1073150" indent="0">
              <a:buNone/>
              <a:defRPr sz="800">
                <a:solidFill>
                  <a:srgbClr val="82786F"/>
                </a:solidFill>
              </a:defRPr>
            </a:lvl5pPr>
          </a:lstStyle>
          <a:p>
            <a:pPr lvl="0"/>
            <a:r>
              <a:rPr lang="en-US" dirty="0"/>
              <a:t>Click to enter text</a:t>
            </a:r>
            <a:endParaRPr lang="en-GB" dirty="0"/>
          </a:p>
        </p:txBody>
      </p:sp>
    </p:spTree>
    <p:extLst>
      <p:ext uri="{BB962C8B-B14F-4D97-AF65-F5344CB8AC3E}">
        <p14:creationId xmlns:p14="http://schemas.microsoft.com/office/powerpoint/2010/main" val="2249195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463047"/>
            <a:ext cx="8510400" cy="4227643"/>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687230"/>
            <a:ext cx="8510400" cy="521883"/>
          </a:xfrm>
        </p:spPr>
        <p:txBody>
          <a:bodyPr/>
          <a:lstStyle>
            <a:lvl1pPr>
              <a:defRPr sz="2100"/>
            </a:lvl1pPr>
          </a:lstStyle>
          <a:p>
            <a:r>
              <a:rPr lang="en-US" noProof="0"/>
              <a:t>Click to edit Master title style</a:t>
            </a:r>
            <a:endParaRPr lang="en-GB" noProof="0" dirty="0"/>
          </a:p>
        </p:txBody>
      </p:sp>
      <p:sp>
        <p:nvSpPr>
          <p:cNvPr id="3" name="Text Placeholder 2"/>
          <p:cNvSpPr>
            <a:spLocks noGrp="1"/>
          </p:cNvSpPr>
          <p:nvPr>
            <p:ph type="body" sz="quarter" idx="10" hasCustomPrompt="1"/>
          </p:nvPr>
        </p:nvSpPr>
        <p:spPr>
          <a:xfrm>
            <a:off x="316800" y="5618565"/>
            <a:ext cx="8509700" cy="1027768"/>
          </a:xfrm>
        </p:spPr>
        <p:txBody>
          <a:bodyPr anchor="b"/>
          <a:lstStyle>
            <a:lvl1pPr marL="0" marR="0" indent="0" algn="l" defTabSz="91440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1848252852"/>
      </p:ext>
    </p:extLst>
  </p:cSld>
  <p:clrMapOvr>
    <a:masterClrMapping/>
  </p:clrMapOvr>
  <p:transition/>
  <p:extLst mod="1">
    <p:ext uri="{DCECCB84-F9BA-43D5-87BE-67443E8EF086}">
      <p15:sldGuideLst xmlns:p15="http://schemas.microsoft.com/office/powerpoint/2012/main">
        <p15:guide id="1" orient="horz" pos="3140">
          <p15:clr>
            <a:srgbClr val="FBAE40"/>
          </p15:clr>
        </p15:guide>
        <p15:guide id="2" pos="28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881415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 name="Rectangle 3"/>
          <p:cNvSpPr/>
          <p:nvPr userDrawn="1"/>
        </p:nvSpPr>
        <p:spPr bwMode="auto">
          <a:xfrm>
            <a:off x="0" y="2330449"/>
            <a:ext cx="9144000" cy="3244851"/>
          </a:xfrm>
          <a:prstGeom prst="rect">
            <a:avLst/>
          </a:prstGeom>
          <a:solidFill>
            <a:schemeClr val="bg1">
              <a:alpha val="70000"/>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685800"/>
            <a:endParaRPr lang="en-GB" sz="1350" dirty="0">
              <a:solidFill>
                <a:srgbClr val="000000"/>
              </a:solidFill>
            </a:endParaRPr>
          </a:p>
        </p:txBody>
      </p:sp>
      <p:sp>
        <p:nvSpPr>
          <p:cNvPr id="13" name="Title 8"/>
          <p:cNvSpPr>
            <a:spLocks noGrp="1"/>
          </p:cNvSpPr>
          <p:nvPr>
            <p:ph type="title"/>
          </p:nvPr>
        </p:nvSpPr>
        <p:spPr>
          <a:xfrm>
            <a:off x="647700" y="3221657"/>
            <a:ext cx="7848600" cy="672000"/>
          </a:xfrm>
          <a:prstGeom prst="rect">
            <a:avLst/>
          </a:prstGeom>
        </p:spPr>
        <p:txBody>
          <a:bodyPr vert="horz" anchor="b"/>
          <a:lstStyle>
            <a:lvl1pPr algn="ctr">
              <a:lnSpc>
                <a:spcPct val="100000"/>
              </a:lnSpc>
              <a:defRPr sz="2400" b="1" baseline="0">
                <a:solidFill>
                  <a:schemeClr val="accent1"/>
                </a:solidFill>
                <a:latin typeface="Arial" pitchFamily="34" charset="0"/>
                <a:cs typeface="Arial" pitchFamily="34" charset="0"/>
              </a:defRPr>
            </a:lvl1pPr>
          </a:lstStyle>
          <a:p>
            <a:endParaRPr lang="en-GB" noProof="0" dirty="0"/>
          </a:p>
        </p:txBody>
      </p:sp>
      <p:sp>
        <p:nvSpPr>
          <p:cNvPr id="16" name="Text Placeholder 29"/>
          <p:cNvSpPr>
            <a:spLocks noGrp="1"/>
          </p:cNvSpPr>
          <p:nvPr>
            <p:ph type="body" sz="quarter" idx="11" hasCustomPrompt="1"/>
          </p:nvPr>
        </p:nvSpPr>
        <p:spPr>
          <a:xfrm>
            <a:off x="215999" y="6183188"/>
            <a:ext cx="6480000" cy="254400"/>
          </a:xfrm>
          <a:prstGeom prst="rect">
            <a:avLst/>
          </a:prstGeom>
        </p:spPr>
        <p:txBody>
          <a:bodyPr vert="horz"/>
          <a:lstStyle>
            <a:lvl1pPr marL="0" indent="0">
              <a:lnSpc>
                <a:spcPts val="1100"/>
              </a:lnSpc>
              <a:spcBef>
                <a:spcPts val="0"/>
              </a:spcBef>
              <a:buNone/>
              <a:defRPr sz="1400" b="1">
                <a:solidFill>
                  <a:srgbClr val="000000"/>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6458188"/>
            <a:ext cx="6480000" cy="254400"/>
          </a:xfrm>
          <a:prstGeom prst="rect">
            <a:avLst/>
          </a:prstGeom>
        </p:spPr>
        <p:txBody>
          <a:bodyPr vert="horz"/>
          <a:lstStyle>
            <a:lvl1pPr marL="0" indent="0">
              <a:lnSpc>
                <a:spcPts val="1100"/>
              </a:lnSpc>
              <a:spcBef>
                <a:spcPts val="0"/>
              </a:spcBef>
              <a:buNone/>
              <a:defRPr sz="1200">
                <a:solidFill>
                  <a:srgbClr val="000000"/>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6183188"/>
            <a:ext cx="1872000" cy="254400"/>
          </a:xfrm>
          <a:prstGeom prst="rect">
            <a:avLst/>
          </a:prstGeom>
        </p:spPr>
        <p:txBody>
          <a:bodyPr vert="horz"/>
          <a:lstStyle>
            <a:lvl1pPr marL="0" indent="0">
              <a:lnSpc>
                <a:spcPts val="1100"/>
              </a:lnSpc>
              <a:spcBef>
                <a:spcPts val="0"/>
              </a:spcBef>
              <a:buNone/>
              <a:defRPr sz="1200" baseline="0">
                <a:solidFill>
                  <a:srgbClr val="000000"/>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6458188"/>
            <a:ext cx="1872000" cy="254400"/>
          </a:xfrm>
          <a:prstGeom prst="rect">
            <a:avLst/>
          </a:prstGeom>
        </p:spPr>
        <p:txBody>
          <a:bodyPr vert="horz"/>
          <a:lstStyle>
            <a:lvl1pPr marL="0" indent="0">
              <a:lnSpc>
                <a:spcPts val="1100"/>
              </a:lnSpc>
              <a:spcBef>
                <a:spcPts val="0"/>
              </a:spcBef>
              <a:buNone/>
              <a:defRPr sz="1200">
                <a:solidFill>
                  <a:srgbClr val="000000"/>
                </a:solidFill>
                <a:latin typeface="Arial" pitchFamily="34" charset="0"/>
                <a:cs typeface="Arial" pitchFamily="34" charset="0"/>
              </a:defRPr>
            </a:lvl1pPr>
          </a:lstStyle>
          <a:p>
            <a:pPr lvl="0"/>
            <a:r>
              <a:rPr lang="en-GB" noProof="0" dirty="0"/>
              <a:t>00 Month Year</a:t>
            </a:r>
          </a:p>
        </p:txBody>
      </p:sp>
      <p:sp>
        <p:nvSpPr>
          <p:cNvPr id="14" name="Text Placeholder 5"/>
          <p:cNvSpPr>
            <a:spLocks noGrp="1"/>
          </p:cNvSpPr>
          <p:nvPr>
            <p:ph type="body" sz="quarter" idx="16"/>
          </p:nvPr>
        </p:nvSpPr>
        <p:spPr>
          <a:xfrm>
            <a:off x="647700" y="4061379"/>
            <a:ext cx="7848600" cy="673100"/>
          </a:xfrm>
          <a:prstGeom prst="rect">
            <a:avLst/>
          </a:prstGeom>
        </p:spPr>
        <p:txBody>
          <a:bodyPr/>
          <a:lstStyle>
            <a:lvl1pPr marL="0" indent="0" algn="ctr">
              <a:buNone/>
              <a:defRPr sz="2100">
                <a:solidFill>
                  <a:srgbClr val="000000"/>
                </a:solidFill>
              </a:defRPr>
            </a:lvl1pPr>
          </a:lstStyle>
          <a:p>
            <a:pPr lvl="0"/>
            <a:r>
              <a:rPr lang="en-US" dirty="0"/>
              <a:t>Click to edit Master text styles</a:t>
            </a:r>
          </a:p>
        </p:txBody>
      </p:sp>
    </p:spTree>
    <p:extLst>
      <p:ext uri="{BB962C8B-B14F-4D97-AF65-F5344CB8AC3E}">
        <p14:creationId xmlns:p14="http://schemas.microsoft.com/office/powerpoint/2010/main" val="1768683298"/>
      </p:ext>
    </p:extLst>
  </p:cSld>
  <p:clrMapOvr>
    <a:masterClrMapping/>
  </p:clrMapOvr>
  <p:extLst mod="1">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_Subsec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 name="Rectangle 3"/>
          <p:cNvSpPr/>
          <p:nvPr userDrawn="1"/>
        </p:nvSpPr>
        <p:spPr bwMode="auto">
          <a:xfrm>
            <a:off x="0" y="0"/>
            <a:ext cx="5162550" cy="6858000"/>
          </a:xfrm>
          <a:prstGeom prst="rect">
            <a:avLst/>
          </a:prstGeom>
          <a:solidFill>
            <a:schemeClr val="bg1">
              <a:alpha val="70000"/>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685800"/>
            <a:endParaRPr lang="en-GB" sz="1350" dirty="0">
              <a:solidFill>
                <a:srgbClr val="000000"/>
              </a:solidFill>
            </a:endParaRPr>
          </a:p>
        </p:txBody>
      </p:sp>
      <p:sp>
        <p:nvSpPr>
          <p:cNvPr id="13" name="Title 8"/>
          <p:cNvSpPr>
            <a:spLocks noGrp="1"/>
          </p:cNvSpPr>
          <p:nvPr>
            <p:ph type="title" hasCustomPrompt="1"/>
          </p:nvPr>
        </p:nvSpPr>
        <p:spPr>
          <a:xfrm>
            <a:off x="216001" y="286143"/>
            <a:ext cx="4575075" cy="672000"/>
          </a:xfrm>
          <a:prstGeom prst="rect">
            <a:avLst/>
          </a:prstGeom>
        </p:spPr>
        <p:txBody>
          <a:bodyPr vert="horz" anchor="b"/>
          <a:lstStyle>
            <a:lvl1pPr algn="l">
              <a:lnSpc>
                <a:spcPct val="100000"/>
              </a:lnSpc>
              <a:defRPr sz="2400" b="1" baseline="0">
                <a:solidFill>
                  <a:schemeClr val="accent1"/>
                </a:solidFill>
                <a:latin typeface="Arial" pitchFamily="34" charset="0"/>
                <a:cs typeface="Arial" pitchFamily="34" charset="0"/>
              </a:defRPr>
            </a:lvl1pPr>
          </a:lstStyle>
          <a:p>
            <a:r>
              <a:rPr lang="en-GB" noProof="0" dirty="0"/>
              <a:t>Click to add presentation title</a:t>
            </a:r>
          </a:p>
        </p:txBody>
      </p:sp>
      <p:sp>
        <p:nvSpPr>
          <p:cNvPr id="11" name="Text Placeholder 5"/>
          <p:cNvSpPr>
            <a:spLocks noGrp="1"/>
          </p:cNvSpPr>
          <p:nvPr>
            <p:ph type="body" sz="quarter" idx="16"/>
          </p:nvPr>
        </p:nvSpPr>
        <p:spPr>
          <a:xfrm>
            <a:off x="216000" y="1443007"/>
            <a:ext cx="4575076" cy="673100"/>
          </a:xfrm>
          <a:prstGeom prst="rect">
            <a:avLst/>
          </a:prstGeom>
        </p:spPr>
        <p:txBody>
          <a:bodyPr/>
          <a:lstStyle>
            <a:lvl1pPr marL="0" indent="0" algn="l">
              <a:buNone/>
              <a:defRPr sz="2100">
                <a:solidFill>
                  <a:srgbClr val="000000"/>
                </a:solidFill>
              </a:defRPr>
            </a:lvl1pPr>
          </a:lstStyle>
          <a:p>
            <a:pPr lvl="0"/>
            <a:r>
              <a:rPr lang="en-US" dirty="0"/>
              <a:t>Click to edit Master text styles</a:t>
            </a:r>
          </a:p>
        </p:txBody>
      </p:sp>
    </p:spTree>
    <p:extLst>
      <p:ext uri="{BB962C8B-B14F-4D97-AF65-F5344CB8AC3E}">
        <p14:creationId xmlns:p14="http://schemas.microsoft.com/office/powerpoint/2010/main" val="472307831"/>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8" name="Content Placeholder 2"/>
          <p:cNvSpPr>
            <a:spLocks noGrp="1"/>
          </p:cNvSpPr>
          <p:nvPr>
            <p:ph idx="15" hasCustomPrompt="1"/>
          </p:nvPr>
        </p:nvSpPr>
        <p:spPr>
          <a:xfrm>
            <a:off x="237600" y="1573699"/>
            <a:ext cx="7056000" cy="2160000"/>
          </a:xfrm>
          <a:prstGeom prst="rect">
            <a:avLst/>
          </a:prstGeom>
        </p:spPr>
        <p:txBody>
          <a:bodyPr/>
          <a:lstStyle>
            <a:lvl1pPr marL="180000" indent="-180000">
              <a:lnSpc>
                <a:spcPct val="15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5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9"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6" name="Rounded Rectangle 5"/>
          <p:cNvSpPr/>
          <p:nvPr userDrawn="1"/>
        </p:nvSpPr>
        <p:spPr>
          <a:xfrm>
            <a:off x="7160056" y="508011"/>
            <a:ext cx="1400432" cy="32264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8374939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3_Content">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8380" y="377991"/>
            <a:ext cx="8231486" cy="672000"/>
          </a:xfrm>
          <a:prstGeom prst="rect">
            <a:avLst/>
          </a:prstGeom>
        </p:spPr>
        <p:txBody>
          <a:bodyPr vert="horz" anchor="t"/>
          <a:lstStyle>
            <a:lvl1pPr algn="l">
              <a:lnSpc>
                <a:spcPct val="100000"/>
              </a:lnSpc>
              <a:defRPr sz="2400" b="1" baseline="0">
                <a:solidFill>
                  <a:schemeClr val="accent1"/>
                </a:solidFill>
                <a:latin typeface="Arial" pitchFamily="34" charset="0"/>
                <a:cs typeface="Arial" pitchFamily="34" charset="0"/>
              </a:defRPr>
            </a:lvl1pPr>
          </a:lstStyle>
          <a:p>
            <a:r>
              <a:rPr lang="en-GB" noProof="0" dirty="0"/>
              <a:t>Click to add presentation title</a:t>
            </a:r>
          </a:p>
        </p:txBody>
      </p:sp>
      <p:sp>
        <p:nvSpPr>
          <p:cNvPr id="11" name="Text Placeholder 5"/>
          <p:cNvSpPr>
            <a:spLocks noGrp="1"/>
          </p:cNvSpPr>
          <p:nvPr>
            <p:ph type="body" sz="quarter" idx="16"/>
          </p:nvPr>
        </p:nvSpPr>
        <p:spPr>
          <a:xfrm>
            <a:off x="218380" y="1443007"/>
            <a:ext cx="8231486" cy="673100"/>
          </a:xfrm>
          <a:prstGeom prst="rect">
            <a:avLst/>
          </a:prstGeom>
        </p:spPr>
        <p:txBody>
          <a:bodyPr/>
          <a:lstStyle>
            <a:lvl1pPr marL="216000" indent="-216000" algn="l">
              <a:buClr>
                <a:schemeClr val="accent1"/>
              </a:buClr>
              <a:buFont typeface="Arial" panose="020B0604020202020204" pitchFamily="34" charset="0"/>
              <a:buChar char="•"/>
              <a:defRPr sz="1800">
                <a:solidFill>
                  <a:srgbClr val="000000"/>
                </a:solidFill>
              </a:defRPr>
            </a:lvl1pPr>
          </a:lstStyle>
          <a:p>
            <a:pPr lvl="0"/>
            <a:r>
              <a:rPr lang="en-US" dirty="0"/>
              <a:t>Click to edit Master text styles</a:t>
            </a:r>
          </a:p>
        </p:txBody>
      </p:sp>
      <p:sp>
        <p:nvSpPr>
          <p:cNvPr id="5" name="Text Placeholder 4"/>
          <p:cNvSpPr>
            <a:spLocks noGrp="1"/>
          </p:cNvSpPr>
          <p:nvPr>
            <p:ph type="body" sz="quarter" idx="17"/>
          </p:nvPr>
        </p:nvSpPr>
        <p:spPr>
          <a:xfrm>
            <a:off x="221952" y="6388102"/>
            <a:ext cx="8231486" cy="469900"/>
          </a:xfrm>
          <a:prstGeom prst="rect">
            <a:avLst/>
          </a:prstGeom>
        </p:spPr>
        <p:txBody>
          <a:bodyPr anchor="b"/>
          <a:lstStyle>
            <a:lvl1pPr marL="0" indent="0">
              <a:buNone/>
              <a:defRPr sz="900">
                <a:solidFill>
                  <a:srgbClr val="000000"/>
                </a:solidFill>
              </a:defRPr>
            </a:lvl1pPr>
          </a:lstStyle>
          <a:p>
            <a:pPr lvl="0"/>
            <a:r>
              <a:rPr lang="en-US" dirty="0"/>
              <a:t>Click to edit Master text styles</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95370"/>
          <a:stretch/>
        </p:blipFill>
        <p:spPr>
          <a:xfrm>
            <a:off x="0" y="2"/>
            <a:ext cx="9144000" cy="317500"/>
          </a:xfrm>
          <a:prstGeom prst="rect">
            <a:avLst/>
          </a:prstGeom>
        </p:spPr>
      </p:pic>
    </p:spTree>
    <p:extLst>
      <p:ext uri="{BB962C8B-B14F-4D97-AF65-F5344CB8AC3E}">
        <p14:creationId xmlns:p14="http://schemas.microsoft.com/office/powerpoint/2010/main" val="2077173571"/>
      </p:ext>
    </p:extLst>
  </p:cSld>
  <p:clrMapOvr>
    <a:masterClrMapping/>
  </p:clrMapOvr>
  <p:extLst mod="1">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8" name="Title 8"/>
          <p:cNvSpPr>
            <a:spLocks noGrp="1"/>
          </p:cNvSpPr>
          <p:nvPr>
            <p:ph type="title"/>
          </p:nvPr>
        </p:nvSpPr>
        <p:spPr>
          <a:xfrm>
            <a:off x="310500" y="273597"/>
            <a:ext cx="8415900" cy="511200"/>
          </a:xfrm>
          <a:prstGeom prst="rect">
            <a:avLst/>
          </a:prstGeom>
        </p:spPr>
        <p:txBody>
          <a:bodyPr vert="horz" anchor="t" anchorCtr="0"/>
          <a:lstStyle>
            <a:lvl1pPr algn="l">
              <a:lnSpc>
                <a:spcPct val="100000"/>
              </a:lnSpc>
              <a:defRPr sz="2100" b="1" baseline="0">
                <a:solidFill>
                  <a:schemeClr val="tx2"/>
                </a:solidFill>
                <a:latin typeface="Arial" pitchFamily="34" charset="0"/>
                <a:cs typeface="Arial" pitchFamily="34" charset="0"/>
              </a:defRPr>
            </a:lvl1pPr>
          </a:lstStyle>
          <a:p>
            <a:r>
              <a:rPr lang="en-US" noProof="0" dirty="0"/>
              <a:t>Click to edit Master title style</a:t>
            </a:r>
            <a:endParaRPr lang="en-GB" noProof="0" dirty="0"/>
          </a:p>
        </p:txBody>
      </p:sp>
      <p:sp>
        <p:nvSpPr>
          <p:cNvPr id="6" name="Text Placeholder 4"/>
          <p:cNvSpPr>
            <a:spLocks noGrp="1"/>
          </p:cNvSpPr>
          <p:nvPr>
            <p:ph type="body" sz="quarter" idx="10" hasCustomPrompt="1"/>
          </p:nvPr>
        </p:nvSpPr>
        <p:spPr>
          <a:xfrm>
            <a:off x="0" y="6659261"/>
            <a:ext cx="8892480" cy="198000"/>
          </a:xfrm>
          <a:prstGeom prst="rect">
            <a:avLst/>
          </a:prstGeom>
        </p:spPr>
        <p:txBody>
          <a:bodyPr anchor="b"/>
          <a:lstStyle>
            <a:lvl1pPr marL="0" indent="0">
              <a:spcBef>
                <a:spcPts val="0"/>
              </a:spcBef>
              <a:spcAft>
                <a:spcPts val="0"/>
              </a:spcAft>
              <a:buNone/>
              <a:defRPr sz="750" baseline="0"/>
            </a:lvl1pPr>
          </a:lstStyle>
          <a:p>
            <a:pPr lvl="0"/>
            <a:r>
              <a:rPr lang="en-US" dirty="0"/>
              <a:t>Click to edit footnote</a:t>
            </a:r>
          </a:p>
        </p:txBody>
      </p:sp>
    </p:spTree>
    <p:extLst>
      <p:ext uri="{BB962C8B-B14F-4D97-AF65-F5344CB8AC3E}">
        <p14:creationId xmlns:p14="http://schemas.microsoft.com/office/powerpoint/2010/main" val="419549939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V1.0_Title only">
    <p:spTree>
      <p:nvGrpSpPr>
        <p:cNvPr id="1" name=""/>
        <p:cNvGrpSpPr/>
        <p:nvPr/>
      </p:nvGrpSpPr>
      <p:grpSpPr>
        <a:xfrm>
          <a:off x="0" y="0"/>
          <a:ext cx="0" cy="0"/>
          <a:chOff x="0" y="0"/>
          <a:chExt cx="0" cy="0"/>
        </a:xfrm>
      </p:grpSpPr>
      <p:sp>
        <p:nvSpPr>
          <p:cNvPr id="8" name="Title 8"/>
          <p:cNvSpPr>
            <a:spLocks noGrp="1"/>
          </p:cNvSpPr>
          <p:nvPr>
            <p:ph type="title"/>
          </p:nvPr>
        </p:nvSpPr>
        <p:spPr>
          <a:xfrm>
            <a:off x="310500" y="273597"/>
            <a:ext cx="8415900" cy="511200"/>
          </a:xfrm>
          <a:prstGeom prst="rect">
            <a:avLst/>
          </a:prstGeom>
        </p:spPr>
        <p:txBody>
          <a:bodyPr vert="horz" anchor="t" anchorCtr="0"/>
          <a:lstStyle>
            <a:lvl1pPr algn="l">
              <a:lnSpc>
                <a:spcPct val="100000"/>
              </a:lnSpc>
              <a:defRPr sz="2100" b="1" baseline="0">
                <a:solidFill>
                  <a:schemeClr val="tx2"/>
                </a:solidFill>
                <a:latin typeface="Arial" pitchFamily="34" charset="0"/>
                <a:cs typeface="Arial" pitchFamily="34" charset="0"/>
              </a:defRPr>
            </a:lvl1pPr>
          </a:lstStyle>
          <a:p>
            <a:r>
              <a:rPr lang="en-US" noProof="0" dirty="0"/>
              <a:t>Click to edit Master title style</a:t>
            </a:r>
            <a:endParaRPr lang="en-GB" noProof="0" dirty="0"/>
          </a:p>
        </p:txBody>
      </p:sp>
      <p:sp>
        <p:nvSpPr>
          <p:cNvPr id="6" name="Text Placeholder 4"/>
          <p:cNvSpPr>
            <a:spLocks noGrp="1"/>
          </p:cNvSpPr>
          <p:nvPr>
            <p:ph type="body" sz="quarter" idx="10" hasCustomPrompt="1"/>
          </p:nvPr>
        </p:nvSpPr>
        <p:spPr>
          <a:xfrm>
            <a:off x="0" y="6659261"/>
            <a:ext cx="8892480" cy="198000"/>
          </a:xfrm>
          <a:prstGeom prst="rect">
            <a:avLst/>
          </a:prstGeom>
        </p:spPr>
        <p:txBody>
          <a:bodyPr anchor="b"/>
          <a:lstStyle>
            <a:lvl1pPr marL="0" indent="0">
              <a:spcBef>
                <a:spcPts val="0"/>
              </a:spcBef>
              <a:spcAft>
                <a:spcPts val="0"/>
              </a:spcAft>
              <a:buNone/>
              <a:defRPr sz="750" baseline="0"/>
            </a:lvl1pPr>
          </a:lstStyle>
          <a:p>
            <a:pPr lvl="0"/>
            <a:r>
              <a:rPr lang="en-US" dirty="0"/>
              <a:t>Click to edit footnote</a:t>
            </a:r>
          </a:p>
        </p:txBody>
      </p:sp>
    </p:spTree>
    <p:extLst>
      <p:ext uri="{BB962C8B-B14F-4D97-AF65-F5344CB8AC3E}">
        <p14:creationId xmlns:p14="http://schemas.microsoft.com/office/powerpoint/2010/main" val="281917109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only FINAL">
    <p:spTree>
      <p:nvGrpSpPr>
        <p:cNvPr id="1" name=""/>
        <p:cNvGrpSpPr/>
        <p:nvPr/>
      </p:nvGrpSpPr>
      <p:grpSpPr>
        <a:xfrm>
          <a:off x="0" y="0"/>
          <a:ext cx="0" cy="0"/>
          <a:chOff x="0" y="0"/>
          <a:chExt cx="0" cy="0"/>
        </a:xfrm>
      </p:grpSpPr>
      <p:sp>
        <p:nvSpPr>
          <p:cNvPr id="8" name="Title 8"/>
          <p:cNvSpPr>
            <a:spLocks noGrp="1"/>
          </p:cNvSpPr>
          <p:nvPr>
            <p:ph type="title"/>
          </p:nvPr>
        </p:nvSpPr>
        <p:spPr>
          <a:xfrm>
            <a:off x="310500" y="273597"/>
            <a:ext cx="8415900" cy="511200"/>
          </a:xfrm>
          <a:prstGeom prst="rect">
            <a:avLst/>
          </a:prstGeom>
        </p:spPr>
        <p:txBody>
          <a:bodyPr vert="horz" anchor="t" anchorCtr="0"/>
          <a:lstStyle>
            <a:lvl1pPr algn="l">
              <a:lnSpc>
                <a:spcPct val="100000"/>
              </a:lnSpc>
              <a:defRPr sz="2100" b="1" baseline="0">
                <a:solidFill>
                  <a:schemeClr val="tx2"/>
                </a:solidFill>
                <a:latin typeface="Arial" pitchFamily="34" charset="0"/>
                <a:cs typeface="Arial" pitchFamily="34" charset="0"/>
              </a:defRPr>
            </a:lvl1pPr>
          </a:lstStyle>
          <a:p>
            <a:r>
              <a:rPr lang="en-GB" noProof="0" dirty="0"/>
              <a:t>Click to edit Master title style</a:t>
            </a:r>
          </a:p>
        </p:txBody>
      </p:sp>
      <p:sp>
        <p:nvSpPr>
          <p:cNvPr id="6" name="Text Placeholder 4"/>
          <p:cNvSpPr>
            <a:spLocks noGrp="1"/>
          </p:cNvSpPr>
          <p:nvPr>
            <p:ph type="body" sz="quarter" idx="10" hasCustomPrompt="1"/>
          </p:nvPr>
        </p:nvSpPr>
        <p:spPr>
          <a:xfrm>
            <a:off x="0" y="6659261"/>
            <a:ext cx="8892480" cy="198000"/>
          </a:xfrm>
          <a:prstGeom prst="rect">
            <a:avLst/>
          </a:prstGeom>
        </p:spPr>
        <p:txBody>
          <a:bodyPr anchor="b"/>
          <a:lstStyle>
            <a:lvl1pPr marL="0" indent="0">
              <a:spcBef>
                <a:spcPts val="0"/>
              </a:spcBef>
              <a:spcAft>
                <a:spcPts val="0"/>
              </a:spcAft>
              <a:buNone/>
              <a:defRPr sz="750" baseline="0"/>
            </a:lvl1pPr>
          </a:lstStyle>
          <a:p>
            <a:pPr lvl="0"/>
            <a:r>
              <a:rPr lang="en-GB" noProof="0" dirty="0"/>
              <a:t>Click to edit footnote</a:t>
            </a:r>
          </a:p>
        </p:txBody>
      </p:sp>
    </p:spTree>
    <p:extLst>
      <p:ext uri="{BB962C8B-B14F-4D97-AF65-F5344CB8AC3E}">
        <p14:creationId xmlns:p14="http://schemas.microsoft.com/office/powerpoint/2010/main" val="1664512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9566" y="274643"/>
            <a:ext cx="8415337" cy="511175"/>
          </a:xfrm>
          <a:prstGeom prst="rect">
            <a:avLst/>
          </a:prstGeom>
        </p:spPr>
        <p:txBody>
          <a:bodyPr lIns="91438" tIns="45719" rIns="91438" bIns="45719"/>
          <a:lstStyle/>
          <a:p>
            <a:r>
              <a:rPr lang="en-US"/>
              <a:t>Click to edit Master title style</a:t>
            </a:r>
          </a:p>
        </p:txBody>
      </p:sp>
      <p:sp>
        <p:nvSpPr>
          <p:cNvPr id="3" name="Rectangle 5"/>
          <p:cNvSpPr>
            <a:spLocks noGrp="1" noChangeArrowheads="1"/>
          </p:cNvSpPr>
          <p:nvPr>
            <p:ph type="ftr" sz="quarter" idx="10"/>
          </p:nvPr>
        </p:nvSpPr>
        <p:spPr>
          <a:xfrm>
            <a:off x="0" y="6660000"/>
            <a:ext cx="8893800" cy="198000"/>
          </a:xfrm>
          <a:prstGeom prst="rect">
            <a:avLst/>
          </a:prstGeom>
        </p:spPr>
        <p:txBody>
          <a:bodyPr lIns="91438" tIns="45719" rIns="91438" bIns="45719" anchor="b"/>
          <a:lstStyle>
            <a:lvl1pPr defTabSz="342892">
              <a:defRPr sz="750" b="0">
                <a:ea typeface="ＭＳ Ｐゴシック" charset="0"/>
              </a:defRPr>
            </a:lvl1pPr>
          </a:lstStyle>
          <a:p>
            <a:pPr fontAlgn="auto">
              <a:spcBef>
                <a:spcPts val="0"/>
              </a:spcBef>
              <a:spcAft>
                <a:spcPts val="0"/>
              </a:spcAft>
              <a:defRPr/>
            </a:pPr>
            <a:r>
              <a:rPr lang="en-US">
                <a:solidFill>
                  <a:srgbClr val="000000"/>
                </a:solidFill>
                <a:latin typeface="Arial"/>
              </a:rPr>
              <a:t>Click to edit footnote</a:t>
            </a:r>
            <a:endParaRPr lang="en-US" dirty="0">
              <a:solidFill>
                <a:srgbClr val="000000"/>
              </a:solidFill>
              <a:latin typeface="Arial"/>
            </a:endParaRPr>
          </a:p>
        </p:txBody>
      </p:sp>
    </p:spTree>
    <p:extLst>
      <p:ext uri="{BB962C8B-B14F-4D97-AF65-F5344CB8AC3E}">
        <p14:creationId xmlns:p14="http://schemas.microsoft.com/office/powerpoint/2010/main" val="3930627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ICL_Title, Content, Footer">
    <p:spTree>
      <p:nvGrpSpPr>
        <p:cNvPr id="1" name=""/>
        <p:cNvGrpSpPr/>
        <p:nvPr/>
      </p:nvGrpSpPr>
      <p:grpSpPr>
        <a:xfrm>
          <a:off x="0" y="0"/>
          <a:ext cx="0" cy="0"/>
          <a:chOff x="0" y="0"/>
          <a:chExt cx="0" cy="0"/>
        </a:xfrm>
      </p:grpSpPr>
      <p:sp>
        <p:nvSpPr>
          <p:cNvPr id="2" name="Title 1"/>
          <p:cNvSpPr>
            <a:spLocks noGrp="1"/>
          </p:cNvSpPr>
          <p:nvPr>
            <p:ph type="title"/>
          </p:nvPr>
        </p:nvSpPr>
        <p:spPr>
          <a:xfrm>
            <a:off x="310505" y="273605"/>
            <a:ext cx="8415337" cy="511175"/>
          </a:xfrm>
          <a:prstGeom prst="rect">
            <a:avLst/>
          </a:prstGeom>
        </p:spPr>
        <p:txBody>
          <a:bodyPr/>
          <a:lstStyle>
            <a:lvl1pPr>
              <a:defRPr sz="2100"/>
            </a:lvl1pPr>
          </a:lstStyle>
          <a:p>
            <a:r>
              <a:rPr lang="en-US" dirty="0"/>
              <a:t>Click to edit Master title style</a:t>
            </a:r>
          </a:p>
        </p:txBody>
      </p:sp>
      <p:sp>
        <p:nvSpPr>
          <p:cNvPr id="3" name="Content Placeholder 2"/>
          <p:cNvSpPr>
            <a:spLocks noGrp="1"/>
          </p:cNvSpPr>
          <p:nvPr>
            <p:ph idx="1"/>
          </p:nvPr>
        </p:nvSpPr>
        <p:spPr>
          <a:xfrm>
            <a:off x="310500" y="1044000"/>
            <a:ext cx="8415900" cy="4230000"/>
          </a:xfrm>
          <a:prstGeom prst="rect">
            <a:avLst/>
          </a:prstGeom>
        </p:spPr>
        <p:txBody>
          <a:bodyPr/>
          <a:lstStyle>
            <a:lvl1pPr marL="213295" indent="-213295">
              <a:spcBef>
                <a:spcPts val="900"/>
              </a:spcBef>
              <a:spcAft>
                <a:spcPts val="0"/>
              </a:spcAft>
              <a:defRPr sz="1350"/>
            </a:lvl1pPr>
            <a:lvl2pPr marL="458989" indent="-213295">
              <a:spcBef>
                <a:spcPts val="450"/>
              </a:spcBef>
              <a:spcAft>
                <a:spcPts val="0"/>
              </a:spcAft>
              <a:buClr>
                <a:schemeClr val="tx2"/>
              </a:buClr>
              <a:buFont typeface="Arial" panose="020B0604020202020204" pitchFamily="34" charset="0"/>
              <a:buChar char="–"/>
              <a:defRPr sz="1200"/>
            </a:lvl2pPr>
            <a:lvl3pPr marL="609585" indent="-133347">
              <a:spcBef>
                <a:spcPts val="225"/>
              </a:spcBef>
              <a:spcAft>
                <a:spcPts val="0"/>
              </a:spcAft>
              <a:buClr>
                <a:schemeClr val="tx2"/>
              </a:buClr>
              <a:defRPr sz="1050"/>
            </a:lvl3pPr>
            <a:lvl4pPr marL="609585" indent="-133347">
              <a:spcBef>
                <a:spcPts val="225"/>
              </a:spcBef>
              <a:spcAft>
                <a:spcPts val="0"/>
              </a:spcAft>
              <a:buClr>
                <a:schemeClr val="tx2"/>
              </a:buClr>
              <a:defRPr sz="1050"/>
            </a:lvl4pPr>
            <a:lvl5pPr marL="609585" indent="-133347">
              <a:spcBef>
                <a:spcPts val="225"/>
              </a:spcBef>
              <a:spcAft>
                <a:spcPts val="0"/>
              </a:spcAft>
              <a:buClr>
                <a:schemeClr val="tx2"/>
              </a:buCl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noChangeArrowheads="1"/>
          </p:cNvSpPr>
          <p:nvPr>
            <p:ph type="ftr" sz="quarter" idx="10"/>
          </p:nvPr>
        </p:nvSpPr>
        <p:spPr>
          <a:xfrm>
            <a:off x="0" y="6660000"/>
            <a:ext cx="8893800" cy="198000"/>
          </a:xfrm>
          <a:prstGeom prst="rect">
            <a:avLst/>
          </a:prstGeom>
        </p:spPr>
        <p:txBody>
          <a:bodyPr lIns="91438" tIns="45719" rIns="91438" bIns="45719" anchor="b"/>
          <a:lstStyle>
            <a:lvl1pPr defTabSz="342892">
              <a:defRPr sz="750" b="0">
                <a:ea typeface="ＭＳ Ｐゴシック" charset="0"/>
              </a:defRPr>
            </a:lvl1pPr>
          </a:lstStyle>
          <a:p>
            <a:pPr fontAlgn="auto">
              <a:spcBef>
                <a:spcPts val="0"/>
              </a:spcBef>
              <a:spcAft>
                <a:spcPts val="0"/>
              </a:spcAft>
              <a:defRPr/>
            </a:pPr>
            <a:r>
              <a:rPr lang="en-US" dirty="0">
                <a:solidFill>
                  <a:srgbClr val="000000"/>
                </a:solidFill>
                <a:latin typeface="Arial"/>
              </a:rPr>
              <a:t>Click to edit footnote</a:t>
            </a:r>
          </a:p>
        </p:txBody>
      </p:sp>
    </p:spTree>
    <p:extLst>
      <p:ext uri="{BB962C8B-B14F-4D97-AF65-F5344CB8AC3E}">
        <p14:creationId xmlns:p14="http://schemas.microsoft.com/office/powerpoint/2010/main" val="2680412219"/>
      </p:ext>
    </p:extLst>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7"/>
          <p:cNvSpPr>
            <a:spLocks noGrp="1"/>
          </p:cNvSpPr>
          <p:nvPr>
            <p:ph type="body" sz="quarter" idx="13"/>
          </p:nvPr>
        </p:nvSpPr>
        <p:spPr>
          <a:xfrm>
            <a:off x="251531" y="6268574"/>
            <a:ext cx="6842125" cy="359037"/>
          </a:xfrm>
        </p:spPr>
        <p:txBody>
          <a:bodyPr anchor="b">
            <a:spAutoFit/>
          </a:bodyPr>
          <a:lstStyle>
            <a:lvl1pPr marL="0" indent="0">
              <a:buNone/>
              <a:defRPr sz="850"/>
            </a:lvl1pPr>
            <a:lvl2pPr marL="342811" indent="0">
              <a:buNone/>
              <a:defRPr sz="850"/>
            </a:lvl2pPr>
            <a:lvl3pPr marL="685625" indent="0">
              <a:buNone/>
              <a:defRPr sz="850"/>
            </a:lvl3pPr>
            <a:lvl4pPr marL="1028435" indent="0">
              <a:buNone/>
              <a:defRPr sz="850"/>
            </a:lvl4pPr>
            <a:lvl5pPr marL="1371248" indent="0">
              <a:buNone/>
              <a:defRPr sz="850"/>
            </a:lvl5pPr>
          </a:lstStyle>
          <a:p>
            <a:pPr lvl="0"/>
            <a:r>
              <a:rPr lang="en-US" dirty="0"/>
              <a:t>Click to edit Master text styles</a:t>
            </a:r>
            <a:endParaRPr lang="en-GB" dirty="0"/>
          </a:p>
        </p:txBody>
      </p:sp>
      <p:sp>
        <p:nvSpPr>
          <p:cNvPr id="7" name="Slide Number Placeholder 3"/>
          <p:cNvSpPr>
            <a:spLocks noGrp="1"/>
          </p:cNvSpPr>
          <p:nvPr>
            <p:ph type="sldNum" sz="quarter" idx="12"/>
          </p:nvPr>
        </p:nvSpPr>
        <p:spPr>
          <a:xfrm>
            <a:off x="8208624" y="6597352"/>
            <a:ext cx="935376" cy="260648"/>
          </a:xfrm>
        </p:spPr>
        <p:txBody>
          <a:bodyPr/>
          <a:lstStyle/>
          <a:p>
            <a:pPr defTabSz="685557" fontAlgn="auto">
              <a:spcBef>
                <a:spcPts val="0"/>
              </a:spcBef>
              <a:spcAft>
                <a:spcPts val="0"/>
              </a:spcAft>
            </a:pPr>
            <a:fld id="{4AD7133C-5F9C-4F7F-9637-3E296898A784}" type="slidenum">
              <a:rPr lang="en-GB" sz="1350" b="0" smtClean="0">
                <a:solidFill>
                  <a:srgbClr val="5A5A5A">
                    <a:tint val="75000"/>
                  </a:srgbClr>
                </a:solidFill>
                <a:latin typeface="Arial"/>
              </a:rPr>
              <a:pPr defTabSz="685557" fontAlgn="auto">
                <a:spcBef>
                  <a:spcPts val="0"/>
                </a:spcBef>
                <a:spcAft>
                  <a:spcPts val="0"/>
                </a:spcAft>
              </a:pPr>
              <a:t>‹#›</a:t>
            </a:fld>
            <a:endParaRPr lang="en-GB" sz="1350" b="0" dirty="0">
              <a:solidFill>
                <a:srgbClr val="5A5A5A">
                  <a:tint val="75000"/>
                </a:srgbClr>
              </a:solidFill>
              <a:latin typeface="Arial"/>
            </a:endParaRPr>
          </a:p>
        </p:txBody>
      </p:sp>
    </p:spTree>
    <p:extLst>
      <p:ext uri="{BB962C8B-B14F-4D97-AF65-F5344CB8AC3E}">
        <p14:creationId xmlns:p14="http://schemas.microsoft.com/office/powerpoint/2010/main" val="389779037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V1.0 Title only_FINAL">
    <p:spTree>
      <p:nvGrpSpPr>
        <p:cNvPr id="1" name=""/>
        <p:cNvGrpSpPr/>
        <p:nvPr/>
      </p:nvGrpSpPr>
      <p:grpSpPr>
        <a:xfrm>
          <a:off x="0" y="0"/>
          <a:ext cx="0" cy="0"/>
          <a:chOff x="0" y="0"/>
          <a:chExt cx="0" cy="0"/>
        </a:xfrm>
      </p:grpSpPr>
      <p:sp>
        <p:nvSpPr>
          <p:cNvPr id="8" name="Title 8"/>
          <p:cNvSpPr>
            <a:spLocks noGrp="1"/>
          </p:cNvSpPr>
          <p:nvPr>
            <p:ph type="title"/>
          </p:nvPr>
        </p:nvSpPr>
        <p:spPr>
          <a:xfrm>
            <a:off x="310500" y="273597"/>
            <a:ext cx="8415900" cy="511200"/>
          </a:xfrm>
          <a:prstGeom prst="rect">
            <a:avLst/>
          </a:prstGeom>
        </p:spPr>
        <p:txBody>
          <a:bodyPr vert="horz" anchor="t" anchorCtr="0"/>
          <a:lstStyle>
            <a:lvl1pPr algn="l">
              <a:lnSpc>
                <a:spcPct val="100000"/>
              </a:lnSpc>
              <a:defRPr sz="2100" b="1" baseline="0">
                <a:solidFill>
                  <a:schemeClr val="tx2"/>
                </a:solidFill>
                <a:latin typeface="Arial" pitchFamily="34" charset="0"/>
                <a:cs typeface="Arial" pitchFamily="34" charset="0"/>
              </a:defRPr>
            </a:lvl1pPr>
          </a:lstStyle>
          <a:p>
            <a:r>
              <a:rPr lang="en-US" noProof="0" dirty="0"/>
              <a:t>Click to edit Master title style</a:t>
            </a:r>
            <a:endParaRPr lang="en-GB" noProof="0" dirty="0"/>
          </a:p>
        </p:txBody>
      </p:sp>
      <p:sp>
        <p:nvSpPr>
          <p:cNvPr id="6" name="Text Placeholder 4"/>
          <p:cNvSpPr>
            <a:spLocks noGrp="1"/>
          </p:cNvSpPr>
          <p:nvPr>
            <p:ph type="body" sz="quarter" idx="10" hasCustomPrompt="1"/>
          </p:nvPr>
        </p:nvSpPr>
        <p:spPr>
          <a:xfrm>
            <a:off x="0" y="6659261"/>
            <a:ext cx="8892480" cy="198000"/>
          </a:xfrm>
          <a:prstGeom prst="rect">
            <a:avLst/>
          </a:prstGeom>
        </p:spPr>
        <p:txBody>
          <a:bodyPr anchor="b"/>
          <a:lstStyle>
            <a:lvl1pPr marL="0" indent="0">
              <a:spcBef>
                <a:spcPts val="0"/>
              </a:spcBef>
              <a:spcAft>
                <a:spcPts val="0"/>
              </a:spcAft>
              <a:buNone/>
              <a:defRPr sz="750" baseline="0"/>
            </a:lvl1pPr>
          </a:lstStyle>
          <a:p>
            <a:pPr lvl="0"/>
            <a:r>
              <a:rPr lang="en-US" dirty="0"/>
              <a:t>Click to edit footnote</a:t>
            </a:r>
          </a:p>
        </p:txBody>
      </p:sp>
    </p:spTree>
    <p:extLst>
      <p:ext uri="{BB962C8B-B14F-4D97-AF65-F5344CB8AC3E}">
        <p14:creationId xmlns:p14="http://schemas.microsoft.com/office/powerpoint/2010/main" val="315141731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V1.0 Title only">
    <p:spTree>
      <p:nvGrpSpPr>
        <p:cNvPr id="1" name=""/>
        <p:cNvGrpSpPr/>
        <p:nvPr/>
      </p:nvGrpSpPr>
      <p:grpSpPr>
        <a:xfrm>
          <a:off x="0" y="0"/>
          <a:ext cx="0" cy="0"/>
          <a:chOff x="0" y="0"/>
          <a:chExt cx="0" cy="0"/>
        </a:xfrm>
      </p:grpSpPr>
      <p:sp>
        <p:nvSpPr>
          <p:cNvPr id="8" name="Title 8"/>
          <p:cNvSpPr>
            <a:spLocks noGrp="1"/>
          </p:cNvSpPr>
          <p:nvPr>
            <p:ph type="title"/>
          </p:nvPr>
        </p:nvSpPr>
        <p:spPr>
          <a:xfrm>
            <a:off x="310500" y="273597"/>
            <a:ext cx="8415900" cy="511200"/>
          </a:xfrm>
          <a:prstGeom prst="rect">
            <a:avLst/>
          </a:prstGeom>
        </p:spPr>
        <p:txBody>
          <a:bodyPr vert="horz" anchor="t" anchorCtr="0"/>
          <a:lstStyle>
            <a:lvl1pPr algn="l">
              <a:lnSpc>
                <a:spcPct val="100000"/>
              </a:lnSpc>
              <a:defRPr sz="2100" b="1" baseline="0">
                <a:solidFill>
                  <a:schemeClr val="tx2"/>
                </a:solidFill>
                <a:latin typeface="Arial" pitchFamily="34" charset="0"/>
                <a:cs typeface="Arial" pitchFamily="34" charset="0"/>
              </a:defRPr>
            </a:lvl1pPr>
          </a:lstStyle>
          <a:p>
            <a:r>
              <a:rPr lang="en-US" noProof="0" dirty="0"/>
              <a:t>Click to edit Master title style</a:t>
            </a:r>
            <a:endParaRPr lang="en-GB" noProof="0" dirty="0"/>
          </a:p>
        </p:txBody>
      </p:sp>
      <p:sp>
        <p:nvSpPr>
          <p:cNvPr id="6" name="Text Placeholder 4"/>
          <p:cNvSpPr>
            <a:spLocks noGrp="1"/>
          </p:cNvSpPr>
          <p:nvPr>
            <p:ph type="body" sz="quarter" idx="10" hasCustomPrompt="1"/>
          </p:nvPr>
        </p:nvSpPr>
        <p:spPr>
          <a:xfrm>
            <a:off x="0" y="6659261"/>
            <a:ext cx="8892480" cy="198000"/>
          </a:xfrm>
          <a:prstGeom prst="rect">
            <a:avLst/>
          </a:prstGeom>
        </p:spPr>
        <p:txBody>
          <a:bodyPr anchor="b"/>
          <a:lstStyle>
            <a:lvl1pPr marL="0" indent="0">
              <a:spcBef>
                <a:spcPts val="0"/>
              </a:spcBef>
              <a:spcAft>
                <a:spcPts val="0"/>
              </a:spcAft>
              <a:buNone/>
              <a:defRPr sz="750" baseline="0"/>
            </a:lvl1pPr>
          </a:lstStyle>
          <a:p>
            <a:pPr lvl="0"/>
            <a:r>
              <a:rPr lang="en-US" dirty="0"/>
              <a:t>Click to edit footnote</a:t>
            </a:r>
          </a:p>
        </p:txBody>
      </p:sp>
    </p:spTree>
    <p:extLst>
      <p:ext uri="{BB962C8B-B14F-4D97-AF65-F5344CB8AC3E}">
        <p14:creationId xmlns:p14="http://schemas.microsoft.com/office/powerpoint/2010/main" val="72722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V1.0 Title and content">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310500" y="1042570"/>
            <a:ext cx="8415900" cy="4229521"/>
          </a:xfrm>
          <a:prstGeom prst="rect">
            <a:avLst/>
          </a:prstGeom>
        </p:spPr>
        <p:txBody>
          <a:bodyPr vert="horz"/>
          <a:lstStyle>
            <a:lvl1pPr marL="213300" indent="-213300">
              <a:spcBef>
                <a:spcPts val="900"/>
              </a:spcBef>
              <a:buFont typeface="Arial" panose="020B0604020202020204" pitchFamily="34" charset="0"/>
              <a:buChar char="•"/>
              <a:defRPr sz="1350" baseline="0">
                <a:solidFill>
                  <a:schemeClr val="tx1"/>
                </a:solidFill>
                <a:latin typeface="Arial" pitchFamily="34" charset="0"/>
                <a:cs typeface="Arial" pitchFamily="34" charset="0"/>
              </a:defRPr>
            </a:lvl1pPr>
            <a:lvl2pPr marL="426600" indent="-213300">
              <a:spcBef>
                <a:spcPts val="450"/>
              </a:spcBef>
              <a:buClr>
                <a:schemeClr val="tx2"/>
              </a:buClr>
              <a:buFont typeface="Arial" panose="020B0604020202020204" pitchFamily="34" charset="0"/>
              <a:buChar char="–"/>
              <a:defRPr sz="1200"/>
            </a:lvl2pPr>
            <a:lvl3pPr marL="639900" indent="-213300">
              <a:spcBef>
                <a:spcPts val="225"/>
              </a:spcBef>
              <a:buClr>
                <a:schemeClr val="tx2"/>
              </a:buClr>
              <a:buFont typeface="Arial" panose="020B0604020202020204" pitchFamily="34" charset="0"/>
              <a:buChar char="•"/>
              <a:defRPr sz="1050"/>
            </a:lvl3pPr>
            <a:lvl4pPr marL="1028675" indent="0">
              <a:buNone/>
              <a:defRPr sz="1800"/>
            </a:lvl4pPr>
            <a:lvl5pPr marL="1371566" indent="0">
              <a:buNone/>
              <a:defRPr sz="1800"/>
            </a:lvl5pPr>
          </a:lstStyle>
          <a:p>
            <a:pPr lvl="0"/>
            <a:r>
              <a:rPr lang="en-US" noProof="0" dirty="0"/>
              <a:t>Click to edit Master text styles</a:t>
            </a:r>
          </a:p>
          <a:p>
            <a:pPr lvl="1"/>
            <a:r>
              <a:rPr lang="en-US" noProof="0" dirty="0"/>
              <a:t>Second</a:t>
            </a:r>
          </a:p>
          <a:p>
            <a:pPr lvl="2"/>
            <a:r>
              <a:rPr lang="en-US" noProof="0" dirty="0"/>
              <a:t>Third</a:t>
            </a:r>
          </a:p>
        </p:txBody>
      </p:sp>
      <p:sp>
        <p:nvSpPr>
          <p:cNvPr id="8" name="Title 8"/>
          <p:cNvSpPr>
            <a:spLocks noGrp="1"/>
          </p:cNvSpPr>
          <p:nvPr>
            <p:ph type="title"/>
          </p:nvPr>
        </p:nvSpPr>
        <p:spPr>
          <a:xfrm>
            <a:off x="310500" y="273597"/>
            <a:ext cx="8415900" cy="511200"/>
          </a:xfrm>
          <a:prstGeom prst="rect">
            <a:avLst/>
          </a:prstGeom>
        </p:spPr>
        <p:txBody>
          <a:bodyPr vert="horz" anchor="t" anchorCtr="0"/>
          <a:lstStyle>
            <a:lvl1pPr algn="l">
              <a:lnSpc>
                <a:spcPct val="100000"/>
              </a:lnSpc>
              <a:defRPr sz="2100" b="1" baseline="0">
                <a:solidFill>
                  <a:schemeClr val="tx2"/>
                </a:solidFill>
                <a:latin typeface="Arial" pitchFamily="34" charset="0"/>
                <a:cs typeface="Arial" pitchFamily="34" charset="0"/>
              </a:defRPr>
            </a:lvl1pPr>
          </a:lstStyle>
          <a:p>
            <a:r>
              <a:rPr lang="en-US" noProof="0" dirty="0"/>
              <a:t>Click to edit Master title style</a:t>
            </a:r>
            <a:endParaRPr lang="en-GB" noProof="0" dirty="0"/>
          </a:p>
        </p:txBody>
      </p:sp>
      <p:sp>
        <p:nvSpPr>
          <p:cNvPr id="6" name="Text Placeholder 4"/>
          <p:cNvSpPr>
            <a:spLocks noGrp="1"/>
          </p:cNvSpPr>
          <p:nvPr>
            <p:ph type="body" sz="quarter" idx="10" hasCustomPrompt="1"/>
          </p:nvPr>
        </p:nvSpPr>
        <p:spPr>
          <a:xfrm>
            <a:off x="0" y="6659261"/>
            <a:ext cx="8892480" cy="198000"/>
          </a:xfrm>
          <a:prstGeom prst="rect">
            <a:avLst/>
          </a:prstGeom>
        </p:spPr>
        <p:txBody>
          <a:bodyPr anchor="b"/>
          <a:lstStyle>
            <a:lvl1pPr marL="0" indent="0">
              <a:spcBef>
                <a:spcPts val="0"/>
              </a:spcBef>
              <a:spcAft>
                <a:spcPts val="0"/>
              </a:spcAft>
              <a:buNone/>
              <a:defRPr sz="750" baseline="0"/>
            </a:lvl1pPr>
          </a:lstStyle>
          <a:p>
            <a:pPr lvl="0"/>
            <a:r>
              <a:rPr lang="en-US" dirty="0"/>
              <a:t>Click to edit footnote</a:t>
            </a:r>
          </a:p>
        </p:txBody>
      </p:sp>
    </p:spTree>
    <p:extLst>
      <p:ext uri="{BB962C8B-B14F-4D97-AF65-F5344CB8AC3E}">
        <p14:creationId xmlns:p14="http://schemas.microsoft.com/office/powerpoint/2010/main" val="11503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8" name="Content Placeholder 2"/>
          <p:cNvSpPr>
            <a:spLocks noGrp="1"/>
          </p:cNvSpPr>
          <p:nvPr>
            <p:ph idx="15" hasCustomPrompt="1"/>
          </p:nvPr>
        </p:nvSpPr>
        <p:spPr>
          <a:xfrm>
            <a:off x="237600" y="1573699"/>
            <a:ext cx="7056000" cy="2160000"/>
          </a:xfrm>
          <a:prstGeom prst="rect">
            <a:avLst/>
          </a:prstGeom>
        </p:spPr>
        <p:txBody>
          <a:bodyPr/>
          <a:lstStyle>
            <a:lvl1pPr marL="180000" indent="-180000">
              <a:lnSpc>
                <a:spcPct val="15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5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0" y="621735"/>
            <a:ext cx="8765651" cy="432000"/>
          </a:xfrm>
          <a:prstGeom prst="rect">
            <a:avLst/>
          </a:prstGeom>
        </p:spPr>
        <p:txBody>
          <a:bodyPr/>
          <a:lstStyle>
            <a:lvl1pPr marL="0" indent="0" algn="l">
              <a:lnSpc>
                <a:spcPct val="100000"/>
              </a:lnSpc>
              <a:spcBef>
                <a:spcPts val="0"/>
              </a:spcBef>
              <a:buNone/>
              <a:defRPr sz="2400">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Click to add subtitle</a:t>
            </a:r>
          </a:p>
        </p:txBody>
      </p:sp>
      <p:sp>
        <p:nvSpPr>
          <p:cNvPr id="10"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15553654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V1.0 _Title only">
    <p:spTree>
      <p:nvGrpSpPr>
        <p:cNvPr id="1" name=""/>
        <p:cNvGrpSpPr/>
        <p:nvPr/>
      </p:nvGrpSpPr>
      <p:grpSpPr>
        <a:xfrm>
          <a:off x="0" y="0"/>
          <a:ext cx="0" cy="0"/>
          <a:chOff x="0" y="0"/>
          <a:chExt cx="0" cy="0"/>
        </a:xfrm>
      </p:grpSpPr>
      <p:sp>
        <p:nvSpPr>
          <p:cNvPr id="8" name="Title 8"/>
          <p:cNvSpPr>
            <a:spLocks noGrp="1"/>
          </p:cNvSpPr>
          <p:nvPr>
            <p:ph type="title"/>
          </p:nvPr>
        </p:nvSpPr>
        <p:spPr>
          <a:xfrm>
            <a:off x="310500" y="273597"/>
            <a:ext cx="8415900" cy="511200"/>
          </a:xfrm>
          <a:prstGeom prst="rect">
            <a:avLst/>
          </a:prstGeom>
        </p:spPr>
        <p:txBody>
          <a:bodyPr vert="horz" anchor="t" anchorCtr="0"/>
          <a:lstStyle>
            <a:lvl1pPr algn="l">
              <a:lnSpc>
                <a:spcPct val="100000"/>
              </a:lnSpc>
              <a:defRPr sz="2100" b="1" baseline="0">
                <a:solidFill>
                  <a:schemeClr val="tx2"/>
                </a:solidFill>
                <a:latin typeface="Arial" pitchFamily="34" charset="0"/>
                <a:cs typeface="Arial" pitchFamily="34" charset="0"/>
              </a:defRPr>
            </a:lvl1pPr>
          </a:lstStyle>
          <a:p>
            <a:r>
              <a:rPr lang="en-US" noProof="0" dirty="0"/>
              <a:t>Click to edit Master title style</a:t>
            </a:r>
            <a:endParaRPr lang="en-GB" noProof="0" dirty="0"/>
          </a:p>
        </p:txBody>
      </p:sp>
      <p:sp>
        <p:nvSpPr>
          <p:cNvPr id="6" name="Text Placeholder 4"/>
          <p:cNvSpPr>
            <a:spLocks noGrp="1"/>
          </p:cNvSpPr>
          <p:nvPr>
            <p:ph type="body" sz="quarter" idx="10" hasCustomPrompt="1"/>
          </p:nvPr>
        </p:nvSpPr>
        <p:spPr>
          <a:xfrm>
            <a:off x="0" y="6659261"/>
            <a:ext cx="8892480" cy="198000"/>
          </a:xfrm>
          <a:prstGeom prst="rect">
            <a:avLst/>
          </a:prstGeom>
        </p:spPr>
        <p:txBody>
          <a:bodyPr anchor="b"/>
          <a:lstStyle>
            <a:lvl1pPr marL="0" indent="0">
              <a:spcBef>
                <a:spcPts val="0"/>
              </a:spcBef>
              <a:spcAft>
                <a:spcPts val="0"/>
              </a:spcAft>
              <a:buNone/>
              <a:defRPr sz="750" baseline="0"/>
            </a:lvl1pPr>
          </a:lstStyle>
          <a:p>
            <a:pPr lvl="0"/>
            <a:r>
              <a:rPr lang="en-US" dirty="0"/>
              <a:t>Click to edit footnote</a:t>
            </a:r>
          </a:p>
        </p:txBody>
      </p:sp>
    </p:spTree>
    <p:extLst>
      <p:ext uri="{BB962C8B-B14F-4D97-AF65-F5344CB8AC3E}">
        <p14:creationId xmlns:p14="http://schemas.microsoft.com/office/powerpoint/2010/main" val="49604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0501" y="273600"/>
            <a:ext cx="7814324" cy="672000"/>
          </a:xfrm>
          <a:prstGeom prst="rect">
            <a:avLst/>
          </a:prstGeom>
        </p:spPr>
        <p:txBody>
          <a:bodyPr vert="horz"/>
          <a:lstStyle>
            <a:lvl1pPr algn="l">
              <a:lnSpc>
                <a:spcPct val="100000"/>
              </a:lnSpc>
              <a:defRPr sz="2100" b="1" baseline="0">
                <a:solidFill>
                  <a:srgbClr val="830051"/>
                </a:solidFill>
                <a:latin typeface="Arial" pitchFamily="34" charset="0"/>
                <a:cs typeface="Arial" pitchFamily="34" charset="0"/>
              </a:defRPr>
            </a:lvl1pPr>
          </a:lstStyle>
          <a:p>
            <a:r>
              <a:rPr lang="en-GB" noProof="0" dirty="0"/>
              <a:t>Click to add title</a:t>
            </a:r>
          </a:p>
        </p:txBody>
      </p:sp>
      <p:sp>
        <p:nvSpPr>
          <p:cNvPr id="9" name="Content Placeholder 2"/>
          <p:cNvSpPr>
            <a:spLocks noGrp="1"/>
          </p:cNvSpPr>
          <p:nvPr>
            <p:ph idx="15" hasCustomPrompt="1"/>
          </p:nvPr>
        </p:nvSpPr>
        <p:spPr>
          <a:xfrm>
            <a:off x="310502" y="1602005"/>
            <a:ext cx="7887225" cy="4250517"/>
          </a:xfrm>
          <a:prstGeom prst="rect">
            <a:avLst/>
          </a:prstGeom>
        </p:spPr>
        <p:txBody>
          <a:bodyPr/>
          <a:lstStyle>
            <a:lvl1pPr marL="213300" indent="-213300">
              <a:lnSpc>
                <a:spcPct val="100000"/>
              </a:lnSpc>
              <a:spcBef>
                <a:spcPts val="900"/>
              </a:spcBef>
              <a:buClr>
                <a:srgbClr val="830051"/>
              </a:buClr>
              <a:buFont typeface="Arial" pitchFamily="34" charset="0"/>
              <a:buChar char="•"/>
              <a:defRPr sz="1350">
                <a:solidFill>
                  <a:schemeClr val="tx1"/>
                </a:solidFill>
                <a:latin typeface="Arial" pitchFamily="34" charset="0"/>
                <a:cs typeface="Arial" pitchFamily="34" charset="0"/>
              </a:defRPr>
            </a:lvl1pPr>
            <a:lvl2pPr marL="427613" indent="-214313" defTabSz="539723">
              <a:lnSpc>
                <a:spcPct val="100000"/>
              </a:lnSpc>
              <a:spcBef>
                <a:spcPts val="450"/>
              </a:spcBef>
              <a:buClr>
                <a:schemeClr val="tx2"/>
              </a:buClr>
              <a:buFont typeface="Arial" panose="020B0604020202020204" pitchFamily="34" charset="0"/>
              <a:buChar char="–"/>
              <a:defRPr lang="en-GB" sz="1200" kern="1200" baseline="0" noProof="0" dirty="0" smtClean="0">
                <a:solidFill>
                  <a:schemeClr val="tx1"/>
                </a:solidFill>
                <a:latin typeface="Arial" pitchFamily="34" charset="0"/>
                <a:ea typeface="+mn-ea"/>
                <a:cs typeface="Arial" pitchFamily="34" charset="0"/>
              </a:defRPr>
            </a:lvl2pPr>
            <a:lvl3pPr marL="639900" indent="-213300">
              <a:spcBef>
                <a:spcPts val="225"/>
              </a:spcBef>
              <a:buClr>
                <a:schemeClr val="tx2"/>
              </a:buClr>
              <a:defRPr sz="1050" baseline="0">
                <a:latin typeface="Arial" pitchFamily="34" charset="0"/>
                <a:cs typeface="Arial" pitchFamily="34" charset="0"/>
              </a:defRPr>
            </a:lvl3pPr>
            <a:lvl4pPr marL="467076" indent="-134994">
              <a:defRPr sz="1050">
                <a:latin typeface="Arial" pitchFamily="34" charset="0"/>
                <a:cs typeface="Arial" pitchFamily="34" charset="0"/>
              </a:defRPr>
            </a:lvl4pPr>
            <a:lvl5pPr marL="467076">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2"/>
            <a:r>
              <a:rPr lang="en-GB" noProof="0" dirty="0"/>
              <a:t>Third level</a:t>
            </a:r>
          </a:p>
        </p:txBody>
      </p:sp>
      <p:sp>
        <p:nvSpPr>
          <p:cNvPr id="7" name="Text Placeholder 2"/>
          <p:cNvSpPr>
            <a:spLocks noGrp="1"/>
          </p:cNvSpPr>
          <p:nvPr>
            <p:ph type="body" sz="quarter" idx="17"/>
          </p:nvPr>
        </p:nvSpPr>
        <p:spPr>
          <a:xfrm>
            <a:off x="113765" y="6507339"/>
            <a:ext cx="7306365" cy="328084"/>
          </a:xfrm>
          <a:prstGeom prst="rect">
            <a:avLst/>
          </a:prstGeom>
        </p:spPr>
        <p:txBody>
          <a:bodyPr anchor="b"/>
          <a:lstStyle>
            <a:lvl1pPr marL="0" indent="0">
              <a:buNone/>
              <a:defRPr sz="750"/>
            </a:lvl1pPr>
            <a:lvl2pPr marL="457178" indent="0">
              <a:buNone/>
              <a:defRPr sz="1000"/>
            </a:lvl2pPr>
            <a:lvl3pPr marL="914355" indent="0">
              <a:buNone/>
              <a:defRPr sz="1000"/>
            </a:lvl3pPr>
            <a:lvl4pPr marL="1371532" indent="0">
              <a:buNone/>
              <a:defRPr sz="1000"/>
            </a:lvl4pPr>
            <a:lvl5pPr marL="1828709" indent="0">
              <a:buNone/>
              <a:defRPr sz="1000"/>
            </a:lvl5pPr>
          </a:lstStyle>
          <a:p>
            <a:pPr lvl="0"/>
            <a:r>
              <a:rPr lang="en-US" dirty="0"/>
              <a:t>Click to edit Master text styles</a:t>
            </a:r>
          </a:p>
        </p:txBody>
      </p:sp>
    </p:spTree>
    <p:extLst>
      <p:ext uri="{BB962C8B-B14F-4D97-AF65-F5344CB8AC3E}">
        <p14:creationId xmlns:p14="http://schemas.microsoft.com/office/powerpoint/2010/main" val="360214079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4_Content">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8380" y="377991"/>
            <a:ext cx="8721000" cy="672000"/>
          </a:xfrm>
          <a:prstGeom prst="rect">
            <a:avLst/>
          </a:prstGeom>
        </p:spPr>
        <p:txBody>
          <a:bodyPr vert="horz" anchor="t"/>
          <a:lstStyle>
            <a:lvl1pPr algn="l">
              <a:lnSpc>
                <a:spcPct val="100000"/>
              </a:lnSpc>
              <a:defRPr sz="2400" b="1" baseline="0">
                <a:solidFill>
                  <a:schemeClr val="accent1"/>
                </a:solidFill>
                <a:latin typeface="Arial" pitchFamily="34" charset="0"/>
                <a:cs typeface="Arial" pitchFamily="34" charset="0"/>
              </a:defRPr>
            </a:lvl1pPr>
          </a:lstStyle>
          <a:p>
            <a:r>
              <a:rPr lang="en-GB" noProof="0" dirty="0"/>
              <a:t>Click to add presentation title</a:t>
            </a:r>
          </a:p>
        </p:txBody>
      </p:sp>
      <p:sp>
        <p:nvSpPr>
          <p:cNvPr id="5" name="Text Placeholder 4"/>
          <p:cNvSpPr>
            <a:spLocks noGrp="1"/>
          </p:cNvSpPr>
          <p:nvPr>
            <p:ph type="body" sz="quarter" idx="17"/>
          </p:nvPr>
        </p:nvSpPr>
        <p:spPr>
          <a:xfrm>
            <a:off x="221952" y="6388102"/>
            <a:ext cx="8717429" cy="469900"/>
          </a:xfrm>
          <a:prstGeom prst="rect">
            <a:avLst/>
          </a:prstGeom>
        </p:spPr>
        <p:txBody>
          <a:bodyPr anchor="b"/>
          <a:lstStyle>
            <a:lvl1pPr marL="0" indent="0">
              <a:buNone/>
              <a:defRPr sz="900">
                <a:solidFill>
                  <a:srgbClr val="000000"/>
                </a:solidFill>
              </a:defRPr>
            </a:lvl1pPr>
          </a:lstStyle>
          <a:p>
            <a:pPr lvl="0"/>
            <a:r>
              <a:rPr lang="en-GB" noProof="0" dirty="0"/>
              <a:t>Click to edit Master text styles</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95370"/>
          <a:stretch/>
        </p:blipFill>
        <p:spPr>
          <a:xfrm>
            <a:off x="0" y="2"/>
            <a:ext cx="9144000" cy="317500"/>
          </a:xfrm>
          <a:prstGeom prst="rect">
            <a:avLst/>
          </a:prstGeom>
        </p:spPr>
      </p:pic>
    </p:spTree>
    <p:extLst>
      <p:ext uri="{BB962C8B-B14F-4D97-AF65-F5344CB8AC3E}">
        <p14:creationId xmlns:p14="http://schemas.microsoft.com/office/powerpoint/2010/main" val="3823843406"/>
      </p:ext>
    </p:extLst>
  </p:cSld>
  <p:clrMapOvr>
    <a:masterClrMapping/>
  </p:clrMapOvr>
  <p:extLst mod="1">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reserve="1">
  <p:cSld name="Section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750493"/>
            <a:ext cx="3542400" cy="2042057"/>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889" y="4033952"/>
            <a:ext cx="3543319"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809311240"/>
      </p:ext>
    </p:extLst>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Content | Footer">
    <p:spTree>
      <p:nvGrpSpPr>
        <p:cNvPr id="1" name=""/>
        <p:cNvGrpSpPr/>
        <p:nvPr/>
      </p:nvGrpSpPr>
      <p:grpSpPr>
        <a:xfrm>
          <a:off x="0" y="0"/>
          <a:ext cx="0" cy="0"/>
          <a:chOff x="0" y="0"/>
          <a:chExt cx="0" cy="0"/>
        </a:xfrm>
      </p:grpSpPr>
      <p:sp>
        <p:nvSpPr>
          <p:cNvPr id="11" name="Title 1"/>
          <p:cNvSpPr>
            <a:spLocks noGrp="1"/>
          </p:cNvSpPr>
          <p:nvPr>
            <p:ph type="title"/>
          </p:nvPr>
        </p:nvSpPr>
        <p:spPr>
          <a:xfrm>
            <a:off x="316800" y="687230"/>
            <a:ext cx="8510400" cy="521883"/>
          </a:xfrm>
        </p:spPr>
        <p:txBody>
          <a:bodyPr/>
          <a:lstStyle>
            <a:lvl1pPr>
              <a:defRPr sz="2000"/>
            </a:lvl1pPr>
          </a:lstStyle>
          <a:p>
            <a:r>
              <a:rPr lang="en-US" noProof="0" dirty="0"/>
              <a:t>Click to edit Master title style</a:t>
            </a:r>
            <a:endParaRPr lang="en-GB" noProof="0" dirty="0"/>
          </a:p>
        </p:txBody>
      </p:sp>
      <p:sp>
        <p:nvSpPr>
          <p:cNvPr id="3" name="Text Placeholder 2"/>
          <p:cNvSpPr>
            <a:spLocks noGrp="1"/>
          </p:cNvSpPr>
          <p:nvPr>
            <p:ph type="body" sz="quarter" idx="10" hasCustomPrompt="1"/>
          </p:nvPr>
        </p:nvSpPr>
        <p:spPr>
          <a:xfrm>
            <a:off x="316801" y="6317889"/>
            <a:ext cx="8509700" cy="363800"/>
          </a:xfrm>
        </p:spPr>
        <p:txBody>
          <a:bodyPr anchor="b"/>
          <a:lstStyle>
            <a:lvl1pPr marL="0" marR="0" indent="0" algn="l" defTabSz="914378"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en-GB" noProof="0" dirty="0"/>
              <a:t>Footnotes</a:t>
            </a:r>
          </a:p>
          <a:p>
            <a:r>
              <a:rPr lang="en-GB" noProof="0" dirty="0"/>
              <a:t>Reference</a:t>
            </a:r>
          </a:p>
        </p:txBody>
      </p:sp>
      <p:sp>
        <p:nvSpPr>
          <p:cNvPr id="5" name="Content Placeholder 2"/>
          <p:cNvSpPr>
            <a:spLocks noGrp="1"/>
          </p:cNvSpPr>
          <p:nvPr>
            <p:ph idx="1"/>
          </p:nvPr>
        </p:nvSpPr>
        <p:spPr>
          <a:xfrm>
            <a:off x="316800" y="1746043"/>
            <a:ext cx="8510400" cy="409842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lvl1pPr>
              <a:lnSpc>
                <a:spcPct val="100000"/>
              </a:lnSpc>
              <a:spcBef>
                <a:spcPts val="432"/>
              </a:spcBef>
              <a:spcAft>
                <a:spcPts val="300"/>
              </a:spcAft>
              <a:defRPr lang="en-US" sz="1800" noProof="0" dirty="0" smtClean="0"/>
            </a:lvl1pPr>
            <a:lvl2pPr>
              <a:lnSpc>
                <a:spcPct val="100000"/>
              </a:lnSpc>
              <a:spcBef>
                <a:spcPts val="432"/>
              </a:spcBef>
              <a:spcAft>
                <a:spcPts val="300"/>
              </a:spcAft>
              <a:defRPr lang="en-US" sz="1600" noProof="0" dirty="0" smtClean="0"/>
            </a:lvl2pPr>
            <a:lvl3pPr>
              <a:lnSpc>
                <a:spcPct val="100000"/>
              </a:lnSpc>
              <a:spcBef>
                <a:spcPts val="432"/>
              </a:spcBef>
              <a:spcAft>
                <a:spcPts val="300"/>
              </a:spcAft>
              <a:defRPr lang="en-US" sz="1400" noProof="0" dirty="0" smtClean="0"/>
            </a:lvl3pPr>
            <a:lvl4pPr>
              <a:lnSpc>
                <a:spcPct val="100000"/>
              </a:lnSpc>
              <a:spcBef>
                <a:spcPts val="432"/>
              </a:spcBef>
              <a:spcAft>
                <a:spcPts val="300"/>
              </a:spcAft>
              <a:defRPr lang="en-US" sz="1200" noProof="0" dirty="0" smtClean="0"/>
            </a:lvl4pPr>
            <a:lvl5pPr>
              <a:lnSpc>
                <a:spcPct val="100000"/>
              </a:lnSpc>
              <a:spcBef>
                <a:spcPts val="432"/>
              </a:spcBef>
              <a:spcAft>
                <a:spcPts val="300"/>
              </a:spcAft>
              <a:defRPr lang="en-GB" sz="1100" noProof="0" dirty="0"/>
            </a:lvl5pPr>
          </a:lstStyle>
          <a:p>
            <a:pPr lvl="0">
              <a:spcBef>
                <a:spcPts val="450"/>
              </a:spcBef>
              <a:spcAft>
                <a:spcPts val="450"/>
              </a:spcAft>
            </a:pPr>
            <a:r>
              <a:rPr lang="en-GB" noProof="0" dirty="0"/>
              <a:t>Click to edit Master text styles</a:t>
            </a:r>
          </a:p>
          <a:p>
            <a:pPr lvl="1">
              <a:spcBef>
                <a:spcPts val="450"/>
              </a:spcBef>
              <a:spcAft>
                <a:spcPts val="450"/>
              </a:spcAft>
            </a:pPr>
            <a:r>
              <a:rPr lang="en-GB" noProof="0" dirty="0"/>
              <a:t>Second level</a:t>
            </a:r>
          </a:p>
          <a:p>
            <a:pPr lvl="2">
              <a:spcBef>
                <a:spcPts val="450"/>
              </a:spcBef>
              <a:spcAft>
                <a:spcPts val="450"/>
              </a:spcAft>
              <a:buClr>
                <a:schemeClr val="accent5"/>
              </a:buClr>
            </a:pPr>
            <a:r>
              <a:rPr lang="en-GB" noProof="0" dirty="0"/>
              <a:t>Third level</a:t>
            </a:r>
          </a:p>
          <a:p>
            <a:pPr lvl="3">
              <a:spcBef>
                <a:spcPts val="450"/>
              </a:spcBef>
              <a:spcAft>
                <a:spcPts val="450"/>
              </a:spcAft>
              <a:buClr>
                <a:schemeClr val="accent3"/>
              </a:buClr>
            </a:pPr>
            <a:r>
              <a:rPr lang="en-GB" noProof="0" dirty="0"/>
              <a:t>Fourth level</a:t>
            </a:r>
          </a:p>
          <a:p>
            <a:pPr lvl="4">
              <a:spcBef>
                <a:spcPts val="450"/>
              </a:spcBef>
              <a:spcAft>
                <a:spcPts val="450"/>
              </a:spcAft>
            </a:pPr>
            <a:r>
              <a:rPr lang="en-GB" noProof="0" dirty="0"/>
              <a:t>Fifth level</a:t>
            </a:r>
          </a:p>
        </p:txBody>
      </p:sp>
    </p:spTree>
    <p:extLst>
      <p:ext uri="{BB962C8B-B14F-4D97-AF65-F5344CB8AC3E}">
        <p14:creationId xmlns:p14="http://schemas.microsoft.com/office/powerpoint/2010/main" val="570463536"/>
      </p:ext>
    </p:extLst>
  </p:cSld>
  <p:clrMapOvr>
    <a:masterClrMapping/>
  </p:clrMapOvr>
  <p:transition/>
  <p:extLst mod="1">
    <p:ext uri="{DCECCB84-F9BA-43D5-87BE-67443E8EF086}">
      <p15:sldGuideLst xmlns:p15="http://schemas.microsoft.com/office/powerpoint/2012/main">
        <p15:guide id="1" orient="horz" pos="317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 Subtitle | Content | Foot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35062"/>
            <a:ext cx="8510400" cy="4098423"/>
          </a:xfrm>
        </p:spPr>
        <p:txBody>
          <a:bodyPr/>
          <a:lstStyle>
            <a:lvl1pPr>
              <a:spcBef>
                <a:spcPts val="450"/>
              </a:spcBef>
              <a:spcAft>
                <a:spcPts val="450"/>
              </a:spcAft>
              <a:buClr>
                <a:schemeClr val="accent1"/>
              </a:buClr>
              <a:defRPr sz="1800">
                <a:solidFill>
                  <a:schemeClr val="accent2"/>
                </a:solidFill>
              </a:defRPr>
            </a:lvl1pPr>
            <a:lvl2pPr>
              <a:spcBef>
                <a:spcPts val="450"/>
              </a:spcBef>
              <a:spcAft>
                <a:spcPts val="450"/>
              </a:spcAft>
              <a:buClr>
                <a:schemeClr val="tx2"/>
              </a:buClr>
              <a:defRPr sz="1600">
                <a:solidFill>
                  <a:schemeClr val="accent2"/>
                </a:solidFill>
              </a:defRPr>
            </a:lvl2pPr>
            <a:lvl3pPr>
              <a:spcBef>
                <a:spcPts val="450"/>
              </a:spcBef>
              <a:spcAft>
                <a:spcPts val="450"/>
              </a:spcAft>
              <a:buClr>
                <a:schemeClr val="accent5"/>
              </a:buClr>
              <a:defRPr sz="1400">
                <a:solidFill>
                  <a:schemeClr val="accent2"/>
                </a:solidFill>
              </a:defRPr>
            </a:lvl3pPr>
            <a:lvl4pPr>
              <a:spcBef>
                <a:spcPts val="450"/>
              </a:spcBef>
              <a:spcAft>
                <a:spcPts val="450"/>
              </a:spcAft>
              <a:buClr>
                <a:schemeClr val="accent3"/>
              </a:buClr>
              <a:defRPr sz="1200">
                <a:solidFill>
                  <a:schemeClr val="accent2"/>
                </a:solidFill>
              </a:defRPr>
            </a:lvl4pPr>
            <a:lvl5pPr>
              <a:spcBef>
                <a:spcPts val="450"/>
              </a:spcBef>
              <a:spcAft>
                <a:spcPts val="450"/>
              </a:spcAft>
              <a:buClr>
                <a:srgbClr val="001423"/>
              </a:buClr>
              <a:defRPr sz="1100">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p:cNvSpPr>
            <a:spLocks noGrp="1"/>
          </p:cNvSpPr>
          <p:nvPr>
            <p:ph type="title"/>
          </p:nvPr>
        </p:nvSpPr>
        <p:spPr/>
        <p:txBody>
          <a:bodyPr/>
          <a:lstStyle/>
          <a:p>
            <a:r>
              <a:rPr lang="en-GB" noProof="0" dirty="0"/>
              <a:t>Click to edit Master title style</a:t>
            </a:r>
          </a:p>
        </p:txBody>
      </p:sp>
      <p:sp>
        <p:nvSpPr>
          <p:cNvPr id="5" name="Text Placeholder 4"/>
          <p:cNvSpPr>
            <a:spLocks noGrp="1"/>
          </p:cNvSpPr>
          <p:nvPr>
            <p:ph type="body" sz="quarter" idx="11" hasCustomPrompt="1"/>
          </p:nvPr>
        </p:nvSpPr>
        <p:spPr>
          <a:xfrm>
            <a:off x="316707" y="1141421"/>
            <a:ext cx="8509397" cy="296863"/>
          </a:xfrm>
        </p:spPr>
        <p:txBody>
          <a:bodyPr/>
          <a:lstStyle>
            <a:lvl1pPr marL="0" indent="0">
              <a:buNone/>
              <a:defRPr sz="1400" b="1">
                <a:solidFill>
                  <a:srgbClr val="009FDA"/>
                </a:solidFill>
              </a:defRPr>
            </a:lvl1pPr>
            <a:lvl2pPr marL="265105" indent="0">
              <a:buNone/>
              <a:defRPr sz="1050" b="1">
                <a:solidFill>
                  <a:srgbClr val="009FDA"/>
                </a:solidFill>
              </a:defRPr>
            </a:lvl2pPr>
            <a:lvl3pPr marL="536561" indent="0">
              <a:buNone/>
              <a:defRPr sz="1050" b="1">
                <a:solidFill>
                  <a:srgbClr val="009FDA"/>
                </a:solidFill>
              </a:defRPr>
            </a:lvl3pPr>
            <a:lvl4pPr marL="808018" indent="0">
              <a:buNone/>
              <a:defRPr sz="1050" b="1">
                <a:solidFill>
                  <a:srgbClr val="009FDA"/>
                </a:solidFill>
              </a:defRPr>
            </a:lvl4pPr>
            <a:lvl5pPr marL="1073123" indent="0">
              <a:buNone/>
              <a:defRPr sz="1050" b="1">
                <a:solidFill>
                  <a:srgbClr val="009FDA"/>
                </a:solidFill>
              </a:defRPr>
            </a:lvl5pPr>
          </a:lstStyle>
          <a:p>
            <a:pPr lvl="0"/>
            <a:r>
              <a:rPr lang="en-GB" noProof="0" dirty="0"/>
              <a:t>Enter subtitle here in </a:t>
            </a:r>
            <a:r>
              <a:rPr lang="en-GB" noProof="0" dirty="0" err="1"/>
              <a:t>verdana</a:t>
            </a:r>
            <a:r>
              <a:rPr lang="en-GB" noProof="0" dirty="0"/>
              <a:t>, </a:t>
            </a:r>
            <a:r>
              <a:rPr lang="en-GB" noProof="0" dirty="0" err="1"/>
              <a:t>nn</a:t>
            </a:r>
            <a:r>
              <a:rPr lang="en-GB" noProof="0" dirty="0"/>
              <a:t> light blue, 14 </a:t>
            </a:r>
            <a:r>
              <a:rPr lang="en-GB" noProof="0" dirty="0" err="1"/>
              <a:t>pt</a:t>
            </a:r>
            <a:endParaRPr lang="en-GB" noProof="0" dirty="0"/>
          </a:p>
        </p:txBody>
      </p:sp>
      <p:sp>
        <p:nvSpPr>
          <p:cNvPr id="7" name="Text Placeholder 2"/>
          <p:cNvSpPr>
            <a:spLocks noGrp="1"/>
          </p:cNvSpPr>
          <p:nvPr>
            <p:ph type="body" sz="quarter" idx="12" hasCustomPrompt="1"/>
          </p:nvPr>
        </p:nvSpPr>
        <p:spPr>
          <a:xfrm>
            <a:off x="316801" y="6317889"/>
            <a:ext cx="8509700" cy="363800"/>
          </a:xfrm>
        </p:spPr>
        <p:txBody>
          <a:bodyPr anchor="b"/>
          <a:lstStyle>
            <a:lvl1pPr marL="0" marR="0" indent="0" algn="l" defTabSz="914378"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en-GB" noProof="0" dirty="0"/>
              <a:t>Footnotes</a:t>
            </a:r>
          </a:p>
          <a:p>
            <a:r>
              <a:rPr lang="en-GB" noProof="0" dirty="0"/>
              <a:t>Reference</a:t>
            </a:r>
          </a:p>
        </p:txBody>
      </p:sp>
    </p:spTree>
    <p:extLst>
      <p:ext uri="{BB962C8B-B14F-4D97-AF65-F5344CB8AC3E}">
        <p14:creationId xmlns:p14="http://schemas.microsoft.com/office/powerpoint/2010/main" val="2500440136"/>
      </p:ext>
    </p:extLst>
  </p:cSld>
  <p:clrMapOvr>
    <a:masterClrMapping/>
  </p:clrMapOvr>
  <p:transition/>
  <p:extLst mod="1">
    <p:ext uri="{DCECCB84-F9BA-43D5-87BE-67443E8EF086}">
      <p15:sldGuideLst xmlns:p15="http://schemas.microsoft.com/office/powerpoint/2012/main">
        <p15:guide id="1" orient="horz" pos="317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687230"/>
            <a:ext cx="8510400" cy="521883"/>
          </a:xfrm>
        </p:spPr>
        <p:txBody>
          <a:bodyPr anchor="ctr" anchorCtr="0"/>
          <a:lstStyle>
            <a:lvl1pPr>
              <a:defRPr sz="2000"/>
            </a:lvl1pPr>
          </a:lstStyle>
          <a:p>
            <a:r>
              <a:rPr lang="en-US" noProof="0"/>
              <a:t>Click to edit Master title style</a:t>
            </a:r>
            <a:endParaRPr lang="en-GB" noProof="0" dirty="0"/>
          </a:p>
        </p:txBody>
      </p:sp>
      <p:sp>
        <p:nvSpPr>
          <p:cNvPr id="3" name="Content Placeholder 2"/>
          <p:cNvSpPr>
            <a:spLocks noGrp="1"/>
          </p:cNvSpPr>
          <p:nvPr>
            <p:ph sz="quarter" idx="10" hasCustomPrompt="1"/>
          </p:nvPr>
        </p:nvSpPr>
        <p:spPr>
          <a:xfrm>
            <a:off x="316800" y="6115059"/>
            <a:ext cx="8510400" cy="606105"/>
          </a:xfrm>
        </p:spPr>
        <p:txBody>
          <a:bodyPr rIns="0" anchor="b" anchorCtr="0">
            <a:noAutofit/>
          </a:bodyPr>
          <a:lstStyle>
            <a:lvl1pPr marL="0" indent="0">
              <a:spcBef>
                <a:spcPts val="0"/>
              </a:spcBef>
              <a:buNone/>
              <a:defRPr sz="800">
                <a:solidFill>
                  <a:srgbClr val="82786F"/>
                </a:solidFill>
              </a:defRPr>
            </a:lvl1pPr>
            <a:lvl2pPr marL="265106" indent="0">
              <a:buNone/>
              <a:defRPr sz="800"/>
            </a:lvl2pPr>
            <a:lvl3pPr marL="536561" indent="0">
              <a:buNone/>
              <a:defRPr sz="800"/>
            </a:lvl3pPr>
            <a:lvl4pPr marL="808018" indent="0">
              <a:buNone/>
              <a:defRPr sz="800"/>
            </a:lvl4pPr>
            <a:lvl5pPr marL="1073123" indent="0">
              <a:buNone/>
              <a:defRPr sz="800"/>
            </a:lvl5pPr>
          </a:lstStyle>
          <a:p>
            <a:pPr lvl="0"/>
            <a:r>
              <a:rPr lang="en-US" dirty="0"/>
              <a:t>Click to add text</a:t>
            </a:r>
          </a:p>
        </p:txBody>
      </p:sp>
    </p:spTree>
    <p:extLst>
      <p:ext uri="{BB962C8B-B14F-4D97-AF65-F5344CB8AC3E}">
        <p14:creationId xmlns:p14="http://schemas.microsoft.com/office/powerpoint/2010/main" val="4021163408"/>
      </p:ext>
    </p:extLst>
  </p:cSld>
  <p:clrMapOvr>
    <a:masterClrMapping/>
  </p:clrMapOvr>
  <p:transition/>
  <p:extLst mod="1">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1" y="1032163"/>
            <a:ext cx="8510400" cy="369919"/>
          </a:xfrm>
          <a:extLst>
            <a:ext uri="{909E8E84-426E-40DD-AFC4-6F175D3DCCD1}">
              <a14:hiddenFill xmlns:a14="http://schemas.microsoft.com/office/drawing/2010/main">
                <a:solidFill>
                  <a:schemeClr val="accent1"/>
                </a:solidFill>
              </a14:hiddenFill>
            </a:ext>
          </a:extLst>
        </p:spPr>
        <p:txBody>
          <a:bodyPr wrap="none" lIns="18000" anchor="t" anchorCtr="0">
            <a:normAutofit/>
          </a:bodyPr>
          <a:lstStyle>
            <a:lvl1pPr marL="0" indent="0" algn="l">
              <a:buFontTx/>
              <a:buNone/>
              <a:defRPr sz="1300" b="1" baseline="0">
                <a:solidFill>
                  <a:srgbClr val="009FDA"/>
                </a:solidFill>
              </a:defRPr>
            </a:lvl1pPr>
          </a:lstStyle>
          <a:p>
            <a:pPr lvl="0"/>
            <a:r>
              <a:rPr lang="en-GB" noProof="0" dirty="0"/>
              <a:t>Insert subtitle</a:t>
            </a:r>
          </a:p>
        </p:txBody>
      </p:sp>
      <p:sp>
        <p:nvSpPr>
          <p:cNvPr id="9"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1"/>
          <p:cNvSpPr>
            <a:spLocks noGrp="1"/>
          </p:cNvSpPr>
          <p:nvPr>
            <p:ph type="body" sz="quarter" idx="10" hasCustomPrompt="1"/>
          </p:nvPr>
        </p:nvSpPr>
        <p:spPr>
          <a:xfrm>
            <a:off x="316801" y="6115200"/>
            <a:ext cx="8509700" cy="604800"/>
          </a:xfrm>
        </p:spPr>
        <p:txBody>
          <a:bodyPr rIns="0" anchor="b" anchorCtr="0">
            <a:noAutofit/>
          </a:bodyPr>
          <a:lstStyle>
            <a:lvl1pPr marL="0" indent="0">
              <a:spcBef>
                <a:spcPts val="0"/>
              </a:spcBef>
              <a:spcAft>
                <a:spcPts val="0"/>
              </a:spcAft>
              <a:buNone/>
              <a:defRPr sz="800">
                <a:solidFill>
                  <a:srgbClr val="82786F"/>
                </a:solidFill>
              </a:defRPr>
            </a:lvl1pPr>
            <a:lvl2pPr marL="265112" indent="0">
              <a:buNone/>
              <a:defRPr sz="800">
                <a:solidFill>
                  <a:srgbClr val="82786F"/>
                </a:solidFill>
              </a:defRPr>
            </a:lvl2pPr>
            <a:lvl3pPr>
              <a:defRPr sz="800">
                <a:solidFill>
                  <a:srgbClr val="82786F"/>
                </a:solidFill>
              </a:defRPr>
            </a:lvl3pPr>
            <a:lvl4pPr>
              <a:defRPr sz="800">
                <a:solidFill>
                  <a:srgbClr val="82786F"/>
                </a:solidFill>
              </a:defRPr>
            </a:lvl4pPr>
            <a:lvl5pPr>
              <a:defRPr sz="800">
                <a:solidFill>
                  <a:srgbClr val="82786F"/>
                </a:solidFill>
              </a:defRPr>
            </a:lvl5pPr>
          </a:lstStyle>
          <a:p>
            <a:pPr lvl="0"/>
            <a:r>
              <a:rPr lang="en-US" dirty="0"/>
              <a:t>Click to insert text</a:t>
            </a:r>
            <a:endParaRPr lang="en-GB" dirty="0"/>
          </a:p>
        </p:txBody>
      </p:sp>
      <p:sp>
        <p:nvSpPr>
          <p:cNvPr id="12" name="Title 1"/>
          <p:cNvSpPr>
            <a:spLocks noGrp="1"/>
          </p:cNvSpPr>
          <p:nvPr>
            <p:ph type="title"/>
          </p:nvPr>
        </p:nvSpPr>
        <p:spPr>
          <a:xfrm>
            <a:off x="316800" y="534834"/>
            <a:ext cx="8510400" cy="521883"/>
          </a:xfrm>
        </p:spPr>
        <p:txBody>
          <a:bodyPr anchor="ctr" anchorCtr="0"/>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6251753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2"/>
            <a:ext cx="9144000" cy="2527300"/>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8" name="Content Placeholder 2"/>
          <p:cNvSpPr>
            <a:spLocks noGrp="1"/>
          </p:cNvSpPr>
          <p:nvPr>
            <p:ph idx="25"/>
          </p:nvPr>
        </p:nvSpPr>
        <p:spPr>
          <a:xfrm>
            <a:off x="316800" y="3831356"/>
            <a:ext cx="8510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Rectangle 5"/>
          <p:cNvSpPr>
            <a:spLocks noGrp="1" noChangeArrowheads="1"/>
          </p:cNvSpPr>
          <p:nvPr>
            <p:ph type="ftr" sz="quarter" idx="3"/>
          </p:nvPr>
        </p:nvSpPr>
        <p:spPr bwMode="auto">
          <a:xfrm>
            <a:off x="4172998" y="138551"/>
            <a:ext cx="2900363"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fontAlgn="auto">
              <a:spcAft>
                <a:spcPts val="0"/>
              </a:spcAft>
              <a:defRPr/>
            </a:pPr>
            <a:endParaRPr lang="en-GB" dirty="0">
              <a:solidFill>
                <a:srgbClr val="FFFFFF"/>
              </a:solidFill>
              <a:latin typeface="Verdana"/>
            </a:endParaRPr>
          </a:p>
        </p:txBody>
      </p:sp>
      <p:sp>
        <p:nvSpPr>
          <p:cNvPr id="14" name="Rectangle 81"/>
          <p:cNvSpPr>
            <a:spLocks noGrp="1" noChangeArrowheads="1"/>
          </p:cNvSpPr>
          <p:nvPr>
            <p:ph type="dt" sz="half" idx="2"/>
          </p:nvPr>
        </p:nvSpPr>
        <p:spPr bwMode="auto">
          <a:xfrm>
            <a:off x="7187154" y="138551"/>
            <a:ext cx="1201738"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fontAlgn="auto">
              <a:spcAft>
                <a:spcPts val="0"/>
              </a:spcAft>
              <a:defRPr/>
            </a:pPr>
            <a:endParaRPr lang="en-GB" dirty="0">
              <a:solidFill>
                <a:srgbClr val="FFFFFF"/>
              </a:solidFill>
              <a:latin typeface="Verdana"/>
            </a:endParaRPr>
          </a:p>
        </p:txBody>
      </p:sp>
      <p:sp>
        <p:nvSpPr>
          <p:cNvPr id="15" name="Slide Number Placeholder 23"/>
          <p:cNvSpPr>
            <a:spLocks noGrp="1" noChangeArrowheads="1"/>
          </p:cNvSpPr>
          <p:nvPr>
            <p:ph type="sldNum" sz="quarter" idx="4"/>
          </p:nvPr>
        </p:nvSpPr>
        <p:spPr bwMode="auto">
          <a:xfrm>
            <a:off x="8514822" y="140075"/>
            <a:ext cx="312378"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bg1"/>
                </a:solidFill>
              </a:defRPr>
            </a:lvl1pPr>
          </a:lstStyle>
          <a:p>
            <a:pPr fontAlgn="auto">
              <a:spcBef>
                <a:spcPts val="0"/>
              </a:spcBef>
              <a:spcAft>
                <a:spcPts val="0"/>
              </a:spcAft>
              <a:defRPr/>
            </a:pPr>
            <a:fld id="{4B01E8EF-57E8-4F85-90EB-163CEE512F88}" type="slidenum">
              <a:rPr lang="en-GB">
                <a:solidFill>
                  <a:srgbClr val="FFFFFF"/>
                </a:solidFill>
                <a:latin typeface="Verdana"/>
              </a:rPr>
              <a:pPr fontAlgn="auto">
                <a:spcBef>
                  <a:spcPts val="0"/>
                </a:spcBef>
                <a:spcAft>
                  <a:spcPts val="0"/>
                </a:spcAft>
                <a:defRPr/>
              </a:pPr>
              <a:t>‹#›</a:t>
            </a:fld>
            <a:endParaRPr lang="en-GB" dirty="0">
              <a:solidFill>
                <a:srgbClr val="FFFFFF"/>
              </a:solidFill>
              <a:latin typeface="Verdana"/>
            </a:endParaRPr>
          </a:p>
        </p:txBody>
      </p:sp>
    </p:spTree>
    <p:extLst>
      <p:ext uri="{BB962C8B-B14F-4D97-AF65-F5344CB8AC3E}">
        <p14:creationId xmlns:p14="http://schemas.microsoft.com/office/powerpoint/2010/main" val="36130369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6858000"/>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Tree>
    <p:extLst>
      <p:ext uri="{BB962C8B-B14F-4D97-AF65-F5344CB8AC3E}">
        <p14:creationId xmlns:p14="http://schemas.microsoft.com/office/powerpoint/2010/main" val="286002270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237600" y="1681480"/>
            <a:ext cx="7056000" cy="225052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GB" noProof="0" dirty="0"/>
              <a:t>Click to edit Master text styles</a:t>
            </a:r>
          </a:p>
        </p:txBody>
      </p:sp>
      <p:sp>
        <p:nvSpPr>
          <p:cNvPr id="9"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351097552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Rectangle 1"/>
          <p:cNvSpPr/>
          <p:nvPr userDrawn="1"/>
        </p:nvSpPr>
        <p:spPr>
          <a:xfrm>
            <a:off x="7868653" y="5358070"/>
            <a:ext cx="1267326" cy="148924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sz="1350" b="0">
              <a:solidFill>
                <a:srgbClr val="FFFFFF"/>
              </a:solidFill>
            </a:endParaRPr>
          </a:p>
        </p:txBody>
      </p:sp>
      <p:sp>
        <p:nvSpPr>
          <p:cNvPr id="3" name="Text Placeholder 2"/>
          <p:cNvSpPr>
            <a:spLocks noGrp="1"/>
          </p:cNvSpPr>
          <p:nvPr>
            <p:ph type="body" sz="quarter" idx="13" hasCustomPrompt="1"/>
          </p:nvPr>
        </p:nvSpPr>
        <p:spPr>
          <a:xfrm>
            <a:off x="317501" y="6518646"/>
            <a:ext cx="8518850" cy="183425"/>
          </a:xfrm>
        </p:spPr>
        <p:txBody>
          <a:bodyPr anchor="b" anchorCtr="0">
            <a:noAutofit/>
          </a:bodyPr>
          <a:lstStyle>
            <a:lvl1pPr marL="0" indent="0">
              <a:spcBef>
                <a:spcPts val="0"/>
              </a:spcBef>
              <a:buNone/>
              <a:defRPr sz="800" baseline="0">
                <a:solidFill>
                  <a:srgbClr val="82786F"/>
                </a:solidFill>
              </a:defRPr>
            </a:lvl1pPr>
            <a:lvl2pPr marL="265112" indent="0">
              <a:buNone/>
              <a:defRPr sz="800">
                <a:solidFill>
                  <a:srgbClr val="82786F"/>
                </a:solidFill>
              </a:defRPr>
            </a:lvl2pPr>
            <a:lvl3pPr marL="536575" indent="0">
              <a:buNone/>
              <a:defRPr sz="800">
                <a:solidFill>
                  <a:srgbClr val="82786F"/>
                </a:solidFill>
              </a:defRPr>
            </a:lvl3pPr>
            <a:lvl4pPr marL="808038" indent="0">
              <a:buNone/>
              <a:defRPr sz="800">
                <a:solidFill>
                  <a:srgbClr val="82786F"/>
                </a:solidFill>
              </a:defRPr>
            </a:lvl4pPr>
            <a:lvl5pPr marL="1073150" indent="0">
              <a:buNone/>
              <a:defRPr sz="800">
                <a:solidFill>
                  <a:srgbClr val="82786F"/>
                </a:solidFill>
              </a:defRPr>
            </a:lvl5pPr>
          </a:lstStyle>
          <a:p>
            <a:pPr lvl="0"/>
            <a:r>
              <a:rPr lang="en-US" dirty="0"/>
              <a:t>Click to enter text</a:t>
            </a:r>
            <a:endParaRPr lang="en-GB" dirty="0"/>
          </a:p>
        </p:txBody>
      </p:sp>
    </p:spTree>
    <p:extLst>
      <p:ext uri="{BB962C8B-B14F-4D97-AF65-F5344CB8AC3E}">
        <p14:creationId xmlns:p14="http://schemas.microsoft.com/office/powerpoint/2010/main" val="20765822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44_Normal">
    <p:spTree>
      <p:nvGrpSpPr>
        <p:cNvPr id="1" name=""/>
        <p:cNvGrpSpPr/>
        <p:nvPr/>
      </p:nvGrpSpPr>
      <p:grpSpPr>
        <a:xfrm>
          <a:off x="0" y="0"/>
          <a:ext cx="0" cy="0"/>
          <a:chOff x="0" y="0"/>
          <a:chExt cx="0" cy="0"/>
        </a:xfrm>
      </p:grpSpPr>
      <p:sp>
        <p:nvSpPr>
          <p:cNvPr id="11" name="Title 1"/>
          <p:cNvSpPr>
            <a:spLocks noGrp="1"/>
          </p:cNvSpPr>
          <p:nvPr>
            <p:ph type="title"/>
          </p:nvPr>
        </p:nvSpPr>
        <p:spPr>
          <a:xfrm>
            <a:off x="316800" y="687230"/>
            <a:ext cx="8510400" cy="521883"/>
          </a:xfrm>
        </p:spPr>
        <p:txBody>
          <a:bodyPr/>
          <a:lstStyle>
            <a:lvl1pPr>
              <a:defRPr sz="2000"/>
            </a:lvl1pPr>
          </a:lstStyle>
          <a:p>
            <a:r>
              <a:rPr lang="en-US" noProof="0" dirty="0"/>
              <a:t>Click to edit Master title style</a:t>
            </a:r>
            <a:endParaRPr lang="en-GB" noProof="0" dirty="0"/>
          </a:p>
        </p:txBody>
      </p:sp>
      <p:sp>
        <p:nvSpPr>
          <p:cNvPr id="7" name="Text Placeholder 11"/>
          <p:cNvSpPr>
            <a:spLocks noGrp="1"/>
          </p:cNvSpPr>
          <p:nvPr>
            <p:ph type="body" sz="quarter" idx="13" hasCustomPrompt="1"/>
          </p:nvPr>
        </p:nvSpPr>
        <p:spPr>
          <a:xfrm>
            <a:off x="316805" y="5620800"/>
            <a:ext cx="8510399" cy="1027200"/>
          </a:xfrm>
        </p:spPr>
        <p:txBody>
          <a:bodyPr lIns="0" rIns="0" bIns="0" anchor="b" anchorCtr="0">
            <a:noAutofit/>
          </a:bodyPr>
          <a:lstStyle>
            <a:lvl1pPr marL="0" indent="0" algn="l" rtl="0" fontAlgn="base">
              <a:spcBef>
                <a:spcPct val="0"/>
              </a:spcBef>
              <a:spcAft>
                <a:spcPct val="0"/>
              </a:spcAft>
              <a:buNone/>
              <a:defRPr lang="en-US" sz="800" kern="1200" baseline="0" dirty="0" smtClean="0">
                <a:solidFill>
                  <a:srgbClr val="82786F"/>
                </a:solidFill>
                <a:latin typeface="Verdana" pitchFamily="34" charset="0"/>
                <a:ea typeface="+mn-ea"/>
                <a:cs typeface="Arial" charset="0"/>
              </a:defRPr>
            </a:lvl1pPr>
            <a:lvl2pPr marL="265100"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2pPr>
            <a:lvl3pPr marL="536548"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3pPr>
            <a:lvl4pPr marL="807998"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4pPr>
            <a:lvl5pPr marL="1073096" indent="0" algn="l" rtl="0" fontAlgn="base">
              <a:spcBef>
                <a:spcPct val="0"/>
              </a:spcBef>
              <a:spcAft>
                <a:spcPct val="0"/>
              </a:spcAft>
              <a:buNone/>
              <a:defRPr lang="en-GB" sz="800" kern="1200" dirty="0">
                <a:solidFill>
                  <a:srgbClr val="82786F"/>
                </a:solidFill>
                <a:latin typeface="Verdana" pitchFamily="34" charset="0"/>
                <a:ea typeface="+mn-ea"/>
                <a:cs typeface="Arial" charset="0"/>
              </a:defRPr>
            </a:lvl5pPr>
          </a:lstStyle>
          <a:p>
            <a:r>
              <a:rPr lang="en-GB" sz="800" dirty="0">
                <a:solidFill>
                  <a:srgbClr val="82786F"/>
                </a:solidFill>
              </a:rPr>
              <a:t>Click to add footnotes</a:t>
            </a:r>
          </a:p>
        </p:txBody>
      </p:sp>
    </p:spTree>
    <p:extLst>
      <p:ext uri="{BB962C8B-B14F-4D97-AF65-F5344CB8AC3E}">
        <p14:creationId xmlns:p14="http://schemas.microsoft.com/office/powerpoint/2010/main" val="2467669276"/>
      </p:ext>
    </p:extLst>
  </p:cSld>
  <p:clrMapOvr>
    <a:masterClrMapping/>
  </p:clrMapOvr>
  <p:transition/>
  <p:extLst mod="1">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463047"/>
            <a:ext cx="8510400" cy="4227643"/>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687230"/>
            <a:ext cx="8510400" cy="521883"/>
          </a:xfrm>
        </p:spPr>
        <p:txBody>
          <a:bodyPr/>
          <a:lstStyle>
            <a:lvl1pPr>
              <a:defRPr sz="2100"/>
            </a:lvl1pPr>
          </a:lstStyle>
          <a:p>
            <a:r>
              <a:rPr lang="en-US" noProof="0"/>
              <a:t>Click to edit Master title style</a:t>
            </a:r>
            <a:endParaRPr lang="en-GB" noProof="0" dirty="0"/>
          </a:p>
        </p:txBody>
      </p:sp>
      <p:sp>
        <p:nvSpPr>
          <p:cNvPr id="3" name="Text Placeholder 2"/>
          <p:cNvSpPr>
            <a:spLocks noGrp="1"/>
          </p:cNvSpPr>
          <p:nvPr>
            <p:ph type="body" sz="quarter" idx="10" hasCustomPrompt="1"/>
          </p:nvPr>
        </p:nvSpPr>
        <p:spPr>
          <a:xfrm>
            <a:off x="316800" y="5618565"/>
            <a:ext cx="8509700" cy="1027768"/>
          </a:xfrm>
        </p:spPr>
        <p:txBody>
          <a:bodyPr anchor="b"/>
          <a:lstStyle>
            <a:lvl1pPr marL="0" marR="0" indent="0" algn="l" defTabSz="91440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216393204"/>
      </p:ext>
    </p:extLst>
  </p:cSld>
  <p:clrMapOvr>
    <a:masterClrMapping/>
  </p:clrMapOvr>
  <p:transition/>
  <p:extLst mod="1">
    <p:ext uri="{DCECCB84-F9BA-43D5-87BE-67443E8EF086}">
      <p15:sldGuideLst xmlns:p15="http://schemas.microsoft.com/office/powerpoint/2012/main">
        <p15:guide id="1" orient="horz" pos="3140">
          <p15:clr>
            <a:srgbClr val="FBAE40"/>
          </p15:clr>
        </p15:guide>
        <p15:guide id="2" pos="288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900917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630372" y="1750488"/>
            <a:ext cx="5196828" cy="2042057"/>
          </a:xfrm>
        </p:spPr>
        <p:txBody>
          <a:bodyPr anchor="b"/>
          <a:lstStyle>
            <a:lvl1pPr algn="r">
              <a:lnSpc>
                <a:spcPct val="85000"/>
              </a:lnSpc>
              <a:defRPr sz="3200"/>
            </a:lvl1pPr>
          </a:lstStyle>
          <a:p>
            <a:pPr lvl="0"/>
            <a:r>
              <a:rPr lang="en-US" noProof="0" dirty="0"/>
              <a:t>Click to edit Master title style</a:t>
            </a:r>
            <a:endParaRPr lang="en-GB" noProof="0" dirty="0"/>
          </a:p>
        </p:txBody>
      </p:sp>
      <p:sp>
        <p:nvSpPr>
          <p:cNvPr id="3075" name="Rectangle 3"/>
          <p:cNvSpPr>
            <a:spLocks noGrp="1" noChangeArrowheads="1"/>
          </p:cNvSpPr>
          <p:nvPr>
            <p:ph type="subTitle" idx="1"/>
          </p:nvPr>
        </p:nvSpPr>
        <p:spPr>
          <a:xfrm>
            <a:off x="3629025" y="4033952"/>
            <a:ext cx="5198176"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2527196966"/>
      </p:ext>
    </p:extLst>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Section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750488"/>
            <a:ext cx="3542400" cy="2042057"/>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887" y="4033952"/>
            <a:ext cx="3543319"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404515304"/>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GSEM Title">
    <p:spTree>
      <p:nvGrpSpPr>
        <p:cNvPr id="1" name=""/>
        <p:cNvGrpSpPr/>
        <p:nvPr/>
      </p:nvGrpSpPr>
      <p:grpSpPr>
        <a:xfrm>
          <a:off x="0" y="0"/>
          <a:ext cx="0" cy="0"/>
          <a:chOff x="0" y="0"/>
          <a:chExt cx="0" cy="0"/>
        </a:xfrm>
      </p:grpSpPr>
      <p:sp>
        <p:nvSpPr>
          <p:cNvPr id="4" name="Rounded Rectangle 3"/>
          <p:cNvSpPr/>
          <p:nvPr userDrawn="1"/>
        </p:nvSpPr>
        <p:spPr bwMode="auto">
          <a:xfrm>
            <a:off x="934606" y="2828047"/>
            <a:ext cx="7741850" cy="1344148"/>
          </a:xfrm>
          <a:prstGeom prst="roundRect">
            <a:avLst/>
          </a:prstGeom>
          <a:solidFill>
            <a:srgbClr val="10357E"/>
          </a:solidFill>
          <a:ln w="28575" cap="flat" cmpd="sng" algn="ctr">
            <a:no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algn="ctr" defTabSz="685800">
              <a:spcBef>
                <a:spcPct val="50000"/>
              </a:spcBef>
            </a:pPr>
            <a:endParaRPr lang="en-GB" sz="1800" dirty="0">
              <a:solidFill>
                <a:srgbClr val="001965"/>
              </a:solidFill>
              <a:latin typeface="Verdana"/>
            </a:endParaRPr>
          </a:p>
        </p:txBody>
      </p:sp>
      <p:sp>
        <p:nvSpPr>
          <p:cNvPr id="5" name="Rounded Rectangle 4"/>
          <p:cNvSpPr/>
          <p:nvPr userDrawn="1"/>
        </p:nvSpPr>
        <p:spPr bwMode="auto">
          <a:xfrm>
            <a:off x="467548" y="1412779"/>
            <a:ext cx="7703319" cy="1824203"/>
          </a:xfrm>
          <a:prstGeom prst="roundRect">
            <a:avLst/>
          </a:prstGeom>
          <a:solidFill>
            <a:schemeClr val="bg1"/>
          </a:solidFill>
          <a:ln w="38100" cap="flat" cmpd="sng" algn="ctr">
            <a:solidFill>
              <a:schemeClr val="tx1"/>
            </a:solid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algn="ctr" defTabSz="685800">
              <a:spcBef>
                <a:spcPct val="50000"/>
              </a:spcBef>
            </a:pPr>
            <a:endParaRPr lang="en-GB" sz="1800" dirty="0">
              <a:solidFill>
                <a:srgbClr val="001965"/>
              </a:solidFill>
              <a:latin typeface="Verdana"/>
            </a:endParaRPr>
          </a:p>
        </p:txBody>
      </p:sp>
      <p:sp>
        <p:nvSpPr>
          <p:cNvPr id="6" name="Subtitle 2"/>
          <p:cNvSpPr>
            <a:spLocks noGrp="1"/>
          </p:cNvSpPr>
          <p:nvPr>
            <p:ph type="subTitle" idx="1"/>
          </p:nvPr>
        </p:nvSpPr>
        <p:spPr>
          <a:xfrm>
            <a:off x="1286540" y="3222257"/>
            <a:ext cx="7325832" cy="936103"/>
          </a:xfrm>
        </p:spPr>
        <p:txBody>
          <a:bodyPr anchor="ctr">
            <a:noAutofit/>
          </a:bodyPr>
          <a:lstStyle>
            <a:lvl1pPr marL="0" indent="0" algn="l">
              <a:buNone/>
              <a:defRPr sz="1800" b="1">
                <a:solidFill>
                  <a:schemeClr val="bg1"/>
                </a:solidFill>
                <a:latin typeface="Verdana"/>
                <a:cs typeface="Verdana"/>
              </a:defRPr>
            </a:lvl1pPr>
            <a:lvl2pPr marL="342788" indent="0" algn="ctr">
              <a:buNone/>
              <a:defRPr>
                <a:solidFill>
                  <a:schemeClr val="tx1">
                    <a:tint val="75000"/>
                  </a:schemeClr>
                </a:solidFill>
              </a:defRPr>
            </a:lvl2pPr>
            <a:lvl3pPr marL="685578" indent="0" algn="ctr">
              <a:buNone/>
              <a:defRPr>
                <a:solidFill>
                  <a:schemeClr val="tx1">
                    <a:tint val="75000"/>
                  </a:schemeClr>
                </a:solidFill>
              </a:defRPr>
            </a:lvl3pPr>
            <a:lvl4pPr marL="1028366" indent="0" algn="ctr">
              <a:buNone/>
              <a:defRPr>
                <a:solidFill>
                  <a:schemeClr val="tx1">
                    <a:tint val="75000"/>
                  </a:schemeClr>
                </a:solidFill>
              </a:defRPr>
            </a:lvl4pPr>
            <a:lvl5pPr marL="1371154" indent="0" algn="ctr">
              <a:buNone/>
              <a:defRPr>
                <a:solidFill>
                  <a:schemeClr val="tx1">
                    <a:tint val="75000"/>
                  </a:schemeClr>
                </a:solidFill>
              </a:defRPr>
            </a:lvl5pPr>
            <a:lvl6pPr marL="1713944" indent="0" algn="ctr">
              <a:buNone/>
              <a:defRPr>
                <a:solidFill>
                  <a:schemeClr val="tx1">
                    <a:tint val="75000"/>
                  </a:schemeClr>
                </a:solidFill>
              </a:defRPr>
            </a:lvl6pPr>
            <a:lvl7pPr marL="2056732" indent="0" algn="ctr">
              <a:buNone/>
              <a:defRPr>
                <a:solidFill>
                  <a:schemeClr val="tx1">
                    <a:tint val="75000"/>
                  </a:schemeClr>
                </a:solidFill>
              </a:defRPr>
            </a:lvl7pPr>
            <a:lvl8pPr marL="2399520" indent="0" algn="ctr">
              <a:buNone/>
              <a:defRPr>
                <a:solidFill>
                  <a:schemeClr val="tx1">
                    <a:tint val="75000"/>
                  </a:schemeClr>
                </a:solidFill>
              </a:defRPr>
            </a:lvl8pPr>
            <a:lvl9pPr marL="2742308" indent="0" algn="ctr">
              <a:buNone/>
              <a:defRPr>
                <a:solidFill>
                  <a:schemeClr val="tx1">
                    <a:tint val="75000"/>
                  </a:schemeClr>
                </a:solidFill>
              </a:defRPr>
            </a:lvl9pPr>
          </a:lstStyle>
          <a:p>
            <a:r>
              <a:rPr lang="en-US"/>
              <a:t>Click to edit Master subtitle style</a:t>
            </a:r>
            <a:endParaRPr lang="en-US" dirty="0"/>
          </a:p>
        </p:txBody>
      </p:sp>
      <p:sp>
        <p:nvSpPr>
          <p:cNvPr id="7" name="Text Placeholder 8"/>
          <p:cNvSpPr>
            <a:spLocks noGrp="1"/>
          </p:cNvSpPr>
          <p:nvPr>
            <p:ph type="body" idx="10"/>
          </p:nvPr>
        </p:nvSpPr>
        <p:spPr>
          <a:xfrm>
            <a:off x="618064" y="1579404"/>
            <a:ext cx="7552802" cy="1642848"/>
          </a:xfrm>
        </p:spPr>
        <p:txBody>
          <a:bodyPr anchor="ctr"/>
          <a:lstStyle>
            <a:lvl1pPr marL="0" indent="0">
              <a:buNone/>
              <a:defRPr sz="2400" b="1">
                <a:solidFill>
                  <a:srgbClr val="003366"/>
                </a:solidFill>
                <a:latin typeface="Verdana"/>
                <a:cs typeface="Verdana"/>
              </a:defRPr>
            </a:lvl1pPr>
            <a:lvl2pPr>
              <a:buFont typeface="Arial"/>
              <a:buChar char="•"/>
              <a:defRPr sz="1100">
                <a:solidFill>
                  <a:srgbClr val="003366"/>
                </a:solidFill>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US"/>
              <a:t>Click to edit Master text styles</a:t>
            </a:r>
          </a:p>
        </p:txBody>
      </p:sp>
    </p:spTree>
    <p:extLst>
      <p:ext uri="{BB962C8B-B14F-4D97-AF65-F5344CB8AC3E}">
        <p14:creationId xmlns:p14="http://schemas.microsoft.com/office/powerpoint/2010/main" val="1637202998"/>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_Content_Foot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687230"/>
            <a:ext cx="8510400" cy="521883"/>
          </a:xfrm>
        </p:spPr>
        <p:txBody>
          <a:bodyPr anchor="ctr" anchorCtr="0"/>
          <a:lstStyle>
            <a:lvl1pPr>
              <a:defRPr sz="2000"/>
            </a:lvl1pPr>
          </a:lstStyle>
          <a:p>
            <a:r>
              <a:rPr lang="en-US" noProof="0" dirty="0"/>
              <a:t>Click to edit Master title style</a:t>
            </a:r>
            <a:endParaRPr lang="en-GB" noProof="0" dirty="0"/>
          </a:p>
        </p:txBody>
      </p:sp>
      <p:sp>
        <p:nvSpPr>
          <p:cNvPr id="3" name="Content Placeholder 2"/>
          <p:cNvSpPr>
            <a:spLocks noGrp="1"/>
          </p:cNvSpPr>
          <p:nvPr>
            <p:ph sz="quarter" idx="10" hasCustomPrompt="1"/>
          </p:nvPr>
        </p:nvSpPr>
        <p:spPr>
          <a:xfrm>
            <a:off x="316800" y="5620800"/>
            <a:ext cx="8510400" cy="1027200"/>
          </a:xfrm>
        </p:spPr>
        <p:txBody>
          <a:bodyPr rIns="0" anchor="b" anchorCtr="0">
            <a:noAutofit/>
          </a:bodyPr>
          <a:lstStyle>
            <a:lvl1pPr marL="0" indent="0">
              <a:spcBef>
                <a:spcPts val="0"/>
              </a:spcBef>
              <a:buNone/>
              <a:defRPr sz="800">
                <a:solidFill>
                  <a:srgbClr val="82786F"/>
                </a:solidFill>
              </a:defRPr>
            </a:lvl1pPr>
            <a:lvl2pPr marL="265106" indent="0">
              <a:buNone/>
              <a:defRPr sz="800"/>
            </a:lvl2pPr>
            <a:lvl3pPr marL="536561" indent="0">
              <a:buNone/>
              <a:defRPr sz="800"/>
            </a:lvl3pPr>
            <a:lvl4pPr marL="808018" indent="0">
              <a:buNone/>
              <a:defRPr sz="800"/>
            </a:lvl4pPr>
            <a:lvl5pPr marL="1073123" indent="0">
              <a:buNone/>
              <a:defRPr sz="800"/>
            </a:lvl5pPr>
          </a:lstStyle>
          <a:p>
            <a:pPr lvl="0"/>
            <a:r>
              <a:rPr lang="en-US" dirty="0"/>
              <a:t>Click to add text</a:t>
            </a:r>
          </a:p>
        </p:txBody>
      </p:sp>
    </p:spTree>
    <p:extLst>
      <p:ext uri="{BB962C8B-B14F-4D97-AF65-F5344CB8AC3E}">
        <p14:creationId xmlns:p14="http://schemas.microsoft.com/office/powerpoint/2010/main" val="2931762196"/>
      </p:ext>
    </p:extLst>
  </p:cSld>
  <p:clrMapOvr>
    <a:masterClrMapping/>
  </p:clrMapOvr>
  <p:transition/>
  <p:extLst mod="1">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_Footer">
    <p:spTree>
      <p:nvGrpSpPr>
        <p:cNvPr id="1" name=""/>
        <p:cNvGrpSpPr/>
        <p:nvPr/>
      </p:nvGrpSpPr>
      <p:grpSpPr>
        <a:xfrm>
          <a:off x="0" y="0"/>
          <a:ext cx="0" cy="0"/>
          <a:chOff x="0" y="0"/>
          <a:chExt cx="0" cy="0"/>
        </a:xfrm>
      </p:grpSpPr>
      <p:sp>
        <p:nvSpPr>
          <p:cNvPr id="11" name="Title 1"/>
          <p:cNvSpPr>
            <a:spLocks noGrp="1"/>
          </p:cNvSpPr>
          <p:nvPr>
            <p:ph type="title"/>
          </p:nvPr>
        </p:nvSpPr>
        <p:spPr>
          <a:xfrm>
            <a:off x="316800" y="687230"/>
            <a:ext cx="8510400" cy="521883"/>
          </a:xfrm>
        </p:spPr>
        <p:txBody>
          <a:bodyPr anchor="ctr" anchorCtr="0"/>
          <a:lstStyle>
            <a:lvl1pPr>
              <a:defRPr sz="2000"/>
            </a:lvl1pPr>
          </a:lstStyle>
          <a:p>
            <a:r>
              <a:rPr lang="en-US" noProof="0" dirty="0"/>
              <a:t>Click to edit Master title style</a:t>
            </a:r>
            <a:endParaRPr lang="en-GB" noProof="0" dirty="0"/>
          </a:p>
        </p:txBody>
      </p:sp>
      <p:sp>
        <p:nvSpPr>
          <p:cNvPr id="3" name="Content Placeholder 2"/>
          <p:cNvSpPr>
            <a:spLocks noGrp="1"/>
          </p:cNvSpPr>
          <p:nvPr>
            <p:ph sz="quarter" idx="10" hasCustomPrompt="1"/>
          </p:nvPr>
        </p:nvSpPr>
        <p:spPr>
          <a:xfrm>
            <a:off x="316800" y="5620800"/>
            <a:ext cx="8510400" cy="1027200"/>
          </a:xfrm>
        </p:spPr>
        <p:txBody>
          <a:bodyPr rIns="0" anchor="b" anchorCtr="0">
            <a:noAutofit/>
          </a:bodyPr>
          <a:lstStyle>
            <a:lvl1pPr marL="0" indent="0">
              <a:spcBef>
                <a:spcPts val="0"/>
              </a:spcBef>
              <a:buNone/>
              <a:defRPr sz="800">
                <a:solidFill>
                  <a:srgbClr val="82786F"/>
                </a:solidFill>
              </a:defRPr>
            </a:lvl1pPr>
            <a:lvl2pPr marL="265106" indent="0">
              <a:buNone/>
              <a:defRPr sz="800"/>
            </a:lvl2pPr>
            <a:lvl3pPr marL="536561" indent="0">
              <a:buNone/>
              <a:defRPr sz="800"/>
            </a:lvl3pPr>
            <a:lvl4pPr marL="808018" indent="0">
              <a:buNone/>
              <a:defRPr sz="800"/>
            </a:lvl4pPr>
            <a:lvl5pPr marL="1073123" indent="0">
              <a:buNone/>
              <a:defRPr sz="800"/>
            </a:lvl5pPr>
          </a:lstStyle>
          <a:p>
            <a:pPr lvl="0"/>
            <a:r>
              <a:rPr lang="en-US" dirty="0"/>
              <a:t>Click to add text</a:t>
            </a:r>
          </a:p>
        </p:txBody>
      </p:sp>
    </p:spTree>
    <p:extLst>
      <p:ext uri="{BB962C8B-B14F-4D97-AF65-F5344CB8AC3E}">
        <p14:creationId xmlns:p14="http://schemas.microsoft.com/office/powerpoint/2010/main" val="3629594975"/>
      </p:ext>
    </p:extLst>
  </p:cSld>
  <p:clrMapOvr>
    <a:masterClrMapping/>
  </p:clrMapOvr>
  <p:transition/>
  <p:extLst mod="1">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ubtitle_Content_Footer">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1" y="1171199"/>
            <a:ext cx="8510400" cy="369919"/>
          </a:xfrm>
          <a:extLst>
            <a:ext uri="{909E8E84-426E-40DD-AFC4-6F175D3DCCD1}">
              <a14:hiddenFill xmlns:a14="http://schemas.microsoft.com/office/drawing/2010/main">
                <a:solidFill>
                  <a:schemeClr val="accent1"/>
                </a:solidFill>
              </a14:hiddenFill>
            </a:ext>
          </a:extLst>
        </p:spPr>
        <p:txBody>
          <a:bodyPr wrap="none" lIns="18000" anchor="t" anchorCtr="0">
            <a:normAutofit/>
          </a:bodyPr>
          <a:lstStyle>
            <a:lvl1pPr marL="0" indent="0" algn="l">
              <a:buFontTx/>
              <a:buNone/>
              <a:defRPr sz="1400" b="1" baseline="0">
                <a:solidFill>
                  <a:srgbClr val="009FDA"/>
                </a:solidFill>
              </a:defRPr>
            </a:lvl1pPr>
          </a:lstStyle>
          <a:p>
            <a:pPr lvl="0"/>
            <a:r>
              <a:rPr lang="en-GB" noProof="0" dirty="0"/>
              <a:t>Insert subtitle</a:t>
            </a:r>
          </a:p>
        </p:txBody>
      </p:sp>
      <p:sp>
        <p:nvSpPr>
          <p:cNvPr id="9"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1"/>
          <p:cNvSpPr>
            <a:spLocks noGrp="1"/>
          </p:cNvSpPr>
          <p:nvPr>
            <p:ph type="body" sz="quarter" idx="10" hasCustomPrompt="1"/>
          </p:nvPr>
        </p:nvSpPr>
        <p:spPr>
          <a:xfrm>
            <a:off x="316801" y="5620800"/>
            <a:ext cx="8509700" cy="1027200"/>
          </a:xfrm>
        </p:spPr>
        <p:txBody>
          <a:bodyPr rIns="0" anchor="b" anchorCtr="0">
            <a:noAutofit/>
          </a:bodyPr>
          <a:lstStyle>
            <a:lvl1pPr marL="0" indent="0">
              <a:spcBef>
                <a:spcPts val="0"/>
              </a:spcBef>
              <a:spcAft>
                <a:spcPts val="0"/>
              </a:spcAft>
              <a:buNone/>
              <a:defRPr sz="800">
                <a:solidFill>
                  <a:srgbClr val="82786F"/>
                </a:solidFill>
              </a:defRPr>
            </a:lvl1pPr>
            <a:lvl2pPr marL="265112" indent="0">
              <a:buNone/>
              <a:defRPr sz="800">
                <a:solidFill>
                  <a:srgbClr val="82786F"/>
                </a:solidFill>
              </a:defRPr>
            </a:lvl2pPr>
            <a:lvl3pPr>
              <a:defRPr sz="800">
                <a:solidFill>
                  <a:srgbClr val="82786F"/>
                </a:solidFill>
              </a:defRPr>
            </a:lvl3pPr>
            <a:lvl4pPr>
              <a:defRPr sz="800">
                <a:solidFill>
                  <a:srgbClr val="82786F"/>
                </a:solidFill>
              </a:defRPr>
            </a:lvl4pPr>
            <a:lvl5pPr>
              <a:defRPr sz="800">
                <a:solidFill>
                  <a:srgbClr val="82786F"/>
                </a:solidFill>
              </a:defRPr>
            </a:lvl5pPr>
          </a:lstStyle>
          <a:p>
            <a:pPr lvl="0"/>
            <a:r>
              <a:rPr lang="en-US" dirty="0"/>
              <a:t>Click to insert text</a:t>
            </a:r>
            <a:endParaRPr lang="en-GB" dirty="0"/>
          </a:p>
        </p:txBody>
      </p:sp>
      <p:sp>
        <p:nvSpPr>
          <p:cNvPr id="6" name="Title 1"/>
          <p:cNvSpPr>
            <a:spLocks noGrp="1"/>
          </p:cNvSpPr>
          <p:nvPr>
            <p:ph type="title"/>
          </p:nvPr>
        </p:nvSpPr>
        <p:spPr>
          <a:xfrm>
            <a:off x="316800" y="687230"/>
            <a:ext cx="8510400" cy="521883"/>
          </a:xfrm>
        </p:spPr>
        <p:txBody>
          <a:bodyPr anchor="ctr" anchorCtr="0"/>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19539066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681480"/>
            <a:ext cx="7056000" cy="2160000"/>
          </a:xfrm>
          <a:prstGeom prst="rect">
            <a:avLst/>
          </a:prstGeom>
        </p:spPr>
        <p:txBody>
          <a:bodyPr vert="horz"/>
          <a:lstStyle>
            <a:lvl1pPr marL="0" marR="0" indent="0" algn="l" defTabSz="914400" rtl="0" eaLnBrk="1" fontAlgn="base" latinLnBrk="0" hangingPunct="1">
              <a:lnSpc>
                <a:spcPct val="100000"/>
              </a:lnSpc>
              <a:spcBef>
                <a:spcPct val="0"/>
              </a:spcBef>
              <a:spcAft>
                <a:spcPct val="0"/>
              </a:spcAft>
              <a:buClrTx/>
              <a:buSzTx/>
              <a:buFontTx/>
              <a:buNone/>
              <a:tabLst/>
              <a:defRPr sz="1800">
                <a:solidFill>
                  <a:schemeClr val="tx1"/>
                </a:solidFill>
                <a:latin typeface="Arial" pitchFamily="34" charset="0"/>
                <a:cs typeface="Arial" pitchFamily="34" charset="0"/>
              </a:defRPr>
            </a:lvl1pPr>
            <a:lvl2pPr marL="265113" marR="0" indent="-263525" algn="l" defTabSz="914400" rtl="0" eaLnBrk="1" fontAlgn="base" latinLnBrk="0" hangingPunct="1">
              <a:lnSpc>
                <a:spcPct val="90000"/>
              </a:lnSpc>
              <a:spcBef>
                <a:spcPct val="0"/>
              </a:spcBef>
              <a:spcAft>
                <a:spcPct val="0"/>
              </a:spcAft>
              <a:buClrTx/>
              <a:buSzTx/>
              <a:buFontTx/>
              <a:buChar char="•"/>
              <a:tabLst/>
              <a:defRPr sz="1800"/>
            </a:lvl2pPr>
            <a:lvl3pPr marL="622300" marR="0" indent="-180975" algn="l" defTabSz="914400" rtl="0" eaLnBrk="1" fontAlgn="base" latinLnBrk="0" hangingPunct="1">
              <a:lnSpc>
                <a:spcPct val="90000"/>
              </a:lnSpc>
              <a:spcBef>
                <a:spcPct val="0"/>
              </a:spcBef>
              <a:spcAft>
                <a:spcPct val="0"/>
              </a:spcAft>
              <a:buClrTx/>
              <a:buSzTx/>
              <a:buFont typeface="Arial" charset="0"/>
              <a:buChar char="-"/>
              <a:tabLst/>
              <a:defRPr sz="1800"/>
            </a:lvl3pPr>
            <a:lvl4pPr marL="1657350" indent="-285750">
              <a:buFont typeface="Arial"/>
              <a:buChar char="•"/>
              <a:defRPr sz="1800"/>
            </a:lvl4pPr>
            <a:lvl5pPr marL="2114550" indent="-285750">
              <a:buFont typeface="Arial"/>
              <a:buChar char="•"/>
              <a:defRPr sz="1800"/>
            </a:lvl5pPr>
          </a:lstStyle>
          <a:p>
            <a:pPr lvl="0"/>
            <a:r>
              <a:rPr lang="en-GB" noProof="0" dirty="0"/>
              <a:t>Click to edit Master text styles</a:t>
            </a:r>
          </a:p>
        </p:txBody>
      </p:sp>
      <p:sp>
        <p:nvSpPr>
          <p:cNvPr id="9" name="Content Placeholder 2"/>
          <p:cNvSpPr>
            <a:spLocks noGrp="1"/>
          </p:cNvSpPr>
          <p:nvPr>
            <p:ph idx="14" hasCustomPrompt="1"/>
          </p:nvPr>
        </p:nvSpPr>
        <p:spPr>
          <a:xfrm>
            <a:off x="237600" y="3866400"/>
            <a:ext cx="7056000" cy="2160000"/>
          </a:xfrm>
          <a:prstGeom prst="rect">
            <a:avLst/>
          </a:prstGeom>
        </p:spPr>
        <p:txBody>
          <a:bodyPr/>
          <a:lstStyle>
            <a:lvl1pPr marL="180000" indent="-180000">
              <a:lnSpc>
                <a:spcPct val="15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5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6"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22725924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ubtitle_Footer">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1" y="1171199"/>
            <a:ext cx="8510400" cy="369919"/>
          </a:xfrm>
          <a:extLst>
            <a:ext uri="{909E8E84-426E-40DD-AFC4-6F175D3DCCD1}">
              <a14:hiddenFill xmlns:a14="http://schemas.microsoft.com/office/drawing/2010/main">
                <a:solidFill>
                  <a:schemeClr val="accent1"/>
                </a:solidFill>
              </a14:hiddenFill>
            </a:ext>
          </a:extLst>
        </p:spPr>
        <p:txBody>
          <a:bodyPr wrap="none" lIns="18000" anchor="t" anchorCtr="0">
            <a:normAutofit/>
          </a:bodyPr>
          <a:lstStyle>
            <a:lvl1pPr marL="0" indent="0" algn="l">
              <a:buFontTx/>
              <a:buNone/>
              <a:defRPr sz="1400" b="1" baseline="0">
                <a:solidFill>
                  <a:srgbClr val="009FDA"/>
                </a:solidFill>
              </a:defRPr>
            </a:lvl1pPr>
          </a:lstStyle>
          <a:p>
            <a:pPr lvl="0"/>
            <a:r>
              <a:rPr lang="en-GB" noProof="0" dirty="0"/>
              <a:t>Insert subtitle</a:t>
            </a:r>
          </a:p>
        </p:txBody>
      </p:sp>
      <p:sp>
        <p:nvSpPr>
          <p:cNvPr id="10" name="Text Placeholder 11"/>
          <p:cNvSpPr>
            <a:spLocks noGrp="1"/>
          </p:cNvSpPr>
          <p:nvPr>
            <p:ph type="body" sz="quarter" idx="10" hasCustomPrompt="1"/>
          </p:nvPr>
        </p:nvSpPr>
        <p:spPr>
          <a:xfrm>
            <a:off x="316801" y="5620800"/>
            <a:ext cx="8509700" cy="1027200"/>
          </a:xfrm>
        </p:spPr>
        <p:txBody>
          <a:bodyPr rIns="0" anchor="b" anchorCtr="0">
            <a:noAutofit/>
          </a:bodyPr>
          <a:lstStyle>
            <a:lvl1pPr marL="0" indent="0">
              <a:spcBef>
                <a:spcPts val="0"/>
              </a:spcBef>
              <a:spcAft>
                <a:spcPts val="0"/>
              </a:spcAft>
              <a:buNone/>
              <a:defRPr sz="800">
                <a:solidFill>
                  <a:srgbClr val="82786F"/>
                </a:solidFill>
              </a:defRPr>
            </a:lvl1pPr>
            <a:lvl2pPr marL="265112" indent="0">
              <a:buNone/>
              <a:defRPr sz="800">
                <a:solidFill>
                  <a:srgbClr val="82786F"/>
                </a:solidFill>
              </a:defRPr>
            </a:lvl2pPr>
            <a:lvl3pPr>
              <a:defRPr sz="800">
                <a:solidFill>
                  <a:srgbClr val="82786F"/>
                </a:solidFill>
              </a:defRPr>
            </a:lvl3pPr>
            <a:lvl4pPr>
              <a:defRPr sz="800">
                <a:solidFill>
                  <a:srgbClr val="82786F"/>
                </a:solidFill>
              </a:defRPr>
            </a:lvl4pPr>
            <a:lvl5pPr>
              <a:defRPr sz="800">
                <a:solidFill>
                  <a:srgbClr val="82786F"/>
                </a:solidFill>
              </a:defRPr>
            </a:lvl5pPr>
          </a:lstStyle>
          <a:p>
            <a:pPr lvl="0"/>
            <a:r>
              <a:rPr lang="en-US" dirty="0"/>
              <a:t>Click to insert text</a:t>
            </a:r>
            <a:endParaRPr lang="en-GB" dirty="0"/>
          </a:p>
        </p:txBody>
      </p:sp>
      <p:sp>
        <p:nvSpPr>
          <p:cNvPr id="6" name="Title 1"/>
          <p:cNvSpPr>
            <a:spLocks noGrp="1"/>
          </p:cNvSpPr>
          <p:nvPr>
            <p:ph type="title"/>
          </p:nvPr>
        </p:nvSpPr>
        <p:spPr>
          <a:xfrm>
            <a:off x="316800" y="687230"/>
            <a:ext cx="8510400" cy="521883"/>
          </a:xfrm>
        </p:spPr>
        <p:txBody>
          <a:bodyPr anchor="ctr" anchorCtr="0"/>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22507213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5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Content Placeholder 2"/>
          <p:cNvSpPr>
            <a:spLocks noGrp="1"/>
          </p:cNvSpPr>
          <p:nvPr>
            <p:ph sz="quarter" idx="10" hasCustomPrompt="1"/>
          </p:nvPr>
        </p:nvSpPr>
        <p:spPr>
          <a:xfrm>
            <a:off x="316800" y="6115058"/>
            <a:ext cx="8510400" cy="606105"/>
          </a:xfrm>
        </p:spPr>
        <p:txBody>
          <a:bodyPr rIns="0" anchor="b" anchorCtr="0">
            <a:noAutofit/>
          </a:bodyPr>
          <a:lstStyle>
            <a:lvl1pPr marL="0" indent="0">
              <a:spcBef>
                <a:spcPts val="0"/>
              </a:spcBef>
              <a:buNone/>
              <a:defRPr sz="800">
                <a:solidFill>
                  <a:srgbClr val="82786F"/>
                </a:solidFill>
              </a:defRPr>
            </a:lvl1pPr>
            <a:lvl2pPr marL="265106" indent="0">
              <a:buNone/>
              <a:defRPr sz="800"/>
            </a:lvl2pPr>
            <a:lvl3pPr marL="536561" indent="0">
              <a:buNone/>
              <a:defRPr sz="800"/>
            </a:lvl3pPr>
            <a:lvl4pPr marL="808018" indent="0">
              <a:buNone/>
              <a:defRPr sz="800"/>
            </a:lvl4pPr>
            <a:lvl5pPr marL="1073123" indent="0">
              <a:buNone/>
              <a:defRPr sz="800"/>
            </a:lvl5pPr>
          </a:lstStyle>
          <a:p>
            <a:pPr lvl="0"/>
            <a:r>
              <a:rPr lang="en-US" dirty="0"/>
              <a:t>Click to add text</a:t>
            </a:r>
          </a:p>
        </p:txBody>
      </p:sp>
      <p:sp>
        <p:nvSpPr>
          <p:cNvPr id="7" name="Title 1"/>
          <p:cNvSpPr>
            <a:spLocks noGrp="1"/>
          </p:cNvSpPr>
          <p:nvPr>
            <p:ph type="title"/>
          </p:nvPr>
        </p:nvSpPr>
        <p:spPr>
          <a:xfrm>
            <a:off x="316800" y="687230"/>
            <a:ext cx="8510400" cy="521883"/>
          </a:xfrm>
        </p:spPr>
        <p:txBody>
          <a:bodyPr anchor="ctr" anchorCtr="0"/>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6695444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mod="1">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 Subtitle | Content | Foot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35055"/>
            <a:ext cx="8510400" cy="4098423"/>
          </a:xfrm>
        </p:spPr>
        <p:txBody>
          <a:bodyPr/>
          <a:lstStyle>
            <a:lvl1pPr>
              <a:spcBef>
                <a:spcPts val="450"/>
              </a:spcBef>
              <a:spcAft>
                <a:spcPts val="450"/>
              </a:spcAft>
              <a:buClr>
                <a:schemeClr val="accent1"/>
              </a:buClr>
              <a:defRPr sz="1800">
                <a:solidFill>
                  <a:schemeClr val="accent2"/>
                </a:solidFill>
              </a:defRPr>
            </a:lvl1pPr>
            <a:lvl2pPr>
              <a:spcBef>
                <a:spcPts val="450"/>
              </a:spcBef>
              <a:spcAft>
                <a:spcPts val="450"/>
              </a:spcAft>
              <a:buClr>
                <a:schemeClr val="tx2"/>
              </a:buClr>
              <a:defRPr sz="1600">
                <a:solidFill>
                  <a:schemeClr val="accent2"/>
                </a:solidFill>
              </a:defRPr>
            </a:lvl2pPr>
            <a:lvl3pPr>
              <a:spcBef>
                <a:spcPts val="450"/>
              </a:spcBef>
              <a:spcAft>
                <a:spcPts val="450"/>
              </a:spcAft>
              <a:buClr>
                <a:schemeClr val="accent5"/>
              </a:buClr>
              <a:defRPr sz="1400">
                <a:solidFill>
                  <a:schemeClr val="accent2"/>
                </a:solidFill>
              </a:defRPr>
            </a:lvl3pPr>
            <a:lvl4pPr>
              <a:spcBef>
                <a:spcPts val="450"/>
              </a:spcBef>
              <a:spcAft>
                <a:spcPts val="450"/>
              </a:spcAft>
              <a:buClr>
                <a:schemeClr val="accent3"/>
              </a:buClr>
              <a:defRPr sz="1200">
                <a:solidFill>
                  <a:schemeClr val="accent2"/>
                </a:solidFill>
              </a:defRPr>
            </a:lvl4pPr>
            <a:lvl5pPr>
              <a:spcBef>
                <a:spcPts val="450"/>
              </a:spcBef>
              <a:spcAft>
                <a:spcPts val="450"/>
              </a:spcAft>
              <a:buClr>
                <a:srgbClr val="001423"/>
              </a:buClr>
              <a:defRPr sz="1100">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p:cNvSpPr>
            <a:spLocks noGrp="1"/>
          </p:cNvSpPr>
          <p:nvPr>
            <p:ph type="title"/>
          </p:nvPr>
        </p:nvSpPr>
        <p:spPr/>
        <p:txBody>
          <a:bodyPr/>
          <a:lstStyle/>
          <a:p>
            <a:r>
              <a:rPr lang="en-GB" noProof="0" dirty="0"/>
              <a:t>Click to edit Master title style</a:t>
            </a:r>
          </a:p>
        </p:txBody>
      </p:sp>
      <p:sp>
        <p:nvSpPr>
          <p:cNvPr id="5" name="Text Placeholder 4"/>
          <p:cNvSpPr>
            <a:spLocks noGrp="1"/>
          </p:cNvSpPr>
          <p:nvPr>
            <p:ph type="body" sz="quarter" idx="11" hasCustomPrompt="1"/>
          </p:nvPr>
        </p:nvSpPr>
        <p:spPr>
          <a:xfrm>
            <a:off x="316707" y="1141420"/>
            <a:ext cx="8509397" cy="296863"/>
          </a:xfrm>
        </p:spPr>
        <p:txBody>
          <a:bodyPr/>
          <a:lstStyle>
            <a:lvl1pPr marL="0" indent="0">
              <a:buNone/>
              <a:defRPr sz="1400" b="1">
                <a:solidFill>
                  <a:srgbClr val="009FDA"/>
                </a:solidFill>
              </a:defRPr>
            </a:lvl1pPr>
            <a:lvl2pPr marL="265105" indent="0">
              <a:buNone/>
              <a:defRPr sz="1050" b="1">
                <a:solidFill>
                  <a:srgbClr val="009FDA"/>
                </a:solidFill>
              </a:defRPr>
            </a:lvl2pPr>
            <a:lvl3pPr marL="536561" indent="0">
              <a:buNone/>
              <a:defRPr sz="1050" b="1">
                <a:solidFill>
                  <a:srgbClr val="009FDA"/>
                </a:solidFill>
              </a:defRPr>
            </a:lvl3pPr>
            <a:lvl4pPr marL="808018" indent="0">
              <a:buNone/>
              <a:defRPr sz="1050" b="1">
                <a:solidFill>
                  <a:srgbClr val="009FDA"/>
                </a:solidFill>
              </a:defRPr>
            </a:lvl4pPr>
            <a:lvl5pPr marL="1073123" indent="0">
              <a:buNone/>
              <a:defRPr sz="1050" b="1">
                <a:solidFill>
                  <a:srgbClr val="009FDA"/>
                </a:solidFill>
              </a:defRPr>
            </a:lvl5pPr>
          </a:lstStyle>
          <a:p>
            <a:pPr lvl="0"/>
            <a:r>
              <a:rPr lang="en-GB" noProof="0" dirty="0"/>
              <a:t>Enter subtitle here in </a:t>
            </a:r>
            <a:r>
              <a:rPr lang="en-GB" noProof="0" dirty="0" err="1"/>
              <a:t>verdana</a:t>
            </a:r>
            <a:r>
              <a:rPr lang="en-GB" noProof="0" dirty="0"/>
              <a:t>, </a:t>
            </a:r>
            <a:r>
              <a:rPr lang="en-GB" noProof="0" dirty="0" err="1"/>
              <a:t>nn</a:t>
            </a:r>
            <a:r>
              <a:rPr lang="en-GB" noProof="0" dirty="0"/>
              <a:t> light blue, 14 </a:t>
            </a:r>
            <a:r>
              <a:rPr lang="en-GB" noProof="0" dirty="0" err="1"/>
              <a:t>pt</a:t>
            </a:r>
            <a:endParaRPr lang="en-GB" noProof="0" dirty="0"/>
          </a:p>
        </p:txBody>
      </p:sp>
      <p:sp>
        <p:nvSpPr>
          <p:cNvPr id="7" name="Text Placeholder 2"/>
          <p:cNvSpPr>
            <a:spLocks noGrp="1"/>
          </p:cNvSpPr>
          <p:nvPr>
            <p:ph type="body" sz="quarter" idx="12" hasCustomPrompt="1"/>
          </p:nvPr>
        </p:nvSpPr>
        <p:spPr>
          <a:xfrm>
            <a:off x="316801" y="6317889"/>
            <a:ext cx="8509700" cy="363800"/>
          </a:xfrm>
        </p:spPr>
        <p:txBody>
          <a:bodyPr anchor="b"/>
          <a:lstStyle>
            <a:lvl1pPr marL="0" marR="0" indent="0" algn="l" defTabSz="914378"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en-GB" noProof="0" dirty="0"/>
              <a:t>Footnotes</a:t>
            </a:r>
          </a:p>
          <a:p>
            <a:r>
              <a:rPr lang="en-GB" noProof="0" dirty="0"/>
              <a:t>Reference</a:t>
            </a:r>
          </a:p>
        </p:txBody>
      </p:sp>
    </p:spTree>
    <p:extLst>
      <p:ext uri="{BB962C8B-B14F-4D97-AF65-F5344CB8AC3E}">
        <p14:creationId xmlns:p14="http://schemas.microsoft.com/office/powerpoint/2010/main" val="3169926185"/>
      </p:ext>
    </p:extLst>
  </p:cSld>
  <p:clrMapOvr>
    <a:masterClrMapping/>
  </p:clrMapOvr>
  <p:transition/>
  <p:extLst mod="1">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Date Placeholder 7"/>
          <p:cNvSpPr>
            <a:spLocks noGrp="1"/>
          </p:cNvSpPr>
          <p:nvPr>
            <p:ph type="dt" sz="half" idx="10"/>
          </p:nvPr>
        </p:nvSpPr>
        <p:spPr>
          <a:xfrm>
            <a:off x="7164341" y="260653"/>
            <a:ext cx="1417761" cy="192021"/>
          </a:xfrm>
          <a:prstGeom prst="rect">
            <a:avLst/>
          </a:prstGeom>
        </p:spPr>
        <p:txBody>
          <a:bodyPr lIns="91438" tIns="45719" rIns="91438" bIns="45719"/>
          <a:lstStyle/>
          <a:p>
            <a:pPr algn="r" defTabSz="685800" fontAlgn="auto">
              <a:spcBef>
                <a:spcPts val="0"/>
              </a:spcBef>
              <a:spcAft>
                <a:spcPts val="0"/>
              </a:spcAft>
              <a:defRPr/>
            </a:pPr>
            <a:endParaRPr lang="en-GB" sz="1100" b="0" dirty="0">
              <a:solidFill>
                <a:srgbClr val="82786F"/>
              </a:solidFill>
              <a:latin typeface="Verdana"/>
            </a:endParaRPr>
          </a:p>
        </p:txBody>
      </p:sp>
      <p:sp>
        <p:nvSpPr>
          <p:cNvPr id="9" name="Footer Placeholder 8"/>
          <p:cNvSpPr>
            <a:spLocks noGrp="1"/>
          </p:cNvSpPr>
          <p:nvPr>
            <p:ph type="ftr" sz="quarter" idx="11"/>
          </p:nvPr>
        </p:nvSpPr>
        <p:spPr>
          <a:xfrm>
            <a:off x="414412" y="6508766"/>
            <a:ext cx="7470000" cy="184665"/>
          </a:xfrm>
          <a:prstGeom prst="rect">
            <a:avLst/>
          </a:prstGeom>
        </p:spPr>
        <p:txBody>
          <a:bodyPr/>
          <a:lstStyle>
            <a:lvl1pPr>
              <a:defRPr sz="900"/>
            </a:lvl1pPr>
          </a:lstStyle>
          <a:p>
            <a:pPr defTabSz="685800" fontAlgn="auto">
              <a:spcBef>
                <a:spcPts val="0"/>
              </a:spcBef>
              <a:spcAft>
                <a:spcPts val="0"/>
              </a:spcAft>
              <a:defRPr/>
            </a:pPr>
            <a:r>
              <a:rPr lang="en-US" b="0" dirty="0">
                <a:solidFill>
                  <a:srgbClr val="001965"/>
                </a:solidFill>
                <a:latin typeface="Verdana"/>
              </a:rPr>
              <a:t>References</a:t>
            </a:r>
            <a:endParaRPr lang="en-GB" b="0" dirty="0">
              <a:solidFill>
                <a:srgbClr val="001965"/>
              </a:solidFill>
              <a:latin typeface="Verdana"/>
            </a:endParaRPr>
          </a:p>
        </p:txBody>
      </p:sp>
      <p:sp>
        <p:nvSpPr>
          <p:cNvPr id="10" name="Slide Number Placeholder 9"/>
          <p:cNvSpPr>
            <a:spLocks noGrp="1"/>
          </p:cNvSpPr>
          <p:nvPr>
            <p:ph type="sldNum" sz="quarter" idx="12"/>
          </p:nvPr>
        </p:nvSpPr>
        <p:spPr>
          <a:xfrm>
            <a:off x="8459795" y="6288075"/>
            <a:ext cx="684211" cy="144000"/>
          </a:xfrm>
          <a:prstGeom prst="rect">
            <a:avLst/>
          </a:prstGeom>
        </p:spPr>
        <p:txBody>
          <a:bodyPr/>
          <a:lstStyle/>
          <a:p>
            <a:pPr defTabSz="685800" fontAlgn="auto">
              <a:spcBef>
                <a:spcPts val="0"/>
              </a:spcBef>
              <a:spcAft>
                <a:spcPts val="0"/>
              </a:spcAft>
              <a:defRPr/>
            </a:pPr>
            <a:fld id="{30FEBC53-192B-8940-8EFA-F38DCA979304}" type="slidenum">
              <a:rPr lang="en-GB" sz="1350" b="0">
                <a:solidFill>
                  <a:srgbClr val="FFFFFF"/>
                </a:solidFill>
                <a:latin typeface="Verdana"/>
              </a:rPr>
              <a:pPr defTabSz="685800" fontAlgn="auto">
                <a:spcBef>
                  <a:spcPts val="0"/>
                </a:spcBef>
                <a:spcAft>
                  <a:spcPts val="0"/>
                </a:spcAft>
                <a:defRPr/>
              </a:pPr>
              <a:t>‹#›</a:t>
            </a:fld>
            <a:endParaRPr lang="en-GB" sz="1350" b="0" dirty="0">
              <a:solidFill>
                <a:srgbClr val="FFFFFF"/>
              </a:solidFill>
              <a:latin typeface="Verdana"/>
            </a:endParaRPr>
          </a:p>
        </p:txBody>
      </p:sp>
    </p:spTree>
    <p:extLst>
      <p:ext uri="{BB962C8B-B14F-4D97-AF65-F5344CB8AC3E}">
        <p14:creationId xmlns:p14="http://schemas.microsoft.com/office/powerpoint/2010/main" val="24552438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Èn tekstspalt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1368000" y="872723"/>
            <a:ext cx="7092000" cy="1161947"/>
          </a:xfrm>
        </p:spPr>
        <p:txBody>
          <a:bodyPr/>
          <a:lstStyle/>
          <a:p>
            <a:r>
              <a:rPr lang="da-DK" dirty="0"/>
              <a:t>Overskrift 27pt i to eller flere linjer </a:t>
            </a:r>
            <a:br>
              <a:rPr lang="da-DK" dirty="0"/>
            </a:br>
            <a:r>
              <a:rPr lang="da-DK" dirty="0"/>
              <a:t>teksten vokser opad</a:t>
            </a:r>
          </a:p>
        </p:txBody>
      </p:sp>
      <p:sp>
        <p:nvSpPr>
          <p:cNvPr id="5" name="Pladsholder til sidefod 4"/>
          <p:cNvSpPr>
            <a:spLocks noGrp="1"/>
          </p:cNvSpPr>
          <p:nvPr>
            <p:ph type="ftr" sz="quarter" idx="11"/>
          </p:nvPr>
        </p:nvSpPr>
        <p:spPr>
          <a:xfrm>
            <a:off x="1371604" y="6290559"/>
            <a:ext cx="3224211" cy="139408"/>
          </a:xfrm>
          <a:prstGeom prst="rect">
            <a:avLst/>
          </a:prstGeom>
        </p:spPr>
        <p:txBody>
          <a:bodyPr/>
          <a:lstStyle/>
          <a:p>
            <a:pPr defTabSz="685800" fontAlgn="auto">
              <a:spcBef>
                <a:spcPts val="0"/>
              </a:spcBef>
              <a:spcAft>
                <a:spcPts val="0"/>
              </a:spcAft>
            </a:pPr>
            <a:r>
              <a:rPr sz="1350" b="0">
                <a:solidFill>
                  <a:srgbClr val="FFFFFF"/>
                </a:solidFill>
                <a:latin typeface="Verdana"/>
              </a:rPr>
              <a:t>Titel/beskrivelse (Sidehoved/fod)</a:t>
            </a:r>
          </a:p>
        </p:txBody>
      </p:sp>
      <p:sp>
        <p:nvSpPr>
          <p:cNvPr id="6" name="Pladsholder til diasnummer 5"/>
          <p:cNvSpPr>
            <a:spLocks noGrp="1"/>
          </p:cNvSpPr>
          <p:nvPr>
            <p:ph type="sldNum" sz="quarter" idx="12"/>
          </p:nvPr>
        </p:nvSpPr>
        <p:spPr>
          <a:xfrm>
            <a:off x="8459794" y="6288075"/>
            <a:ext cx="684211" cy="144000"/>
          </a:xfrm>
          <a:prstGeom prst="rect">
            <a:avLst/>
          </a:prstGeom>
        </p:spPr>
        <p:txBody>
          <a:bodyPr/>
          <a:lstStyle/>
          <a:p>
            <a:pPr defTabSz="685800" fontAlgn="auto">
              <a:spcBef>
                <a:spcPts val="0"/>
              </a:spcBef>
              <a:spcAft>
                <a:spcPts val="0"/>
              </a:spcAft>
            </a:pPr>
            <a:fld id="{667EC89C-17A0-4E64-A6D2-B825673CEEDF}" type="slidenum">
              <a:rPr sz="1350" b="0">
                <a:solidFill>
                  <a:srgbClr val="FFFFFF"/>
                </a:solidFill>
                <a:latin typeface="Verdana"/>
              </a:rPr>
              <a:pPr defTabSz="685800" fontAlgn="auto">
                <a:spcBef>
                  <a:spcPts val="0"/>
                </a:spcBef>
                <a:spcAft>
                  <a:spcPts val="0"/>
                </a:spcAft>
              </a:pPr>
              <a:t>‹#›</a:t>
            </a:fld>
            <a:endParaRPr sz="1350" b="0" dirty="0">
              <a:solidFill>
                <a:srgbClr val="FFFFFF"/>
              </a:solidFill>
              <a:latin typeface="Verdana"/>
            </a:endParaRPr>
          </a:p>
        </p:txBody>
      </p:sp>
      <p:grpSp>
        <p:nvGrpSpPr>
          <p:cNvPr id="12" name="Gruppe 11"/>
          <p:cNvGrpSpPr/>
          <p:nvPr userDrawn="1"/>
        </p:nvGrpSpPr>
        <p:grpSpPr>
          <a:xfrm>
            <a:off x="-1980726" y="2393789"/>
            <a:ext cx="1833563" cy="2894126"/>
            <a:chOff x="-1980728" y="1411288"/>
            <a:chExt cx="1833563" cy="2894124"/>
          </a:xfrm>
        </p:grpSpPr>
        <p:sp>
          <p:nvSpPr>
            <p:cNvPr id="13" name="AutoShape 4"/>
            <p:cNvSpPr>
              <a:spLocks/>
            </p:cNvSpPr>
            <p:nvPr userDrawn="1"/>
          </p:nvSpPr>
          <p:spPr bwMode="gray">
            <a:xfrm>
              <a:off x="-1980728" y="1411288"/>
              <a:ext cx="1830388" cy="2894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rPr>
                <a:t>Opstil teksten i punkter</a:t>
              </a:r>
            </a:p>
            <a:p>
              <a:pPr algn="r" eaLnBrk="1" fontAlgn="auto" hangingPunct="1">
                <a:spcBef>
                  <a:spcPct val="0"/>
                </a:spcBef>
                <a:spcAft>
                  <a:spcPts val="240"/>
                </a:spcAft>
                <a:buFontTx/>
                <a:buNone/>
                <a:defRPr/>
              </a:pPr>
              <a:r>
                <a:rPr lang="da-DK" altLang="da-DK" sz="900" b="0" i="1" noProof="1">
                  <a:solidFill>
                    <a:srgbClr val="FFFFFF">
                      <a:lumMod val="50000"/>
                    </a:srgbClr>
                  </a:solidFill>
                  <a:latin typeface="Arial" panose="020B0604020202020204" pitchFamily="34" charset="0"/>
                  <a:ea typeface="Verdana" panose="020B0604030504040204" pitchFamily="34" charset="0"/>
                </a:rPr>
                <a:t>Niveauer</a:t>
              </a:r>
            </a:p>
            <a:p>
              <a:pPr algn="r" eaLnBrk="1" fontAlgn="auto" hangingPunct="1">
                <a:spcBef>
                  <a:spcPct val="0"/>
                </a:spcBef>
                <a:spcAft>
                  <a:spcPts val="0"/>
                </a:spcAft>
                <a:buFontTx/>
                <a:buNone/>
                <a:defRPr/>
              </a:pPr>
              <a:r>
                <a:rPr lang="da-DK" altLang="da-DK" sz="900" b="0" i="1" noProof="1">
                  <a:solidFill>
                    <a:srgbClr val="FFFFFF">
                      <a:lumMod val="50000"/>
                    </a:srgbClr>
                  </a:solidFill>
                  <a:latin typeface="Arial" panose="020B0604020202020204" pitchFamily="34" charset="0"/>
                  <a:ea typeface="Verdana" panose="020B0604030504040204" pitchFamily="34" charset="0"/>
                </a:rPr>
                <a:t>1. Niveau = Bullets 22 pkt</a:t>
              </a:r>
              <a:br>
                <a:rPr lang="da-DK" altLang="da-DK" sz="900" b="0" i="1" noProof="1">
                  <a:solidFill>
                    <a:srgbClr val="FFFFFF">
                      <a:lumMod val="50000"/>
                    </a:srgbClr>
                  </a:solidFill>
                  <a:latin typeface="Arial" panose="020B0604020202020204" pitchFamily="34" charset="0"/>
                  <a:ea typeface="Verdana" panose="020B0604030504040204" pitchFamily="34" charset="0"/>
                </a:rPr>
              </a:br>
              <a:r>
                <a:rPr lang="da-DK" altLang="da-DK" sz="900" b="0" i="1" noProof="1">
                  <a:solidFill>
                    <a:srgbClr val="FFFFFF">
                      <a:lumMod val="50000"/>
                    </a:srgbClr>
                  </a:solidFill>
                  <a:latin typeface="Arial" panose="020B0604020202020204" pitchFamily="34" charset="0"/>
                  <a:ea typeface="Verdana" panose="020B0604030504040204" pitchFamily="34" charset="0"/>
                </a:rPr>
                <a:t>2. Niveau = Bullets 22 pkt</a:t>
              </a:r>
              <a:br>
                <a:rPr lang="da-DK" altLang="da-DK" sz="900" b="0" i="1" noProof="1">
                  <a:solidFill>
                    <a:srgbClr val="FFFFFF">
                      <a:lumMod val="50000"/>
                    </a:srgbClr>
                  </a:solidFill>
                  <a:latin typeface="Arial" panose="020B0604020202020204" pitchFamily="34" charset="0"/>
                  <a:ea typeface="Verdana" panose="020B0604030504040204" pitchFamily="34" charset="0"/>
                </a:rPr>
              </a:br>
              <a:r>
                <a:rPr lang="da-DK" altLang="da-DK" sz="900" b="0" i="1" noProof="1">
                  <a:solidFill>
                    <a:srgbClr val="FFFFFF">
                      <a:lumMod val="50000"/>
                    </a:srgbClr>
                  </a:solidFill>
                  <a:latin typeface="Arial" panose="020B0604020202020204" pitchFamily="34" charset="0"/>
                  <a:ea typeface="Verdana" panose="020B0604030504040204" pitchFamily="34" charset="0"/>
                </a:rPr>
                <a:t>3. Niveau = Bullets 20 pkt</a:t>
              </a:r>
            </a:p>
            <a:p>
              <a:pPr algn="r" eaLnBrk="1" fontAlgn="auto" hangingPunct="1">
                <a:spcBef>
                  <a:spcPct val="0"/>
                </a:spcBef>
                <a:spcAft>
                  <a:spcPts val="240"/>
                </a:spcAft>
                <a:buFontTx/>
                <a:buNone/>
                <a:defRPr/>
              </a:pPr>
              <a:r>
                <a:rPr lang="da-DK" altLang="da-DK" sz="900" b="0" i="1" noProof="1">
                  <a:solidFill>
                    <a:srgbClr val="FFFFFF">
                      <a:lumMod val="50000"/>
                    </a:srgbClr>
                  </a:solidFill>
                  <a:latin typeface="Arial" panose="020B0604020202020204" pitchFamily="34" charset="0"/>
                  <a:ea typeface="Verdana" panose="020B0604030504040204" pitchFamily="34" charset="0"/>
                </a:rPr>
                <a:t>4. Niveau = Bullets 18 pkt</a:t>
              </a:r>
              <a:br>
                <a:rPr lang="da-DK" altLang="da-DK" sz="900" b="0" i="1" noProof="1">
                  <a:solidFill>
                    <a:srgbClr val="FFFFFF">
                      <a:lumMod val="50000"/>
                    </a:srgbClr>
                  </a:solidFill>
                  <a:latin typeface="Arial" panose="020B0604020202020204" pitchFamily="34" charset="0"/>
                  <a:ea typeface="Verdana" panose="020B0604030504040204" pitchFamily="34" charset="0"/>
                </a:rPr>
              </a:br>
              <a:r>
                <a:rPr lang="da-DK" altLang="da-DK" sz="900" b="0" i="1" noProof="1">
                  <a:solidFill>
                    <a:srgbClr val="FFFFFF">
                      <a:lumMod val="50000"/>
                    </a:srgbClr>
                  </a:solidFill>
                  <a:latin typeface="Arial" panose="020B0604020202020204" pitchFamily="34" charset="0"/>
                  <a:ea typeface="Verdana" panose="020B0604030504040204" pitchFamily="34" charset="0"/>
                </a:rPr>
                <a:t>5. – 9. Niveau = Bullets 16 - 10 pkt</a:t>
              </a:r>
            </a:p>
            <a:p>
              <a:pPr algn="r" eaLnBrk="1" fontAlgn="auto" hangingPunct="1">
                <a:spcBef>
                  <a:spcPct val="0"/>
                </a:spcBef>
                <a:spcAft>
                  <a:spcPts val="0"/>
                </a:spcAft>
                <a:buFontTx/>
                <a:buNone/>
                <a:defRPr/>
              </a:pPr>
              <a:endParaRPr lang="da-DK" altLang="da-DK" sz="900" b="0" i="1" noProof="1">
                <a:solidFill>
                  <a:srgbClr val="FFFFFF">
                    <a:lumMod val="50000"/>
                  </a:srgbClr>
                </a:solidFill>
                <a:latin typeface="Arial" panose="020B0604020202020204" pitchFamily="34" charset="0"/>
                <a:ea typeface="Verdana" panose="020B0604030504040204" pitchFamily="34" charset="0"/>
              </a:endParaRPr>
            </a:p>
            <a:p>
              <a:pPr algn="r" fontAlgn="auto">
                <a:spcBef>
                  <a:spcPts val="0"/>
                </a:spcBef>
                <a:spcAft>
                  <a:spcPts val="240"/>
                </a:spcAft>
                <a:buFontTx/>
                <a:buNone/>
                <a:defRPr/>
              </a:pPr>
              <a:r>
                <a:rPr lang="da-DK" sz="900" b="0" dirty="0">
                  <a:solidFill>
                    <a:srgbClr val="FFFFFF">
                      <a:lumMod val="50000"/>
                    </a:srgbClr>
                  </a:solidFill>
                  <a:latin typeface="Arial" panose="020B0604020202020204" pitchFamily="34" charset="0"/>
                  <a:ea typeface="Verdana" panose="020B0604030504040204" pitchFamily="34" charset="0"/>
                </a:rPr>
                <a:t>For at få punktopstillet teksten (flere niveauer findes) brug </a:t>
              </a:r>
              <a:r>
                <a:rPr lang="da-DK" sz="900" dirty="0">
                  <a:solidFill>
                    <a:srgbClr val="FFFFFF">
                      <a:lumMod val="50000"/>
                    </a:srgbClr>
                  </a:solidFill>
                  <a:latin typeface="Arial" panose="020B0604020202020204" pitchFamily="34" charset="0"/>
                  <a:ea typeface="Verdana" panose="020B0604030504040204" pitchFamily="34" charset="0"/>
                </a:rPr>
                <a:t>Forøg listeniveau</a:t>
              </a:r>
            </a:p>
            <a:p>
              <a:pPr algn="r" fontAlgn="auto">
                <a:spcAft>
                  <a:spcPts val="0"/>
                </a:spcAft>
                <a:defRPr/>
              </a:pPr>
              <a:endParaRPr lang="da-DK" sz="900" b="0" dirty="0">
                <a:solidFill>
                  <a:srgbClr val="FFFFFF">
                    <a:lumMod val="50000"/>
                  </a:srgbClr>
                </a:solidFill>
                <a:latin typeface="Arial" panose="020B0604020202020204" pitchFamily="34" charset="0"/>
                <a:ea typeface="Verdana" panose="020B0604030504040204" pitchFamily="34" charset="0"/>
              </a:endParaRPr>
            </a:p>
            <a:p>
              <a:pPr algn="r" fontAlgn="auto">
                <a:spcAft>
                  <a:spcPts val="0"/>
                </a:spcAft>
                <a:defRPr/>
              </a:pPr>
              <a:endParaRPr lang="da-DK" sz="900" b="0" dirty="0">
                <a:solidFill>
                  <a:srgbClr val="FFFFFF">
                    <a:lumMod val="50000"/>
                  </a:srgbClr>
                </a:solidFill>
                <a:latin typeface="Arial" panose="020B0604020202020204" pitchFamily="34" charset="0"/>
                <a:ea typeface="Verdana" panose="020B0604030504040204" pitchFamily="34" charset="0"/>
              </a:endParaRPr>
            </a:p>
            <a:p>
              <a:pPr algn="r" fontAlgn="auto">
                <a:spcBef>
                  <a:spcPts val="0"/>
                </a:spcBef>
                <a:spcAft>
                  <a:spcPts val="240"/>
                </a:spcAft>
                <a:buFontTx/>
                <a:buNone/>
                <a:defRPr/>
              </a:pPr>
              <a:r>
                <a:rPr lang="da-DK" sz="900" b="0" dirty="0">
                  <a:solidFill>
                    <a:srgbClr val="FFFFFF">
                      <a:lumMod val="50000"/>
                    </a:srgbClr>
                  </a:solidFill>
                  <a:latin typeface="Arial" panose="020B0604020202020204" pitchFamily="34" charset="0"/>
                  <a:ea typeface="Verdana" panose="020B0604030504040204" pitchFamily="34" charset="0"/>
                </a:rPr>
                <a:t>For at få venstrestillet teksten </a:t>
              </a:r>
              <a:br>
                <a:rPr lang="da-DK" sz="900" b="0" dirty="0">
                  <a:solidFill>
                    <a:srgbClr val="FFFFFF">
                      <a:lumMod val="50000"/>
                    </a:srgbClr>
                  </a:solidFill>
                  <a:latin typeface="Arial" panose="020B0604020202020204" pitchFamily="34" charset="0"/>
                  <a:ea typeface="Verdana" panose="020B0604030504040204" pitchFamily="34" charset="0"/>
                </a:rPr>
              </a:br>
              <a:r>
                <a:rPr lang="da-DK" sz="900" b="0" dirty="0">
                  <a:solidFill>
                    <a:srgbClr val="FFFFFF">
                      <a:lumMod val="50000"/>
                    </a:srgbClr>
                  </a:solidFill>
                  <a:latin typeface="Arial" panose="020B0604020202020204" pitchFamily="34" charset="0"/>
                  <a:ea typeface="Verdana" panose="020B0604030504040204" pitchFamily="34" charset="0"/>
                </a:rPr>
                <a:t>uden punktopstilling, brug </a:t>
              </a:r>
              <a:r>
                <a:rPr lang="da-DK" sz="900" dirty="0">
                  <a:solidFill>
                    <a:srgbClr val="FFFFFF">
                      <a:lumMod val="50000"/>
                    </a:srgbClr>
                  </a:solidFill>
                  <a:latin typeface="Arial" panose="020B0604020202020204" pitchFamily="34" charset="0"/>
                  <a:ea typeface="Verdana" panose="020B0604030504040204" pitchFamily="34" charset="0"/>
                </a:rPr>
                <a:t>Formindsk listeniveau</a:t>
              </a:r>
            </a:p>
            <a:p>
              <a:pPr algn="r" fontAlgn="auto">
                <a:spcAft>
                  <a:spcPts val="0"/>
                </a:spcAft>
                <a:defRPr/>
              </a:pPr>
              <a:endParaRPr lang="da-DK" sz="900" b="0" dirty="0">
                <a:solidFill>
                  <a:srgbClr val="FFFFFF">
                    <a:lumMod val="50000"/>
                  </a:srgbClr>
                </a:solidFill>
                <a:latin typeface="Arial" panose="020B0604020202020204" pitchFamily="34" charset="0"/>
                <a:ea typeface="Verdana" panose="020B0604030504040204" pitchFamily="34" charset="0"/>
              </a:endParaRPr>
            </a:p>
            <a:p>
              <a:pPr algn="r" eaLnBrk="1" fontAlgn="auto" hangingPunct="1">
                <a:spcBef>
                  <a:spcPct val="0"/>
                </a:spcBef>
                <a:spcAft>
                  <a:spcPts val="0"/>
                </a:spcAft>
                <a:buFontTx/>
                <a:buNone/>
                <a:defRPr/>
              </a:pPr>
              <a:endParaRPr lang="da-DK" altLang="da-DK" sz="900" b="0" i="1" noProof="1">
                <a:solidFill>
                  <a:srgbClr val="FFFFFF">
                    <a:lumMod val="50000"/>
                  </a:srgbClr>
                </a:solidFill>
                <a:latin typeface="Arial" panose="020B0604020202020204" pitchFamily="34" charset="0"/>
                <a:ea typeface="Verdana" panose="020B0604030504040204" pitchFamily="34" charset="0"/>
              </a:endParaRPr>
            </a:p>
            <a:p>
              <a:pPr algn="r" eaLnBrk="1" fontAlgn="auto" hangingPunct="1">
                <a:spcBef>
                  <a:spcPct val="0"/>
                </a:spcBef>
                <a:spcAft>
                  <a:spcPts val="0"/>
                </a:spcAft>
                <a:buFontTx/>
                <a:buNone/>
                <a:defRPr/>
              </a:pPr>
              <a:endParaRPr lang="da-DK" altLang="da-DK" sz="900" b="0" i="1" noProof="1">
                <a:solidFill>
                  <a:srgbClr val="FFFFFF">
                    <a:lumMod val="50000"/>
                  </a:srgbClr>
                </a:solidFill>
                <a:latin typeface="Arial" panose="020B0604020202020204" pitchFamily="34" charset="0"/>
                <a:ea typeface="Verdana" panose="020B0604030504040204" pitchFamily="34" charset="0"/>
              </a:endParaRPr>
            </a:p>
          </p:txBody>
        </p:sp>
        <p:grpSp>
          <p:nvGrpSpPr>
            <p:cNvPr id="14" name="Gruppe 13"/>
            <p:cNvGrpSpPr/>
            <p:nvPr userDrawn="1"/>
          </p:nvGrpSpPr>
          <p:grpSpPr>
            <a:xfrm>
              <a:off x="-604365" y="3126445"/>
              <a:ext cx="457200" cy="209550"/>
              <a:chOff x="10615613" y="1808820"/>
              <a:chExt cx="457200" cy="209550"/>
            </a:xfrm>
          </p:grpSpPr>
          <p:pic>
            <p:nvPicPr>
              <p:cNvPr id="1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ounded Rectangle 47"/>
              <p:cNvSpPr/>
              <p:nvPr/>
            </p:nvSpPr>
            <p:spPr>
              <a:xfrm>
                <a:off x="10844213" y="1808820"/>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5800" fontAlgn="auto">
                  <a:spcBef>
                    <a:spcPts val="0"/>
                  </a:spcBef>
                  <a:spcAft>
                    <a:spcPts val="0"/>
                  </a:spcAft>
                  <a:defRPr/>
                </a:pPr>
                <a:endParaRPr lang="da-DK" b="0" dirty="0">
                  <a:solidFill>
                    <a:srgbClr val="FFFFFF"/>
                  </a:solidFill>
                </a:endParaRPr>
              </a:p>
            </p:txBody>
          </p:sp>
        </p:grpSp>
        <p:grpSp>
          <p:nvGrpSpPr>
            <p:cNvPr id="15" name="Gruppe 14"/>
            <p:cNvGrpSpPr/>
            <p:nvPr userDrawn="1"/>
          </p:nvGrpSpPr>
          <p:grpSpPr>
            <a:xfrm>
              <a:off x="-599603" y="3918533"/>
              <a:ext cx="438150" cy="209550"/>
              <a:chOff x="10620375" y="2651782"/>
              <a:chExt cx="438150" cy="209550"/>
            </a:xfrm>
          </p:grpSpPr>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52"/>
              <p:cNvSpPr/>
              <p:nvPr/>
            </p:nvSpPr>
            <p:spPr>
              <a:xfrm>
                <a:off x="10839450" y="2651782"/>
                <a:ext cx="219075" cy="201613"/>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5800" fontAlgn="auto">
                  <a:spcBef>
                    <a:spcPts val="0"/>
                  </a:spcBef>
                  <a:spcAft>
                    <a:spcPts val="0"/>
                  </a:spcAft>
                  <a:defRPr/>
                </a:pPr>
                <a:endParaRPr lang="da-DK" b="0" dirty="0">
                  <a:solidFill>
                    <a:srgbClr val="FFFFFF"/>
                  </a:solidFill>
                </a:endParaRPr>
              </a:p>
            </p:txBody>
          </p:sp>
          <p:sp>
            <p:nvSpPr>
              <p:cNvPr id="18" name="Rounded Rectangle 53"/>
              <p:cNvSpPr/>
              <p:nvPr/>
            </p:nvSpPr>
            <p:spPr>
              <a:xfrm>
                <a:off x="10625138" y="2654957"/>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5800" fontAlgn="auto">
                  <a:spcBef>
                    <a:spcPts val="0"/>
                  </a:spcBef>
                  <a:spcAft>
                    <a:spcPts val="0"/>
                  </a:spcAft>
                  <a:defRPr/>
                </a:pPr>
                <a:endParaRPr lang="da-DK" b="0" dirty="0">
                  <a:solidFill>
                    <a:srgbClr val="FFFFFF"/>
                  </a:solidFill>
                </a:endParaRPr>
              </a:p>
            </p:txBody>
          </p:sp>
        </p:grpSp>
      </p:grpSp>
      <p:sp>
        <p:nvSpPr>
          <p:cNvPr id="3" name="Pladsholder til indhold 2"/>
          <p:cNvSpPr>
            <a:spLocks noGrp="1"/>
          </p:cNvSpPr>
          <p:nvPr>
            <p:ph sz="quarter" idx="13" hasCustomPrompt="1"/>
          </p:nvPr>
        </p:nvSpPr>
        <p:spPr>
          <a:xfrm>
            <a:off x="1368430" y="2327283"/>
            <a:ext cx="7091363" cy="3160713"/>
          </a:xfrm>
        </p:spPr>
        <p:txBody>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1" name="Pladsholder til tekst 3"/>
          <p:cNvSpPr>
            <a:spLocks noGrp="1"/>
          </p:cNvSpPr>
          <p:nvPr>
            <p:ph type="body" sz="quarter" idx="14" hasCustomPrompt="1"/>
          </p:nvPr>
        </p:nvSpPr>
        <p:spPr>
          <a:xfrm>
            <a:off x="1371600" y="399194"/>
            <a:ext cx="7092000" cy="358444"/>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3" name="Tekstfelt 4"/>
          <p:cNvSpPr txBox="1"/>
          <p:nvPr userDrawn="1"/>
        </p:nvSpPr>
        <p:spPr>
          <a:xfrm>
            <a:off x="1371601" y="207099"/>
            <a:ext cx="2340260" cy="215444"/>
          </a:xfrm>
          <a:prstGeom prst="rect">
            <a:avLst/>
          </a:prstGeom>
          <a:noFill/>
        </p:spPr>
        <p:txBody>
          <a:bodyPr wrap="square" lIns="0" tIns="0" rIns="0" bIns="0" rtlCol="0">
            <a:noAutofit/>
          </a:bodyPr>
          <a:lstStyle/>
          <a:p>
            <a:pPr defTabSz="685800" fontAlgn="auto">
              <a:spcBef>
                <a:spcPts val="0"/>
              </a:spcBef>
              <a:spcAft>
                <a:spcPts val="0"/>
              </a:spcAft>
            </a:pPr>
            <a:r>
              <a:rPr lang="da-DK" sz="1200" dirty="0">
                <a:solidFill>
                  <a:srgbClr val="565656"/>
                </a:solidFill>
                <a:latin typeface="Arial"/>
                <a:ea typeface="ＭＳ Ｐゴシック" charset="0"/>
              </a:rPr>
              <a:t>Region Hovedstaden</a:t>
            </a:r>
          </a:p>
        </p:txBody>
      </p:sp>
      <p:pic>
        <p:nvPicPr>
          <p:cNvPr id="22" name="Picture 2" descr="C:\Users\afly0002\AppData\Local\Microsoft\Windows\Temporary Internet Files\Content.Outlook\ID7M1C4Y\Logo_SDCC_brev (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33872" y="5720119"/>
            <a:ext cx="3730787" cy="7805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017985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Start">
    <p:spTree>
      <p:nvGrpSpPr>
        <p:cNvPr id="1" name=""/>
        <p:cNvGrpSpPr/>
        <p:nvPr/>
      </p:nvGrpSpPr>
      <p:grpSpPr>
        <a:xfrm>
          <a:off x="0" y="0"/>
          <a:ext cx="0" cy="0"/>
          <a:chOff x="0" y="0"/>
          <a:chExt cx="0" cy="0"/>
        </a:xfrm>
      </p:grpSpPr>
      <p:sp>
        <p:nvSpPr>
          <p:cNvPr id="10" name="Rektangel 9"/>
          <p:cNvSpPr/>
          <p:nvPr userDrawn="1"/>
        </p:nvSpPr>
        <p:spPr>
          <a:xfrm>
            <a:off x="611565" y="2038159"/>
            <a:ext cx="8532007" cy="48224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685800" fontAlgn="auto">
              <a:spcBef>
                <a:spcPts val="0"/>
              </a:spcBef>
              <a:spcAft>
                <a:spcPts val="0"/>
              </a:spcAft>
            </a:pPr>
            <a:endParaRPr lang="da-DK" sz="1800" b="0" dirty="0">
              <a:solidFill>
                <a:srgbClr val="FFFFFF"/>
              </a:solidFill>
            </a:endParaRPr>
          </a:p>
        </p:txBody>
      </p:sp>
      <p:sp>
        <p:nvSpPr>
          <p:cNvPr id="11" name="Rektangel 10"/>
          <p:cNvSpPr/>
          <p:nvPr userDrawn="1"/>
        </p:nvSpPr>
        <p:spPr>
          <a:xfrm>
            <a:off x="8460000" y="2040924"/>
            <a:ext cx="683568" cy="481984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685800" fontAlgn="auto">
              <a:spcBef>
                <a:spcPts val="0"/>
              </a:spcBef>
              <a:spcAft>
                <a:spcPts val="0"/>
              </a:spcAft>
            </a:pPr>
            <a:endParaRPr lang="da-DK" sz="1800" b="0" dirty="0">
              <a:solidFill>
                <a:srgbClr val="FFFFFF"/>
              </a:solidFill>
            </a:endParaRPr>
          </a:p>
        </p:txBody>
      </p:sp>
      <p:sp>
        <p:nvSpPr>
          <p:cNvPr id="12" name="Rektangel 11"/>
          <p:cNvSpPr/>
          <p:nvPr userDrawn="1"/>
        </p:nvSpPr>
        <p:spPr>
          <a:xfrm>
            <a:off x="0" y="3"/>
            <a:ext cx="683568" cy="20381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685800" fontAlgn="auto">
              <a:spcBef>
                <a:spcPts val="0"/>
              </a:spcBef>
              <a:spcAft>
                <a:spcPts val="0"/>
              </a:spcAft>
            </a:pPr>
            <a:endParaRPr lang="da-DK" sz="1800" b="0" dirty="0">
              <a:solidFill>
                <a:srgbClr val="FFFFFF"/>
              </a:solidFill>
            </a:endParaRPr>
          </a:p>
        </p:txBody>
      </p:sp>
      <p:sp>
        <p:nvSpPr>
          <p:cNvPr id="13" name="Rektangel 12"/>
          <p:cNvSpPr/>
          <p:nvPr userDrawn="1"/>
        </p:nvSpPr>
        <p:spPr>
          <a:xfrm>
            <a:off x="0" y="2040924"/>
            <a:ext cx="683568" cy="4819847"/>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685800" fontAlgn="auto">
              <a:spcBef>
                <a:spcPts val="0"/>
              </a:spcBef>
              <a:spcAft>
                <a:spcPts val="0"/>
              </a:spcAft>
            </a:pPr>
            <a:endParaRPr lang="da-DK" sz="1800" b="0" dirty="0">
              <a:solidFill>
                <a:srgbClr val="FFFFFF"/>
              </a:solidFill>
            </a:endParaRPr>
          </a:p>
        </p:txBody>
      </p:sp>
      <p:sp>
        <p:nvSpPr>
          <p:cNvPr id="8" name="Titel 1"/>
          <p:cNvSpPr>
            <a:spLocks noGrp="1"/>
          </p:cNvSpPr>
          <p:nvPr>
            <p:ph type="title" hasCustomPrompt="1"/>
          </p:nvPr>
        </p:nvSpPr>
        <p:spPr>
          <a:xfrm>
            <a:off x="1371602" y="2720890"/>
            <a:ext cx="6402625" cy="1981739"/>
          </a:xfrm>
        </p:spPr>
        <p:txBody>
          <a:bodyPr anchor="t" anchorCtr="0"/>
          <a:lstStyle>
            <a:lvl1pPr>
              <a:defRPr sz="3675">
                <a:solidFill>
                  <a:schemeClr val="bg1"/>
                </a:solidFill>
              </a:defRPr>
            </a:lvl1pPr>
          </a:lstStyle>
          <a:p>
            <a:r>
              <a:rPr lang="da-DK" dirty="0"/>
              <a:t>Overskrift 37pt skrives her</a:t>
            </a:r>
            <a:br>
              <a:rPr lang="da-DK" dirty="0"/>
            </a:br>
            <a:r>
              <a:rPr lang="da-DK" dirty="0"/>
              <a:t>i to eller flere linjer</a:t>
            </a:r>
          </a:p>
        </p:txBody>
      </p:sp>
      <p:sp>
        <p:nvSpPr>
          <p:cNvPr id="3" name="Undertitel 2"/>
          <p:cNvSpPr>
            <a:spLocks noGrp="1"/>
          </p:cNvSpPr>
          <p:nvPr>
            <p:ph type="subTitle" idx="1" hasCustomPrompt="1"/>
          </p:nvPr>
        </p:nvSpPr>
        <p:spPr>
          <a:xfrm>
            <a:off x="1371600" y="5101432"/>
            <a:ext cx="6400800" cy="888504"/>
          </a:xfrm>
        </p:spPr>
        <p:txBody>
          <a:bodyPr/>
          <a:lstStyle>
            <a:lvl1pPr marL="0" indent="0" algn="l">
              <a:lnSpc>
                <a:spcPct val="89000"/>
              </a:lnSpc>
              <a:buNone/>
              <a:defRPr sz="2025" baseline="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a-DK" dirty="0"/>
              <a:t>Underoverskrift 20pt skrives her i to linjer eller max tre linjer</a:t>
            </a:r>
          </a:p>
        </p:txBody>
      </p:sp>
      <p:sp>
        <p:nvSpPr>
          <p:cNvPr id="19" name="Pladsholder til tekst 3"/>
          <p:cNvSpPr>
            <a:spLocks noGrp="1"/>
          </p:cNvSpPr>
          <p:nvPr>
            <p:ph type="body" sz="quarter" idx="13" hasCustomPrompt="1"/>
          </p:nvPr>
        </p:nvSpPr>
        <p:spPr>
          <a:xfrm>
            <a:off x="1371600" y="399194"/>
            <a:ext cx="7092000" cy="358444"/>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7" name="Tekstfelt 4"/>
          <p:cNvSpPr txBox="1"/>
          <p:nvPr userDrawn="1"/>
        </p:nvSpPr>
        <p:spPr>
          <a:xfrm>
            <a:off x="1371601" y="207099"/>
            <a:ext cx="2340260" cy="215444"/>
          </a:xfrm>
          <a:prstGeom prst="rect">
            <a:avLst/>
          </a:prstGeom>
          <a:noFill/>
        </p:spPr>
        <p:txBody>
          <a:bodyPr wrap="square" lIns="0" tIns="0" rIns="0" bIns="0" rtlCol="0">
            <a:noAutofit/>
          </a:bodyPr>
          <a:lstStyle/>
          <a:p>
            <a:pPr defTabSz="685800" fontAlgn="auto">
              <a:spcBef>
                <a:spcPts val="0"/>
              </a:spcBef>
              <a:spcAft>
                <a:spcPts val="0"/>
              </a:spcAft>
            </a:pPr>
            <a:r>
              <a:rPr lang="da-DK" sz="1200" dirty="0">
                <a:solidFill>
                  <a:srgbClr val="565656"/>
                </a:solidFill>
                <a:latin typeface="Arial"/>
                <a:ea typeface="ＭＳ Ｐゴシック" charset="0"/>
              </a:rPr>
              <a:t>Region Hovedstaden</a:t>
            </a:r>
          </a:p>
        </p:txBody>
      </p:sp>
      <p:sp>
        <p:nvSpPr>
          <p:cNvPr id="6" name="Pladsholder til diasnummer 5"/>
          <p:cNvSpPr>
            <a:spLocks noGrp="1"/>
          </p:cNvSpPr>
          <p:nvPr>
            <p:ph type="sldNum" sz="quarter" idx="12"/>
          </p:nvPr>
        </p:nvSpPr>
        <p:spPr>
          <a:xfrm>
            <a:off x="8459794" y="6288075"/>
            <a:ext cx="684211" cy="144000"/>
          </a:xfrm>
          <a:prstGeom prst="rect">
            <a:avLst/>
          </a:prstGeom>
        </p:spPr>
        <p:txBody>
          <a:bodyPr/>
          <a:lstStyle/>
          <a:p>
            <a:pPr defTabSz="685800" fontAlgn="auto">
              <a:spcBef>
                <a:spcPts val="0"/>
              </a:spcBef>
              <a:spcAft>
                <a:spcPts val="0"/>
              </a:spcAft>
            </a:pPr>
            <a:fld id="{667EC89C-17A0-4E64-A6D2-B825673CEEDF}" type="slidenum">
              <a:rPr sz="1350" b="0">
                <a:solidFill>
                  <a:srgbClr val="FFFFFF"/>
                </a:solidFill>
                <a:latin typeface="Verdana"/>
              </a:rPr>
              <a:pPr defTabSz="685800" fontAlgn="auto">
                <a:spcBef>
                  <a:spcPts val="0"/>
                </a:spcBef>
                <a:spcAft>
                  <a:spcPts val="0"/>
                </a:spcAft>
              </a:pPr>
              <a:t>‹#›</a:t>
            </a:fld>
            <a:endParaRPr sz="1350" b="0" dirty="0">
              <a:solidFill>
                <a:srgbClr val="FFFFFF"/>
              </a:solidFill>
              <a:latin typeface="Verdana"/>
            </a:endParaRPr>
          </a:p>
        </p:txBody>
      </p:sp>
      <p:sp>
        <p:nvSpPr>
          <p:cNvPr id="22" name="AutoShape 4"/>
          <p:cNvSpPr>
            <a:spLocks/>
          </p:cNvSpPr>
          <p:nvPr userDrawn="1"/>
        </p:nvSpPr>
        <p:spPr bwMode="gray">
          <a:xfrm>
            <a:off x="9291218" y="10191"/>
            <a:ext cx="1742691" cy="109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fontAlgn="auto" hangingPunct="1">
              <a:spcBef>
                <a:spcPct val="0"/>
              </a:spcBef>
              <a:spcAft>
                <a:spcPts val="600"/>
              </a:spcAft>
              <a:buFontTx/>
              <a:buNone/>
              <a:defRPr/>
            </a:pPr>
            <a:r>
              <a:rPr lang="da-DK" altLang="da-DK" sz="900" noProof="1">
                <a:solidFill>
                  <a:srgbClr val="FFFFFF">
                    <a:lumMod val="50000"/>
                  </a:srgbClr>
                </a:solidFill>
                <a:latin typeface="Arial" panose="020B0604020202020204" pitchFamily="34" charset="0"/>
                <a:ea typeface="Verdana" panose="020B0604030504040204" pitchFamily="34" charset="0"/>
              </a:rPr>
              <a:t>Indsæt hjælpelinjer til placering af objekter</a:t>
            </a:r>
          </a:p>
          <a:p>
            <a:pPr eaLnBrk="1" fontAlgn="auto" hangingPunct="1">
              <a:spcBef>
                <a:spcPct val="0"/>
              </a:spcBef>
              <a:spcAft>
                <a:spcPts val="240"/>
              </a:spcAft>
              <a:buFontTx/>
              <a:buNone/>
              <a:defRPr/>
            </a:pPr>
            <a:r>
              <a:rPr lang="da-DK" altLang="da-DK" sz="900" noProof="1">
                <a:solidFill>
                  <a:srgbClr val="FFFFFF">
                    <a:lumMod val="50000"/>
                  </a:srgbClr>
                </a:solidFill>
                <a:latin typeface="Arial" panose="020B0604020202020204" pitchFamily="34" charset="0"/>
                <a:ea typeface="Verdana" panose="020B0604030504040204" pitchFamily="34" charset="0"/>
              </a:rPr>
              <a:t>1. </a:t>
            </a:r>
            <a:r>
              <a:rPr lang="da-DK" altLang="da-DK" sz="900" b="0" noProof="1">
                <a:solidFill>
                  <a:srgbClr val="FFFFFF">
                    <a:lumMod val="50000"/>
                  </a:srgbClr>
                </a:solidFill>
                <a:latin typeface="Arial" panose="020B0604020202020204" pitchFamily="34" charset="0"/>
                <a:ea typeface="Verdana" panose="020B0604030504040204" pitchFamily="34" charset="0"/>
              </a:rPr>
              <a:t>Højreklik uden for slidet og vælg </a:t>
            </a:r>
            <a:r>
              <a:rPr lang="da-DK" altLang="da-DK" sz="900" noProof="1">
                <a:solidFill>
                  <a:srgbClr val="FFFFFF">
                    <a:lumMod val="50000"/>
                  </a:srgbClr>
                </a:solidFill>
                <a:latin typeface="Arial" panose="020B0604020202020204" pitchFamily="34" charset="0"/>
                <a:ea typeface="Verdana" panose="020B0604030504040204" pitchFamily="34" charset="0"/>
              </a:rPr>
              <a:t>Gitter og hjælpelinjer</a:t>
            </a:r>
          </a:p>
          <a:p>
            <a:pPr eaLnBrk="1" fontAlgn="auto" hangingPunct="1">
              <a:spcBef>
                <a:spcPct val="0"/>
              </a:spcBef>
              <a:spcAft>
                <a:spcPts val="240"/>
              </a:spcAft>
              <a:buFontTx/>
              <a:buNone/>
              <a:defRPr/>
            </a:pPr>
            <a:r>
              <a:rPr lang="da-DK" altLang="da-DK" sz="900" noProof="1">
                <a:solidFill>
                  <a:srgbClr val="FFFFFF">
                    <a:lumMod val="50000"/>
                  </a:srgbClr>
                </a:solidFill>
                <a:latin typeface="Arial" panose="020B0604020202020204" pitchFamily="34" charset="0"/>
                <a:ea typeface="Verdana" panose="020B0604030504040204" pitchFamily="34" charset="0"/>
              </a:rPr>
              <a:t>2. </a:t>
            </a:r>
            <a:r>
              <a:rPr lang="da-DK" altLang="da-DK" sz="900" b="0" noProof="1">
                <a:solidFill>
                  <a:srgbClr val="FFFFFF">
                    <a:lumMod val="50000"/>
                  </a:srgbClr>
                </a:solidFill>
                <a:latin typeface="Arial" panose="020B0604020202020204" pitchFamily="34" charset="0"/>
                <a:ea typeface="Verdana" panose="020B0604030504040204" pitchFamily="34" charset="0"/>
              </a:rPr>
              <a:t>Sæt kryds ved </a:t>
            </a:r>
            <a:r>
              <a:rPr lang="da-DK" altLang="da-DK" sz="900" noProof="1">
                <a:solidFill>
                  <a:srgbClr val="FFFFFF">
                    <a:lumMod val="50000"/>
                  </a:srgbClr>
                </a:solidFill>
                <a:latin typeface="Arial" panose="020B0604020202020204" pitchFamily="34" charset="0"/>
                <a:ea typeface="Verdana" panose="020B0604030504040204" pitchFamily="34" charset="0"/>
              </a:rPr>
              <a:t>Vis tegnehjælpelinjer på skærmen</a:t>
            </a:r>
          </a:p>
          <a:p>
            <a:pPr eaLnBrk="1" fontAlgn="auto" hangingPunct="1">
              <a:spcBef>
                <a:spcPct val="0"/>
              </a:spcBef>
              <a:spcAft>
                <a:spcPts val="240"/>
              </a:spcAft>
              <a:buFontTx/>
              <a:buNone/>
              <a:defRPr/>
            </a:pPr>
            <a:r>
              <a:rPr lang="da-DK" altLang="da-DK" sz="900" noProof="1">
                <a:solidFill>
                  <a:srgbClr val="FFFFFF">
                    <a:lumMod val="50000"/>
                  </a:srgbClr>
                </a:solidFill>
                <a:latin typeface="Arial" panose="020B0604020202020204" pitchFamily="34" charset="0"/>
                <a:ea typeface="Verdana" panose="020B0604030504040204" pitchFamily="34" charset="0"/>
              </a:rPr>
              <a:t>3.</a:t>
            </a:r>
            <a:r>
              <a:rPr lang="da-DK" altLang="da-DK" sz="900" b="0" noProof="1">
                <a:solidFill>
                  <a:srgbClr val="FFFFFF">
                    <a:lumMod val="50000"/>
                  </a:srgbClr>
                </a:solidFill>
                <a:latin typeface="Arial" panose="020B0604020202020204" pitchFamily="34" charset="0"/>
                <a:ea typeface="Verdana" panose="020B0604030504040204" pitchFamily="34" charset="0"/>
              </a:rPr>
              <a:t> Vælg </a:t>
            </a:r>
            <a:r>
              <a:rPr lang="da-DK" altLang="da-DK" sz="900" noProof="1">
                <a:solidFill>
                  <a:srgbClr val="FFFFFF">
                    <a:lumMod val="50000"/>
                  </a:srgbClr>
                </a:solidFill>
                <a:latin typeface="Arial" panose="020B0604020202020204" pitchFamily="34" charset="0"/>
                <a:ea typeface="Verdana" panose="020B0604030504040204" pitchFamily="34" charset="0"/>
              </a:rPr>
              <a:t>OK</a:t>
            </a:r>
          </a:p>
        </p:txBody>
      </p:sp>
      <p:grpSp>
        <p:nvGrpSpPr>
          <p:cNvPr id="18" name="Group 17"/>
          <p:cNvGrpSpPr/>
          <p:nvPr userDrawn="1"/>
        </p:nvGrpSpPr>
        <p:grpSpPr>
          <a:xfrm>
            <a:off x="-2196751" y="3952489"/>
            <a:ext cx="2046559" cy="2824883"/>
            <a:chOff x="-2196752" y="3952489"/>
            <a:chExt cx="2046559" cy="2824883"/>
          </a:xfrm>
        </p:grpSpPr>
        <p:grpSp>
          <p:nvGrpSpPr>
            <p:cNvPr id="25" name="Gruppe 24"/>
            <p:cNvGrpSpPr/>
            <p:nvPr userDrawn="1"/>
          </p:nvGrpSpPr>
          <p:grpSpPr>
            <a:xfrm>
              <a:off x="-2196752" y="3952489"/>
              <a:ext cx="2046559" cy="2824883"/>
              <a:chOff x="-2167432" y="3952489"/>
              <a:chExt cx="2046559" cy="2824883"/>
            </a:xfrm>
          </p:grpSpPr>
          <p:sp>
            <p:nvSpPr>
              <p:cNvPr id="20" name="Text Box 48"/>
              <p:cNvSpPr txBox="1">
                <a:spLocks noChangeArrowheads="1"/>
              </p:cNvSpPr>
              <p:nvPr/>
            </p:nvSpPr>
            <p:spPr bwMode="auto">
              <a:xfrm>
                <a:off x="-2167432" y="3952489"/>
                <a:ext cx="2046559" cy="1300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defTabSz="685800" eaLnBrk="1" fontAlgn="auto" hangingPunct="1">
                  <a:spcBef>
                    <a:spcPts val="0"/>
                  </a:spcBef>
                  <a:spcAft>
                    <a:spcPts val="250"/>
                  </a:spcAft>
                  <a:defRPr/>
                </a:pPr>
                <a:r>
                  <a:rPr lang="da-DK" sz="900" noProof="1">
                    <a:solidFill>
                      <a:srgbClr val="FFFFFF">
                        <a:lumMod val="50000"/>
                      </a:srgbClr>
                    </a:solidFill>
                    <a:latin typeface="Arial" panose="020B0604020202020204" pitchFamily="34" charset="0"/>
                    <a:ea typeface="ＭＳ Ｐゴシック" charset="0"/>
                  </a:rPr>
                  <a:t>Indsætte Titel/beskrivelse og Navn</a:t>
                </a:r>
              </a:p>
              <a:p>
                <a:pPr algn="r" defTabSz="685800" eaLnBrk="1" fontAlgn="auto" hangingPunct="1">
                  <a:spcBef>
                    <a:spcPts val="0"/>
                  </a:spcBef>
                  <a:spcAft>
                    <a:spcPts val="250"/>
                  </a:spcAft>
                  <a:defRPr/>
                </a:pPr>
                <a:r>
                  <a:rPr lang="da-DK" altLang="da-DK" sz="900" noProof="1">
                    <a:solidFill>
                      <a:srgbClr val="FFFFFF">
                        <a:lumMod val="50000"/>
                      </a:srgbClr>
                    </a:solidFill>
                    <a:latin typeface="Arial" panose="020B0604020202020204" pitchFamily="34" charset="0"/>
                    <a:ea typeface="ＭＳ Ｐゴシック" charset="0"/>
                  </a:rPr>
                  <a:t>1. </a:t>
                </a:r>
                <a:r>
                  <a:rPr lang="da-DK" altLang="da-DK" sz="900" b="0" noProof="1">
                    <a:solidFill>
                      <a:srgbClr val="FFFFFF">
                        <a:lumMod val="50000"/>
                      </a:srgbClr>
                    </a:solidFill>
                    <a:latin typeface="Arial" panose="020B0604020202020204" pitchFamily="34" charset="0"/>
                    <a:ea typeface="ＭＳ Ｐゴシック" charset="0"/>
                  </a:rPr>
                  <a:t>Vælg </a:t>
                </a:r>
                <a:r>
                  <a:rPr lang="da-DK" altLang="da-DK" sz="900" noProof="1">
                    <a:solidFill>
                      <a:srgbClr val="FFFFFF">
                        <a:lumMod val="50000"/>
                      </a:srgbClr>
                    </a:solidFill>
                    <a:latin typeface="Arial" panose="020B0604020202020204" pitchFamily="34" charset="0"/>
                    <a:ea typeface="ＭＳ Ｐゴシック" charset="0"/>
                  </a:rPr>
                  <a:t>Indsæt</a:t>
                </a:r>
                <a:r>
                  <a:rPr lang="da-DK" altLang="da-DK" sz="900" b="0" noProof="1">
                    <a:solidFill>
                      <a:srgbClr val="FFFFFF">
                        <a:lumMod val="50000"/>
                      </a:srgbClr>
                    </a:solidFill>
                    <a:latin typeface="Arial" panose="020B0604020202020204" pitchFamily="34" charset="0"/>
                    <a:ea typeface="ＭＳ Ｐゴシック" charset="0"/>
                  </a:rPr>
                  <a:t> i topmenuen </a:t>
                </a:r>
              </a:p>
              <a:p>
                <a:pPr algn="r" defTabSz="685800" eaLnBrk="1" fontAlgn="auto" hangingPunct="1">
                  <a:spcBef>
                    <a:spcPts val="0"/>
                  </a:spcBef>
                  <a:spcAft>
                    <a:spcPts val="250"/>
                  </a:spcAft>
                  <a:defRPr/>
                </a:pPr>
                <a:r>
                  <a:rPr lang="da-DK" altLang="da-DK" sz="900" noProof="1">
                    <a:solidFill>
                      <a:srgbClr val="FFFFFF">
                        <a:lumMod val="50000"/>
                      </a:srgbClr>
                    </a:solidFill>
                    <a:latin typeface="Arial" panose="020B0604020202020204" pitchFamily="34" charset="0"/>
                    <a:ea typeface="ＭＳ Ｐゴシック" charset="0"/>
                  </a:rPr>
                  <a:t>2. </a:t>
                </a:r>
                <a:r>
                  <a:rPr lang="da-DK" altLang="da-DK" sz="900" b="0" noProof="1">
                    <a:solidFill>
                      <a:srgbClr val="FFFFFF">
                        <a:lumMod val="50000"/>
                      </a:srgbClr>
                    </a:solidFill>
                    <a:latin typeface="Arial" panose="020B0604020202020204" pitchFamily="34" charset="0"/>
                    <a:ea typeface="ＭＳ Ｐゴシック" charset="0"/>
                  </a:rPr>
                  <a:t>Vælg </a:t>
                </a:r>
                <a:r>
                  <a:rPr lang="da-DK" altLang="da-DK" sz="900" noProof="1">
                    <a:solidFill>
                      <a:srgbClr val="FFFFFF">
                        <a:lumMod val="50000"/>
                      </a:srgbClr>
                    </a:solidFill>
                    <a:latin typeface="Arial" panose="020B0604020202020204" pitchFamily="34" charset="0"/>
                    <a:ea typeface="ＭＳ Ｐゴシック" charset="0"/>
                  </a:rPr>
                  <a:t>Sidehoved og Sidefod</a:t>
                </a:r>
              </a:p>
              <a:p>
                <a:pPr algn="r" defTabSz="685800" eaLnBrk="1" fontAlgn="auto" hangingPunct="1">
                  <a:spcBef>
                    <a:spcPts val="0"/>
                  </a:spcBef>
                  <a:spcAft>
                    <a:spcPts val="250"/>
                  </a:spcAft>
                  <a:defRPr/>
                </a:pPr>
                <a:r>
                  <a:rPr lang="da-DK" sz="900" noProof="1">
                    <a:solidFill>
                      <a:srgbClr val="FFFFFF">
                        <a:lumMod val="50000"/>
                      </a:srgbClr>
                    </a:solidFill>
                    <a:latin typeface="Arial" panose="020B0604020202020204" pitchFamily="34" charset="0"/>
                    <a:ea typeface="ＭＳ Ｐゴシック" charset="0"/>
                  </a:rPr>
                  <a:t>3. </a:t>
                </a:r>
                <a:r>
                  <a:rPr lang="da-DK" sz="900" b="0" noProof="1">
                    <a:solidFill>
                      <a:srgbClr val="FFFFFF">
                        <a:lumMod val="50000"/>
                      </a:srgbClr>
                    </a:solidFill>
                    <a:latin typeface="Arial" panose="020B0604020202020204" pitchFamily="34" charset="0"/>
                    <a:ea typeface="ＭＳ Ｐゴシック" charset="0"/>
                  </a:rPr>
                  <a:t>Indtast dit navn, hvor der står </a:t>
                </a:r>
                <a:r>
                  <a:rPr lang="da-DK" sz="900" noProof="1">
                    <a:solidFill>
                      <a:srgbClr val="FFFFFF">
                        <a:lumMod val="50000"/>
                      </a:srgbClr>
                    </a:solidFill>
                    <a:latin typeface="Arial" panose="020B0604020202020204" pitchFamily="34" charset="0"/>
                    <a:ea typeface="ＭＳ Ｐゴシック" charset="0"/>
                  </a:rPr>
                  <a:t>Navn</a:t>
                </a:r>
              </a:p>
              <a:p>
                <a:pPr algn="r" defTabSz="685800" eaLnBrk="1" fontAlgn="auto" hangingPunct="1">
                  <a:spcBef>
                    <a:spcPts val="0"/>
                  </a:spcBef>
                  <a:spcAft>
                    <a:spcPts val="250"/>
                  </a:spcAft>
                  <a:defRPr/>
                </a:pPr>
                <a:r>
                  <a:rPr lang="da-DK" sz="900" noProof="1">
                    <a:solidFill>
                      <a:srgbClr val="FFFFFF">
                        <a:lumMod val="50000"/>
                      </a:srgbClr>
                    </a:solidFill>
                    <a:latin typeface="Arial" panose="020B0604020202020204" pitchFamily="34" charset="0"/>
                    <a:ea typeface="ＭＳ Ｐゴシック" charset="0"/>
                  </a:rPr>
                  <a:t>4. </a:t>
                </a:r>
                <a:r>
                  <a:rPr lang="da-DK" sz="900" b="0" noProof="1">
                    <a:solidFill>
                      <a:srgbClr val="FFFFFF">
                        <a:lumMod val="50000"/>
                      </a:srgbClr>
                    </a:solidFill>
                    <a:latin typeface="Arial" panose="020B0604020202020204" pitchFamily="34" charset="0"/>
                    <a:ea typeface="ＭＳ Ｐゴシック" charset="0"/>
                  </a:rPr>
                  <a:t>Indsæt Titel/beskrivelse hvor der står </a:t>
                </a:r>
                <a:r>
                  <a:rPr lang="da-DK" sz="900" noProof="1">
                    <a:solidFill>
                      <a:srgbClr val="FFFFFF">
                        <a:lumMod val="50000"/>
                      </a:srgbClr>
                    </a:solidFill>
                    <a:latin typeface="Arial" panose="020B0604020202020204" pitchFamily="34" charset="0"/>
                    <a:ea typeface="ＭＳ Ｐゴシック" charset="0"/>
                  </a:rPr>
                  <a:t>Titel/beskrivelse</a:t>
                </a:r>
              </a:p>
              <a:p>
                <a:pPr algn="r" defTabSz="685800" eaLnBrk="1" fontAlgn="auto" hangingPunct="1">
                  <a:spcBef>
                    <a:spcPts val="0"/>
                  </a:spcBef>
                  <a:spcAft>
                    <a:spcPts val="250"/>
                  </a:spcAft>
                  <a:defRPr/>
                </a:pPr>
                <a:r>
                  <a:rPr lang="da-DK" sz="900" noProof="1">
                    <a:solidFill>
                      <a:srgbClr val="FFFFFF">
                        <a:lumMod val="50000"/>
                      </a:srgbClr>
                    </a:solidFill>
                    <a:latin typeface="Arial" panose="020B0604020202020204" pitchFamily="34" charset="0"/>
                    <a:ea typeface="ＭＳ Ｐゴシック" charset="0"/>
                  </a:rPr>
                  <a:t>5. </a:t>
                </a:r>
                <a:r>
                  <a:rPr lang="da-DK" sz="900" b="0" noProof="1">
                    <a:solidFill>
                      <a:srgbClr val="FFFFFF">
                        <a:lumMod val="50000"/>
                      </a:srgbClr>
                    </a:solidFill>
                    <a:latin typeface="Arial" panose="020B0604020202020204" pitchFamily="34" charset="0"/>
                    <a:ea typeface="ＭＳ Ｐゴシック" charset="0"/>
                  </a:rPr>
                  <a:t>Vælg </a:t>
                </a:r>
                <a:r>
                  <a:rPr lang="da-DK" sz="900" noProof="1">
                    <a:solidFill>
                      <a:srgbClr val="FFFFFF">
                        <a:lumMod val="50000"/>
                      </a:srgbClr>
                    </a:solidFill>
                    <a:latin typeface="Arial" panose="020B0604020202020204" pitchFamily="34" charset="0"/>
                    <a:ea typeface="ＭＳ Ｐゴシック" charset="0"/>
                  </a:rPr>
                  <a:t>Anvend på alle </a:t>
                </a:r>
                <a:r>
                  <a:rPr lang="da-DK" sz="900" b="0" noProof="1">
                    <a:solidFill>
                      <a:srgbClr val="FFFFFF">
                        <a:lumMod val="50000"/>
                      </a:srgbClr>
                    </a:solidFill>
                    <a:latin typeface="Arial" panose="020B0604020202020204" pitchFamily="34" charset="0"/>
                    <a:ea typeface="ＭＳ Ｐゴシック" charset="0"/>
                  </a:rPr>
                  <a:t>eller </a:t>
                </a:r>
                <a:r>
                  <a:rPr lang="da-DK" sz="900" noProof="1">
                    <a:solidFill>
                      <a:srgbClr val="FFFFFF">
                        <a:lumMod val="50000"/>
                      </a:srgbClr>
                    </a:solidFill>
                    <a:latin typeface="Arial" panose="020B0604020202020204" pitchFamily="34" charset="0"/>
                    <a:ea typeface="ＭＳ Ｐゴシック" charset="0"/>
                  </a:rPr>
                  <a:t>Anvend</a:t>
                </a:r>
                <a:r>
                  <a:rPr lang="da-DK" sz="900" b="0" noProof="1">
                    <a:solidFill>
                      <a:srgbClr val="FFFFFF">
                        <a:lumMod val="50000"/>
                      </a:srgbClr>
                    </a:solidFill>
                    <a:latin typeface="Arial" panose="020B0604020202020204" pitchFamily="34" charset="0"/>
                    <a:ea typeface="ＭＳ Ｐゴシック" charset="0"/>
                  </a:rPr>
                  <a:t> hvis det kun skal være på et enkel slide</a:t>
                </a:r>
              </a:p>
            </p:txBody>
          </p:sp>
          <p:grpSp>
            <p:nvGrpSpPr>
              <p:cNvPr id="9" name="Gruppe 8"/>
              <p:cNvGrpSpPr/>
              <p:nvPr userDrawn="1"/>
            </p:nvGrpSpPr>
            <p:grpSpPr>
              <a:xfrm>
                <a:off x="-2167432" y="5314312"/>
                <a:ext cx="2046559" cy="1463060"/>
                <a:chOff x="-2364901" y="4975472"/>
                <a:chExt cx="2046559" cy="1463060"/>
              </a:xfrm>
            </p:grpSpPr>
            <p:pic>
              <p:nvPicPr>
                <p:cNvPr id="2" name="Billede 1"/>
                <p:cNvPicPr>
                  <a:picLocks noChangeAspect="1"/>
                </p:cNvPicPr>
                <p:nvPr userDrawn="1"/>
              </p:nvPicPr>
              <p:blipFill>
                <a:blip r:embed="rId2"/>
                <a:stretch>
                  <a:fillRect/>
                </a:stretch>
              </p:blipFill>
              <p:spPr>
                <a:xfrm>
                  <a:off x="-2364901" y="4975472"/>
                  <a:ext cx="2046559" cy="1463060"/>
                </a:xfrm>
                <a:prstGeom prst="rect">
                  <a:avLst/>
                </a:prstGeom>
              </p:spPr>
            </p:pic>
            <p:sp>
              <p:nvSpPr>
                <p:cNvPr id="7" name="Rektangel 6"/>
                <p:cNvSpPr/>
                <p:nvPr userDrawn="1"/>
              </p:nvSpPr>
              <p:spPr>
                <a:xfrm>
                  <a:off x="-2157169" y="5721682"/>
                  <a:ext cx="1364573" cy="1081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fontAlgn="auto">
                    <a:spcBef>
                      <a:spcPts val="0"/>
                    </a:spcBef>
                    <a:spcAft>
                      <a:spcPts val="0"/>
                    </a:spcAft>
                  </a:pPr>
                  <a:endParaRPr lang="da-DK" sz="1800" b="0" dirty="0">
                    <a:solidFill>
                      <a:srgbClr val="FFFFFF"/>
                    </a:solidFill>
                  </a:endParaRPr>
                </a:p>
              </p:txBody>
            </p:sp>
            <p:sp>
              <p:nvSpPr>
                <p:cNvPr id="23" name="Rektangel 22"/>
                <p:cNvSpPr/>
                <p:nvPr userDrawn="1"/>
              </p:nvSpPr>
              <p:spPr>
                <a:xfrm>
                  <a:off x="-2202172" y="5952717"/>
                  <a:ext cx="1409576" cy="1045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fontAlgn="auto">
                    <a:spcBef>
                      <a:spcPts val="0"/>
                    </a:spcBef>
                    <a:spcAft>
                      <a:spcPts val="0"/>
                    </a:spcAft>
                  </a:pPr>
                  <a:endParaRPr lang="da-DK" sz="1800" b="0" dirty="0">
                    <a:solidFill>
                      <a:srgbClr val="FFFFFF"/>
                    </a:solidFill>
                  </a:endParaRPr>
                </a:p>
              </p:txBody>
            </p:sp>
          </p:grpSp>
        </p:grpSp>
        <p:pic>
          <p:nvPicPr>
            <p:cNvPr id="24" name="Billede 1"/>
            <p:cNvPicPr>
              <a:picLocks noChangeAspect="1"/>
            </p:cNvPicPr>
            <p:nvPr userDrawn="1"/>
          </p:nvPicPr>
          <p:blipFill rotWithShape="1">
            <a:blip r:embed="rId2"/>
            <a:srcRect l="6362" t="63226" r="91404" b="33649"/>
            <a:stretch/>
          </p:blipFill>
          <p:spPr>
            <a:xfrm>
              <a:off x="-2072073" y="6166241"/>
              <a:ext cx="45719" cy="45719"/>
            </a:xfrm>
            <a:prstGeom prst="rect">
              <a:avLst/>
            </a:prstGeom>
          </p:spPr>
        </p:pic>
      </p:grpSp>
      <p:pic>
        <p:nvPicPr>
          <p:cNvPr id="28" name="Picture 2" descr="C:\Users\afly0002\AppData\Local\Microsoft\Windows\Temporary Internet Files\Content.Outlook\ID7M1C4Y\Logo_SDCC_brev (2).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79558" y="8241"/>
            <a:ext cx="3730787" cy="7805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96010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 Content | Footer">
    <p:spTree>
      <p:nvGrpSpPr>
        <p:cNvPr id="1" name=""/>
        <p:cNvGrpSpPr/>
        <p:nvPr/>
      </p:nvGrpSpPr>
      <p:grpSpPr>
        <a:xfrm>
          <a:off x="0" y="0"/>
          <a:ext cx="0" cy="0"/>
          <a:chOff x="0" y="0"/>
          <a:chExt cx="0" cy="0"/>
        </a:xfrm>
      </p:grpSpPr>
      <p:sp>
        <p:nvSpPr>
          <p:cNvPr id="11" name="Title 1"/>
          <p:cNvSpPr>
            <a:spLocks noGrp="1"/>
          </p:cNvSpPr>
          <p:nvPr>
            <p:ph type="title"/>
          </p:nvPr>
        </p:nvSpPr>
        <p:spPr>
          <a:xfrm>
            <a:off x="316800" y="687230"/>
            <a:ext cx="8510400" cy="521883"/>
          </a:xfrm>
        </p:spPr>
        <p:txBody>
          <a:bodyPr/>
          <a:lstStyle>
            <a:lvl1pPr>
              <a:defRPr sz="2000"/>
            </a:lvl1pPr>
          </a:lstStyle>
          <a:p>
            <a:r>
              <a:rPr lang="en-US" noProof="0" dirty="0"/>
              <a:t>Click to edit Master title style</a:t>
            </a:r>
            <a:endParaRPr lang="en-GB" noProof="0" dirty="0"/>
          </a:p>
        </p:txBody>
      </p:sp>
      <p:sp>
        <p:nvSpPr>
          <p:cNvPr id="3" name="Text Placeholder 2"/>
          <p:cNvSpPr>
            <a:spLocks noGrp="1"/>
          </p:cNvSpPr>
          <p:nvPr>
            <p:ph type="body" sz="quarter" idx="10" hasCustomPrompt="1"/>
          </p:nvPr>
        </p:nvSpPr>
        <p:spPr>
          <a:xfrm>
            <a:off x="316801" y="6317889"/>
            <a:ext cx="8509700" cy="363800"/>
          </a:xfrm>
        </p:spPr>
        <p:txBody>
          <a:bodyPr anchor="b"/>
          <a:lstStyle>
            <a:lvl1pPr marL="0" marR="0" indent="0" algn="l" defTabSz="914378"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en-GB" noProof="0" dirty="0"/>
              <a:t>Footnotes</a:t>
            </a:r>
          </a:p>
          <a:p>
            <a:r>
              <a:rPr lang="en-GB" noProof="0" dirty="0"/>
              <a:t>Reference</a:t>
            </a:r>
          </a:p>
        </p:txBody>
      </p:sp>
      <p:sp>
        <p:nvSpPr>
          <p:cNvPr id="5" name="Content Placeholder 2"/>
          <p:cNvSpPr>
            <a:spLocks noGrp="1"/>
          </p:cNvSpPr>
          <p:nvPr>
            <p:ph idx="1"/>
          </p:nvPr>
        </p:nvSpPr>
        <p:spPr>
          <a:xfrm>
            <a:off x="316800" y="1746043"/>
            <a:ext cx="8510400" cy="409842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lvl1pPr>
              <a:lnSpc>
                <a:spcPct val="100000"/>
              </a:lnSpc>
              <a:spcBef>
                <a:spcPts val="432"/>
              </a:spcBef>
              <a:spcAft>
                <a:spcPts val="300"/>
              </a:spcAft>
              <a:defRPr lang="en-US" sz="1800" noProof="0" dirty="0" smtClean="0"/>
            </a:lvl1pPr>
            <a:lvl2pPr>
              <a:lnSpc>
                <a:spcPct val="100000"/>
              </a:lnSpc>
              <a:spcBef>
                <a:spcPts val="432"/>
              </a:spcBef>
              <a:spcAft>
                <a:spcPts val="300"/>
              </a:spcAft>
              <a:defRPr lang="en-US" sz="1600" noProof="0" dirty="0" smtClean="0"/>
            </a:lvl2pPr>
            <a:lvl3pPr>
              <a:lnSpc>
                <a:spcPct val="100000"/>
              </a:lnSpc>
              <a:spcBef>
                <a:spcPts val="432"/>
              </a:spcBef>
              <a:spcAft>
                <a:spcPts val="300"/>
              </a:spcAft>
              <a:defRPr lang="en-US" sz="1400" noProof="0" dirty="0" smtClean="0"/>
            </a:lvl3pPr>
            <a:lvl4pPr>
              <a:lnSpc>
                <a:spcPct val="100000"/>
              </a:lnSpc>
              <a:spcBef>
                <a:spcPts val="432"/>
              </a:spcBef>
              <a:spcAft>
                <a:spcPts val="300"/>
              </a:spcAft>
              <a:defRPr lang="en-US" sz="1200" noProof="0" dirty="0" smtClean="0"/>
            </a:lvl4pPr>
            <a:lvl5pPr>
              <a:lnSpc>
                <a:spcPct val="100000"/>
              </a:lnSpc>
              <a:spcBef>
                <a:spcPts val="432"/>
              </a:spcBef>
              <a:spcAft>
                <a:spcPts val="300"/>
              </a:spcAft>
              <a:defRPr lang="en-GB" sz="1100" noProof="0" dirty="0"/>
            </a:lvl5pPr>
          </a:lstStyle>
          <a:p>
            <a:pPr lvl="0">
              <a:spcBef>
                <a:spcPts val="450"/>
              </a:spcBef>
              <a:spcAft>
                <a:spcPts val="450"/>
              </a:spcAft>
            </a:pPr>
            <a:r>
              <a:rPr lang="en-GB" noProof="0" dirty="0"/>
              <a:t>Click to edit Master text styles</a:t>
            </a:r>
          </a:p>
          <a:p>
            <a:pPr lvl="1">
              <a:spcBef>
                <a:spcPts val="450"/>
              </a:spcBef>
              <a:spcAft>
                <a:spcPts val="450"/>
              </a:spcAft>
            </a:pPr>
            <a:r>
              <a:rPr lang="en-GB" noProof="0" dirty="0"/>
              <a:t>Second level</a:t>
            </a:r>
          </a:p>
          <a:p>
            <a:pPr lvl="2">
              <a:spcBef>
                <a:spcPts val="450"/>
              </a:spcBef>
              <a:spcAft>
                <a:spcPts val="450"/>
              </a:spcAft>
              <a:buClr>
                <a:schemeClr val="accent5"/>
              </a:buClr>
            </a:pPr>
            <a:r>
              <a:rPr lang="en-GB" noProof="0" dirty="0"/>
              <a:t>Third level</a:t>
            </a:r>
          </a:p>
          <a:p>
            <a:pPr lvl="3">
              <a:spcBef>
                <a:spcPts val="450"/>
              </a:spcBef>
              <a:spcAft>
                <a:spcPts val="450"/>
              </a:spcAft>
              <a:buClr>
                <a:schemeClr val="accent3"/>
              </a:buClr>
            </a:pPr>
            <a:r>
              <a:rPr lang="en-GB" noProof="0" dirty="0"/>
              <a:t>Fourth level</a:t>
            </a:r>
          </a:p>
          <a:p>
            <a:pPr lvl="4">
              <a:spcBef>
                <a:spcPts val="450"/>
              </a:spcBef>
              <a:spcAft>
                <a:spcPts val="450"/>
              </a:spcAft>
            </a:pPr>
            <a:r>
              <a:rPr lang="en-GB" noProof="0" dirty="0"/>
              <a:t>Fifth level</a:t>
            </a:r>
          </a:p>
        </p:txBody>
      </p:sp>
    </p:spTree>
    <p:extLst>
      <p:ext uri="{BB962C8B-B14F-4D97-AF65-F5344CB8AC3E}">
        <p14:creationId xmlns:p14="http://schemas.microsoft.com/office/powerpoint/2010/main" val="2027054758"/>
      </p:ext>
    </p:extLst>
  </p:cSld>
  <p:clrMapOvr>
    <a:masterClrMapping/>
  </p:clrMapOvr>
  <p:transition/>
  <p:extLst mod="1">
    <p:ext uri="{DCECCB84-F9BA-43D5-87BE-67443E8EF086}">
      <p15:sldGuideLst xmlns:p15="http://schemas.microsoft.com/office/powerpoint/2012/main">
        <p15:guide id="1" orient="horz" pos="3176">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Rectangle 4"/>
          <p:cNvSpPr>
            <a:spLocks noGrp="1" noChangeArrowheads="1"/>
          </p:cNvSpPr>
          <p:nvPr>
            <p:ph type="dt" sz="half" idx="10"/>
          </p:nvPr>
        </p:nvSpPr>
        <p:spPr>
          <a:xfrm>
            <a:off x="457200" y="6245234"/>
            <a:ext cx="2133600" cy="476251"/>
          </a:xfrm>
          <a:prstGeom prst="rect">
            <a:avLst/>
          </a:prstGeom>
          <a:ln/>
        </p:spPr>
        <p:txBody>
          <a:bodyPr/>
          <a:lstStyle>
            <a:lvl1pPr>
              <a:defRPr/>
            </a:lvl1pPr>
          </a:lstStyle>
          <a:p>
            <a:pPr>
              <a:defRPr/>
            </a:pPr>
            <a:endParaRPr lang="cs-CZ" altLang="cs-CZ">
              <a:solidFill>
                <a:srgbClr val="000000"/>
              </a:solidFill>
            </a:endParaRPr>
          </a:p>
        </p:txBody>
      </p:sp>
      <p:sp>
        <p:nvSpPr>
          <p:cNvPr id="4" name="Rectangle 5"/>
          <p:cNvSpPr>
            <a:spLocks noGrp="1" noChangeArrowheads="1"/>
          </p:cNvSpPr>
          <p:nvPr>
            <p:ph type="ftr" sz="quarter" idx="11"/>
          </p:nvPr>
        </p:nvSpPr>
        <p:spPr>
          <a:xfrm>
            <a:off x="3124200" y="6245234"/>
            <a:ext cx="2895600" cy="476251"/>
          </a:xfrm>
          <a:prstGeom prst="rect">
            <a:avLst/>
          </a:prstGeom>
          <a:ln/>
        </p:spPr>
        <p:txBody>
          <a:bodyPr/>
          <a:lstStyle>
            <a:lvl1pPr>
              <a:defRPr/>
            </a:lvl1pPr>
          </a:lstStyle>
          <a:p>
            <a:pPr>
              <a:defRPr/>
            </a:pPr>
            <a:endParaRPr lang="cs-CZ" altLang="cs-CZ">
              <a:solidFill>
                <a:srgbClr val="000000"/>
              </a:solidFill>
            </a:endParaRPr>
          </a:p>
        </p:txBody>
      </p:sp>
      <p:sp>
        <p:nvSpPr>
          <p:cNvPr id="5" name="Rectangle 6"/>
          <p:cNvSpPr>
            <a:spLocks noGrp="1" noChangeArrowheads="1"/>
          </p:cNvSpPr>
          <p:nvPr>
            <p:ph type="sldNum" sz="quarter" idx="12"/>
          </p:nvPr>
        </p:nvSpPr>
        <p:spPr>
          <a:xfrm>
            <a:off x="6553200" y="6245234"/>
            <a:ext cx="2133600" cy="476251"/>
          </a:xfrm>
          <a:prstGeom prst="rect">
            <a:avLst/>
          </a:prstGeom>
          <a:ln/>
        </p:spPr>
        <p:txBody>
          <a:bodyPr/>
          <a:lstStyle>
            <a:lvl1pPr>
              <a:defRPr/>
            </a:lvl1pPr>
          </a:lstStyle>
          <a:p>
            <a:pPr>
              <a:defRPr/>
            </a:pPr>
            <a:fld id="{B4C9FC0F-0A87-40EB-81FC-294CF29CF137}"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40774289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687230"/>
            <a:ext cx="8510400" cy="521883"/>
          </a:xfrm>
        </p:spPr>
        <p:txBody>
          <a:bodyPr/>
          <a:lstStyle>
            <a:lvl1pPr>
              <a:defRPr sz="3200"/>
            </a:lvl1pPr>
          </a:lstStyle>
          <a:p>
            <a:r>
              <a:rPr lang="en-US" noProof="0"/>
              <a:t>Click to edit Master title style</a:t>
            </a:r>
            <a:endParaRPr lang="en-GB" noProof="0" dirty="0"/>
          </a:p>
        </p:txBody>
      </p:sp>
      <p:sp>
        <p:nvSpPr>
          <p:cNvPr id="10" name="Rectangle 3"/>
          <p:cNvSpPr>
            <a:spLocks noGrp="1" noChangeArrowheads="1"/>
          </p:cNvSpPr>
          <p:nvPr>
            <p:ph type="subTitle" idx="14" hasCustomPrompt="1"/>
          </p:nvPr>
        </p:nvSpPr>
        <p:spPr>
          <a:xfrm>
            <a:off x="316800" y="1209138"/>
            <a:ext cx="8510400" cy="266301"/>
          </a:xfrm>
          <a:extLst>
            <a:ext uri="{909E8E84-426E-40DD-AFC4-6F175D3DCCD1}">
              <a14:hiddenFill xmlns:a14="http://schemas.microsoft.com/office/drawing/2010/main">
                <a:solidFill>
                  <a:schemeClr val="accent1"/>
                </a:solidFill>
              </a14:hiddenFill>
            </a:ext>
          </a:extLst>
        </p:spPr>
        <p:txBody>
          <a:bodyPr wrap="none" lIns="18000" anchor="ctr"/>
          <a:lstStyle>
            <a:lvl1pPr marL="0" indent="0" algn="l">
              <a:buFontTx/>
              <a:buNone/>
              <a:defRPr sz="1867" baseline="0">
                <a:solidFill>
                  <a:srgbClr val="009FDA"/>
                </a:solidFill>
              </a:defRPr>
            </a:lvl1pPr>
          </a:lstStyle>
          <a:p>
            <a:pPr lvl="0"/>
            <a:r>
              <a:rPr lang="en-US" noProof="0" dirty="0"/>
              <a:t>CLICK TO EDIT MASTER SUBTITLE STYLE</a:t>
            </a:r>
            <a:endParaRPr lang="en-GB" noProof="0" dirty="0"/>
          </a:p>
        </p:txBody>
      </p:sp>
      <p:sp>
        <p:nvSpPr>
          <p:cNvPr id="11" name="Text Placeholder 10"/>
          <p:cNvSpPr>
            <a:spLocks noGrp="1"/>
          </p:cNvSpPr>
          <p:nvPr>
            <p:ph type="body" sz="quarter" idx="18"/>
          </p:nvPr>
        </p:nvSpPr>
        <p:spPr>
          <a:xfrm>
            <a:off x="318201" y="6301348"/>
            <a:ext cx="8509000" cy="391583"/>
          </a:xfrm>
        </p:spPr>
        <p:txBody>
          <a:bodyPr anchor="b"/>
          <a:lstStyle>
            <a:lvl1pPr marL="0" indent="0">
              <a:spcBef>
                <a:spcPts val="0"/>
              </a:spcBef>
              <a:spcAft>
                <a:spcPts val="0"/>
              </a:spcAft>
              <a:buNone/>
              <a:defRPr sz="800">
                <a:solidFill>
                  <a:srgbClr val="82786F"/>
                </a:solidFill>
              </a:defRPr>
            </a:lvl1pPr>
            <a:lvl2pPr marL="353474" indent="0">
              <a:buNone/>
              <a:defRPr sz="1200"/>
            </a:lvl2pPr>
            <a:lvl3pPr marL="715415" indent="0">
              <a:buNone/>
              <a:defRPr sz="1200"/>
            </a:lvl3pPr>
            <a:lvl4pPr marL="1077357" indent="0">
              <a:buNone/>
              <a:defRPr sz="1200"/>
            </a:lvl4pPr>
            <a:lvl5pPr marL="1430831" indent="0">
              <a:buNone/>
              <a:defRPr sz="1200"/>
            </a:lvl5pPr>
          </a:lstStyle>
          <a:p>
            <a:pPr lvl="0"/>
            <a:r>
              <a:rPr lang="en-US"/>
              <a:t>Click to edit Master text styles</a:t>
            </a:r>
          </a:p>
        </p:txBody>
      </p:sp>
    </p:spTree>
    <p:extLst>
      <p:ext uri="{BB962C8B-B14F-4D97-AF65-F5344CB8AC3E}">
        <p14:creationId xmlns:p14="http://schemas.microsoft.com/office/powerpoint/2010/main" val="1159424219"/>
      </p:ext>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Rectangle 23"/>
          <p:cNvSpPr>
            <a:spLocks noGrp="1" noChangeArrowheads="1"/>
          </p:cNvSpPr>
          <p:nvPr>
            <p:ph type="sldNum" sz="quarter" idx="19"/>
          </p:nvPr>
        </p:nvSpPr>
        <p:spPr>
          <a:xfrm>
            <a:off x="8514822" y="140094"/>
            <a:ext cx="312378" cy="135467"/>
          </a:xfrm>
          <a:prstGeom prst="rect">
            <a:avLst/>
          </a:prstGeom>
        </p:spPr>
        <p:txBody>
          <a:bodyPr/>
          <a:lstStyle>
            <a:lvl1pPr>
              <a:defRPr/>
            </a:lvl1pPr>
          </a:lstStyle>
          <a:p>
            <a:pPr fontAlgn="auto">
              <a:spcBef>
                <a:spcPts val="0"/>
              </a:spcBef>
              <a:spcAft>
                <a:spcPts val="0"/>
              </a:spcAft>
              <a:defRPr/>
            </a:pPr>
            <a:fld id="{B0A264E4-6D97-4459-B952-A38D9E79D40E}" type="slidenum">
              <a:rPr lang="en-GB" sz="1800" b="0">
                <a:solidFill>
                  <a:srgbClr val="82786F"/>
                </a:solidFill>
                <a:latin typeface="Verdana"/>
                <a:cs typeface="Lucida Sans Unicode" pitchFamily="34" charset="0"/>
              </a:rPr>
              <a:pPr fontAlgn="auto">
                <a:spcBef>
                  <a:spcPts val="0"/>
                </a:spcBef>
                <a:spcAft>
                  <a:spcPts val="0"/>
                </a:spcAft>
                <a:defRPr/>
              </a:pPr>
              <a:t>‹#›</a:t>
            </a:fld>
            <a:endParaRPr lang="en-GB" sz="1800" b="0">
              <a:solidFill>
                <a:srgbClr val="82786F"/>
              </a:solidFill>
              <a:latin typeface="Verdana"/>
              <a:cs typeface="Lucida Sans Unicode" pitchFamily="34" charset="0"/>
            </a:endParaRPr>
          </a:p>
        </p:txBody>
      </p:sp>
      <p:sp>
        <p:nvSpPr>
          <p:cNvPr id="8" name="Footer Placeholder 11"/>
          <p:cNvSpPr>
            <a:spLocks noGrp="1" noChangeArrowheads="1"/>
          </p:cNvSpPr>
          <p:nvPr>
            <p:ph type="ftr" sz="quarter" idx="20"/>
          </p:nvPr>
        </p:nvSpPr>
        <p:spPr>
          <a:xfrm>
            <a:off x="4172972" y="138571"/>
            <a:ext cx="2900363" cy="135467"/>
          </a:xfrm>
          <a:prstGeom prst="rect">
            <a:avLst/>
          </a:prstGeom>
        </p:spPr>
        <p:txBody>
          <a:bodyPr/>
          <a:lstStyle>
            <a:lvl1pPr>
              <a:defRPr/>
            </a:lvl1pPr>
          </a:lstStyle>
          <a:p>
            <a:pPr fontAlgn="auto">
              <a:spcBef>
                <a:spcPts val="0"/>
              </a:spcBef>
              <a:spcAft>
                <a:spcPts val="0"/>
              </a:spcAft>
              <a:defRPr/>
            </a:pPr>
            <a:r>
              <a:rPr lang="en-GB" sz="1800" b="0">
                <a:solidFill>
                  <a:srgbClr val="82786F"/>
                </a:solidFill>
                <a:latin typeface="Verdana"/>
                <a:cs typeface="Lucida Sans Unicode" pitchFamily="34" charset="0"/>
              </a:rPr>
              <a:t>NN9535-3624</a:t>
            </a:r>
          </a:p>
        </p:txBody>
      </p:sp>
      <p:sp>
        <p:nvSpPr>
          <p:cNvPr id="9" name="Rectangle 81"/>
          <p:cNvSpPr>
            <a:spLocks noGrp="1" noChangeArrowheads="1"/>
          </p:cNvSpPr>
          <p:nvPr>
            <p:ph type="dt" sz="half" idx="21"/>
          </p:nvPr>
        </p:nvSpPr>
        <p:spPr>
          <a:xfrm>
            <a:off x="7187154" y="138571"/>
            <a:ext cx="1201738" cy="135467"/>
          </a:xfrm>
          <a:prstGeom prst="rect">
            <a:avLst/>
          </a:prstGeom>
        </p:spPr>
        <p:txBody>
          <a:bodyPr/>
          <a:lstStyle>
            <a:lvl1pPr>
              <a:defRPr/>
            </a:lvl1pPr>
          </a:lstStyle>
          <a:p>
            <a:pPr fontAlgn="auto">
              <a:spcBef>
                <a:spcPts val="0"/>
              </a:spcBef>
              <a:spcAft>
                <a:spcPts val="0"/>
              </a:spcAft>
              <a:defRPr/>
            </a:pPr>
            <a:endParaRPr lang="en-GB" sz="1800" b="0">
              <a:solidFill>
                <a:srgbClr val="82786F"/>
              </a:solidFill>
              <a:latin typeface="Verdana"/>
              <a:cs typeface="Lucida Sans Unicode" pitchFamily="34" charset="0"/>
            </a:endParaRPr>
          </a:p>
        </p:txBody>
      </p:sp>
      <p:sp>
        <p:nvSpPr>
          <p:cNvPr id="10" name="Text Placeholder 10"/>
          <p:cNvSpPr>
            <a:spLocks noGrp="1"/>
          </p:cNvSpPr>
          <p:nvPr>
            <p:ph type="body" sz="quarter" idx="18"/>
          </p:nvPr>
        </p:nvSpPr>
        <p:spPr>
          <a:xfrm>
            <a:off x="318201" y="6301348"/>
            <a:ext cx="8509000" cy="391583"/>
          </a:xfrm>
        </p:spPr>
        <p:txBody>
          <a:bodyPr anchor="b"/>
          <a:lstStyle>
            <a:lvl1pPr marL="0" indent="0">
              <a:spcBef>
                <a:spcPts val="0"/>
              </a:spcBef>
              <a:spcAft>
                <a:spcPts val="0"/>
              </a:spcAft>
              <a:buNone/>
              <a:defRPr sz="800">
                <a:solidFill>
                  <a:srgbClr val="82786F"/>
                </a:solidFill>
              </a:defRPr>
            </a:lvl1pPr>
            <a:lvl2pPr marL="353474" indent="0">
              <a:buNone/>
              <a:defRPr sz="1200"/>
            </a:lvl2pPr>
            <a:lvl3pPr marL="715415" indent="0">
              <a:buNone/>
              <a:defRPr sz="1200"/>
            </a:lvl3pPr>
            <a:lvl4pPr marL="1077357" indent="0">
              <a:buNone/>
              <a:defRPr sz="1200"/>
            </a:lvl4pPr>
            <a:lvl5pPr marL="1430831" indent="0">
              <a:buNone/>
              <a:defRPr sz="1200"/>
            </a:lvl5pPr>
          </a:lstStyle>
          <a:p>
            <a:pPr lvl="0"/>
            <a:r>
              <a:rPr lang="en-US"/>
              <a:t>Click to edit Master text styles</a:t>
            </a:r>
          </a:p>
        </p:txBody>
      </p:sp>
    </p:spTree>
    <p:extLst>
      <p:ext uri="{BB962C8B-B14F-4D97-AF65-F5344CB8AC3E}">
        <p14:creationId xmlns:p14="http://schemas.microsoft.com/office/powerpoint/2010/main" val="17392415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Slide Navy">
    <p:spTree>
      <p:nvGrpSpPr>
        <p:cNvPr id="1" name=""/>
        <p:cNvGrpSpPr/>
        <p:nvPr/>
      </p:nvGrpSpPr>
      <p:grpSpPr>
        <a:xfrm>
          <a:off x="0" y="0"/>
          <a:ext cx="0" cy="0"/>
          <a:chOff x="0" y="0"/>
          <a:chExt cx="0" cy="0"/>
        </a:xfrm>
      </p:grpSpPr>
      <p:sp>
        <p:nvSpPr>
          <p:cNvPr id="5" name="Rectangle 4"/>
          <p:cNvSpPr/>
          <p:nvPr userDrawn="1"/>
        </p:nvSpPr>
        <p:spPr>
          <a:xfrm>
            <a:off x="144000" y="144000"/>
            <a:ext cx="8856000" cy="658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dirty="0">
              <a:solidFill>
                <a:srgbClr val="FFFFFF"/>
              </a:solidFill>
            </a:endParaRPr>
          </a:p>
        </p:txBody>
      </p:sp>
      <p:sp>
        <p:nvSpPr>
          <p:cNvPr id="13" name="Title 8"/>
          <p:cNvSpPr>
            <a:spLocks noGrp="1"/>
          </p:cNvSpPr>
          <p:nvPr>
            <p:ph type="title" hasCustomPrompt="1"/>
          </p:nvPr>
        </p:nvSpPr>
        <p:spPr>
          <a:xfrm>
            <a:off x="216004" y="193039"/>
            <a:ext cx="8765651" cy="506116"/>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
        <p:nvSpPr>
          <p:cNvPr id="4" name="TextBox 3"/>
          <p:cNvSpPr txBox="1"/>
          <p:nvPr userDrawn="1"/>
        </p:nvSpPr>
        <p:spPr>
          <a:xfrm>
            <a:off x="1300660" y="2671884"/>
            <a:ext cx="6542689" cy="1514261"/>
          </a:xfrm>
          <a:prstGeom prst="rect">
            <a:avLst/>
          </a:prstGeom>
          <a:noFill/>
        </p:spPr>
        <p:txBody>
          <a:bodyPr wrap="square" rtlCol="0">
            <a:spAutoFit/>
          </a:bodyPr>
          <a:lstStyle/>
          <a:p>
            <a:pPr algn="ctr" defTabSz="457200" fontAlgn="auto">
              <a:lnSpc>
                <a:spcPct val="110000"/>
              </a:lnSpc>
              <a:spcBef>
                <a:spcPts val="0"/>
              </a:spcBef>
              <a:spcAft>
                <a:spcPts val="0"/>
              </a:spcAft>
            </a:pPr>
            <a:r>
              <a:rPr lang="en-US" sz="2800" dirty="0">
                <a:solidFill>
                  <a:schemeClr val="bg1">
                    <a:lumMod val="85000"/>
                  </a:schemeClr>
                </a:solidFill>
                <a:latin typeface="Arial"/>
                <a:ea typeface="+mn-ea"/>
                <a:cs typeface="+mn-cs"/>
              </a:rPr>
              <a:t>DRAFT </a:t>
            </a:r>
            <a:br>
              <a:rPr lang="en-US" sz="2800" dirty="0">
                <a:solidFill>
                  <a:schemeClr val="bg1">
                    <a:lumMod val="85000"/>
                  </a:schemeClr>
                </a:solidFill>
                <a:latin typeface="Arial"/>
                <a:ea typeface="+mn-ea"/>
                <a:cs typeface="+mn-cs"/>
              </a:rPr>
            </a:br>
            <a:r>
              <a:rPr lang="en-US" sz="2800" dirty="0">
                <a:solidFill>
                  <a:schemeClr val="bg1">
                    <a:lumMod val="85000"/>
                  </a:schemeClr>
                </a:solidFill>
                <a:latin typeface="Arial"/>
                <a:ea typeface="+mn-ea"/>
                <a:cs typeface="+mn-cs"/>
              </a:rPr>
              <a:t>NOT APPROVED FOR USE IN CURRENT FORM </a:t>
            </a:r>
          </a:p>
        </p:txBody>
      </p:sp>
    </p:spTree>
    <p:extLst>
      <p:ext uri="{BB962C8B-B14F-4D97-AF65-F5344CB8AC3E}">
        <p14:creationId xmlns:p14="http://schemas.microsoft.com/office/powerpoint/2010/main" val="38184993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680365"/>
            <a:ext cx="7056000" cy="214892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540000" indent="-180000">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10" name="Content Placeholder 2"/>
          <p:cNvSpPr>
            <a:spLocks noGrp="1"/>
          </p:cNvSpPr>
          <p:nvPr>
            <p:ph idx="13" hasCustomPrompt="1"/>
          </p:nvPr>
        </p:nvSpPr>
        <p:spPr>
          <a:xfrm>
            <a:off x="237062" y="3866400"/>
            <a:ext cx="4086000" cy="2160000"/>
          </a:xfrm>
          <a:prstGeom prst="rect">
            <a:avLst/>
          </a:prstGeom>
        </p:spPr>
        <p:txBody>
          <a:bodyPr/>
          <a:lstStyle>
            <a:lvl1pPr marL="180000" indent="-180000">
              <a:lnSpc>
                <a:spcPct val="15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5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5" hasCustomPrompt="1"/>
          </p:nvPr>
        </p:nvSpPr>
        <p:spPr>
          <a:xfrm>
            <a:off x="4680000" y="3866400"/>
            <a:ext cx="4086000" cy="2160000"/>
          </a:xfrm>
          <a:prstGeom prst="rect">
            <a:avLst/>
          </a:prstGeom>
        </p:spPr>
        <p:txBody>
          <a:bodyPr/>
          <a:lstStyle>
            <a:lvl1pPr marL="180000" indent="-180000">
              <a:lnSpc>
                <a:spcPct val="15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5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8"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2"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205548882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44_Normal">
    <p:spTree>
      <p:nvGrpSpPr>
        <p:cNvPr id="1" name=""/>
        <p:cNvGrpSpPr/>
        <p:nvPr/>
      </p:nvGrpSpPr>
      <p:grpSpPr>
        <a:xfrm>
          <a:off x="0" y="0"/>
          <a:ext cx="0" cy="0"/>
          <a:chOff x="0" y="0"/>
          <a:chExt cx="0" cy="0"/>
        </a:xfrm>
      </p:grpSpPr>
      <p:sp>
        <p:nvSpPr>
          <p:cNvPr id="11" name="Title 1"/>
          <p:cNvSpPr>
            <a:spLocks noGrp="1"/>
          </p:cNvSpPr>
          <p:nvPr>
            <p:ph type="title"/>
          </p:nvPr>
        </p:nvSpPr>
        <p:spPr>
          <a:xfrm>
            <a:off x="316800" y="687230"/>
            <a:ext cx="8510400" cy="521883"/>
          </a:xfrm>
        </p:spPr>
        <p:txBody>
          <a:bodyPr/>
          <a:lstStyle>
            <a:lvl1pPr>
              <a:defRPr sz="2000"/>
            </a:lvl1pPr>
          </a:lstStyle>
          <a:p>
            <a:r>
              <a:rPr lang="en-US" noProof="0" dirty="0"/>
              <a:t>Click to edit Master title style</a:t>
            </a:r>
            <a:endParaRPr lang="en-GB" noProof="0" dirty="0"/>
          </a:p>
        </p:txBody>
      </p:sp>
      <p:sp>
        <p:nvSpPr>
          <p:cNvPr id="7" name="Text Placeholder 11"/>
          <p:cNvSpPr>
            <a:spLocks noGrp="1"/>
          </p:cNvSpPr>
          <p:nvPr>
            <p:ph type="body" sz="quarter" idx="13" hasCustomPrompt="1"/>
          </p:nvPr>
        </p:nvSpPr>
        <p:spPr>
          <a:xfrm>
            <a:off x="316806" y="5620800"/>
            <a:ext cx="8510399" cy="1027200"/>
          </a:xfrm>
        </p:spPr>
        <p:txBody>
          <a:bodyPr lIns="0" rIns="0" bIns="0" anchor="b" anchorCtr="0">
            <a:noAutofit/>
          </a:bodyPr>
          <a:lstStyle>
            <a:lvl1pPr marL="0" indent="0" algn="l" rtl="0" fontAlgn="base">
              <a:spcBef>
                <a:spcPct val="0"/>
              </a:spcBef>
              <a:spcAft>
                <a:spcPct val="0"/>
              </a:spcAft>
              <a:buNone/>
              <a:defRPr lang="en-US" sz="800" kern="1200" baseline="0" dirty="0" smtClean="0">
                <a:solidFill>
                  <a:srgbClr val="82786F"/>
                </a:solidFill>
                <a:latin typeface="Verdana" pitchFamily="34" charset="0"/>
                <a:ea typeface="+mn-ea"/>
                <a:cs typeface="Arial" charset="0"/>
              </a:defRPr>
            </a:lvl1pPr>
            <a:lvl2pPr marL="265100"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2pPr>
            <a:lvl3pPr marL="536548"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3pPr>
            <a:lvl4pPr marL="807998"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4pPr>
            <a:lvl5pPr marL="1073096" indent="0" algn="l" rtl="0" fontAlgn="base">
              <a:spcBef>
                <a:spcPct val="0"/>
              </a:spcBef>
              <a:spcAft>
                <a:spcPct val="0"/>
              </a:spcAft>
              <a:buNone/>
              <a:defRPr lang="en-GB" sz="800" kern="1200" dirty="0">
                <a:solidFill>
                  <a:srgbClr val="82786F"/>
                </a:solidFill>
                <a:latin typeface="Verdana" pitchFamily="34" charset="0"/>
                <a:ea typeface="+mn-ea"/>
                <a:cs typeface="Arial" charset="0"/>
              </a:defRPr>
            </a:lvl5pPr>
          </a:lstStyle>
          <a:p>
            <a:r>
              <a:rPr lang="en-GB" sz="800" dirty="0">
                <a:solidFill>
                  <a:srgbClr val="82786F"/>
                </a:solidFill>
              </a:rPr>
              <a:t>Click to add footnotes</a:t>
            </a:r>
          </a:p>
        </p:txBody>
      </p:sp>
    </p:spTree>
    <p:extLst>
      <p:ext uri="{BB962C8B-B14F-4D97-AF65-F5344CB8AC3E}">
        <p14:creationId xmlns:p14="http://schemas.microsoft.com/office/powerpoint/2010/main" val="1995258336"/>
      </p:ext>
    </p:extLst>
  </p:cSld>
  <p:clrMapOvr>
    <a:masterClrMapping/>
  </p:clrMapOvr>
  <p:transition/>
  <p:extLst mod="1">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597234"/>
            <a:ext cx="8510400" cy="3941052"/>
          </a:xfrm>
        </p:spPr>
        <p:txBody>
          <a:bodyPr/>
          <a:lstStyle>
            <a:lvl1pPr>
              <a:buClrTx/>
              <a:defRPr>
                <a:solidFill>
                  <a:schemeClr val="tx1"/>
                </a:solidFill>
              </a:defRPr>
            </a:lvl1pPr>
            <a:lvl2pPr>
              <a:buClr>
                <a:schemeClr val="bg1">
                  <a:lumMod val="50000"/>
                </a:schemeClr>
              </a:buClr>
              <a:defRPr>
                <a:solidFill>
                  <a:schemeClr val="tx1"/>
                </a:solidFill>
              </a:defRPr>
            </a:lvl2pPr>
            <a:lvl3pPr>
              <a:buClr>
                <a:schemeClr val="accent6"/>
              </a:buClr>
              <a:defRPr>
                <a:solidFill>
                  <a:schemeClr val="tx1"/>
                </a:solidFill>
              </a:defRPr>
            </a:lvl3pPr>
            <a:lvl4pPr>
              <a:buClrTx/>
              <a:defRPr>
                <a:solidFill>
                  <a:schemeClr val="tx1"/>
                </a:solidFill>
              </a:defRPr>
            </a:lvl4pPr>
            <a:lvl5pPr>
              <a:buClrTx/>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p:txBody>
      </p:sp>
      <p:sp>
        <p:nvSpPr>
          <p:cNvPr id="11" name="Title 1"/>
          <p:cNvSpPr>
            <a:spLocks noGrp="1"/>
          </p:cNvSpPr>
          <p:nvPr>
            <p:ph type="title"/>
          </p:nvPr>
        </p:nvSpPr>
        <p:spPr>
          <a:xfrm>
            <a:off x="316800" y="687229"/>
            <a:ext cx="8510400" cy="521883"/>
          </a:xfrm>
        </p:spPr>
        <p:txBody>
          <a:bodyPr anchor="ctr" anchorCtr="0"/>
          <a:lstStyle>
            <a:lvl1pPr>
              <a:defRPr sz="28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16695115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ACBFB23B-7375-43F1-8A3C-9C488CB5742F}" type="datetime1">
              <a:rPr lang="en-US" smtClean="0">
                <a:solidFill>
                  <a:srgbClr val="000000">
                    <a:tint val="75000"/>
                  </a:srgbClr>
                </a:solidFill>
              </a:rPr>
              <a:pPr/>
              <a:t>1/29/2019</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dirty="0">
              <a:solidFill>
                <a:srgbClr val="000000"/>
              </a:solidFill>
            </a:endParaRPr>
          </a:p>
        </p:txBody>
      </p:sp>
      <p:sp>
        <p:nvSpPr>
          <p:cNvPr id="8" name="Text Placeholder 7"/>
          <p:cNvSpPr>
            <a:spLocks noGrp="1"/>
          </p:cNvSpPr>
          <p:nvPr>
            <p:ph type="body" sz="quarter" idx="13" hasCustomPrompt="1"/>
          </p:nvPr>
        </p:nvSpPr>
        <p:spPr>
          <a:xfrm>
            <a:off x="342900" y="5851602"/>
            <a:ext cx="73914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Reference(s)</a:t>
            </a:r>
          </a:p>
        </p:txBody>
      </p:sp>
      <p:sp>
        <p:nvSpPr>
          <p:cNvPr id="3" name="Content Placeholder 2"/>
          <p:cNvSpPr>
            <a:spLocks noGrp="1"/>
          </p:cNvSpPr>
          <p:nvPr>
            <p:ph idx="1"/>
          </p:nvPr>
        </p:nvSpPr>
        <p:spPr>
          <a:xfrm>
            <a:off x="342900" y="1261872"/>
            <a:ext cx="845820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F2789EF2-B44C-4A85-8027-89DC1294D94F}"/>
              </a:ext>
            </a:extLst>
          </p:cNvPr>
          <p:cNvSpPr txBox="1"/>
          <p:nvPr userDrawn="1"/>
        </p:nvSpPr>
        <p:spPr>
          <a:xfrm>
            <a:off x="7620000" y="6611783"/>
            <a:ext cx="1524000" cy="246221"/>
          </a:xfrm>
          <a:prstGeom prst="rect">
            <a:avLst/>
          </a:prstGeom>
          <a:noFill/>
        </p:spPr>
        <p:txBody>
          <a:bodyPr wrap="square" rtlCol="0">
            <a:spAutoFit/>
          </a:bodyPr>
          <a:lstStyle/>
          <a:p>
            <a:pPr algn="r" fontAlgn="auto">
              <a:spcBef>
                <a:spcPts val="0"/>
              </a:spcBef>
              <a:spcAft>
                <a:spcPts val="0"/>
              </a:spcAft>
            </a:pPr>
            <a:r>
              <a:rPr lang="en-US" sz="1000" b="0" dirty="0">
                <a:solidFill>
                  <a:srgbClr val="000000"/>
                </a:solidFill>
                <a:latin typeface="Arial" pitchFamily="34" charset="0"/>
                <a:cs typeface="Arial" pitchFamily="34" charset="0"/>
              </a:rPr>
              <a:t>© AstraZeneca 2018</a:t>
            </a:r>
          </a:p>
        </p:txBody>
      </p:sp>
    </p:spTree>
    <p:extLst>
      <p:ext uri="{BB962C8B-B14F-4D97-AF65-F5344CB8AC3E}">
        <p14:creationId xmlns:p14="http://schemas.microsoft.com/office/powerpoint/2010/main" val="112948541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59B6F60-6BE1-460A-8247-78F044DA0E76}" type="datetime1">
              <a:rPr lang="en-US" smtClean="0">
                <a:solidFill>
                  <a:srgbClr val="000000">
                    <a:tint val="75000"/>
                  </a:srgbClr>
                </a:solidFill>
              </a:rPr>
              <a:pPr/>
              <a:t>1/29/2019</a:t>
            </a:fld>
            <a:endParaRPr lang="en-US"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dirty="0">
              <a:solidFill>
                <a:srgbClr val="000000"/>
              </a:solidFill>
            </a:endParaRPr>
          </a:p>
        </p:txBody>
      </p:sp>
      <p:sp>
        <p:nvSpPr>
          <p:cNvPr id="7" name="Text Placeholder 6"/>
          <p:cNvSpPr>
            <a:spLocks noGrp="1"/>
          </p:cNvSpPr>
          <p:nvPr>
            <p:ph type="body" sz="quarter" idx="13" hasCustomPrompt="1"/>
          </p:nvPr>
        </p:nvSpPr>
        <p:spPr>
          <a:xfrm>
            <a:off x="342900" y="5851602"/>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8" name="TextBox 7">
            <a:extLst>
              <a:ext uri="{FF2B5EF4-FFF2-40B4-BE49-F238E27FC236}">
                <a16:creationId xmlns:a16="http://schemas.microsoft.com/office/drawing/2014/main" id="{D8C9FDAD-0665-4C34-B3A3-DD344AECBE39}"/>
              </a:ext>
            </a:extLst>
          </p:cNvPr>
          <p:cNvSpPr txBox="1"/>
          <p:nvPr userDrawn="1"/>
        </p:nvSpPr>
        <p:spPr>
          <a:xfrm>
            <a:off x="7620000" y="6611783"/>
            <a:ext cx="1524000" cy="246221"/>
          </a:xfrm>
          <a:prstGeom prst="rect">
            <a:avLst/>
          </a:prstGeom>
          <a:noFill/>
        </p:spPr>
        <p:txBody>
          <a:bodyPr wrap="square" rtlCol="0">
            <a:spAutoFit/>
          </a:bodyPr>
          <a:lstStyle/>
          <a:p>
            <a:pPr algn="r" fontAlgn="auto">
              <a:spcBef>
                <a:spcPts val="0"/>
              </a:spcBef>
              <a:spcAft>
                <a:spcPts val="0"/>
              </a:spcAft>
            </a:pPr>
            <a:r>
              <a:rPr lang="en-US" sz="1000" b="0" dirty="0">
                <a:solidFill>
                  <a:srgbClr val="000000"/>
                </a:solidFill>
                <a:latin typeface="Arial" pitchFamily="34" charset="0"/>
                <a:cs typeface="Arial" pitchFamily="34" charset="0"/>
              </a:rPr>
              <a:t>© AstraZeneca 2018</a:t>
            </a:r>
          </a:p>
        </p:txBody>
      </p:sp>
    </p:spTree>
    <p:extLst>
      <p:ext uri="{BB962C8B-B14F-4D97-AF65-F5344CB8AC3E}">
        <p14:creationId xmlns:p14="http://schemas.microsoft.com/office/powerpoint/2010/main" val="21707395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Rectangle 14"/>
          <p:cNvSpPr/>
          <p:nvPr userDrawn="1"/>
        </p:nvSpPr>
        <p:spPr>
          <a:xfrm>
            <a:off x="7464383" y="6532631"/>
            <a:ext cx="1607475" cy="332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7" name="Rectangle 6"/>
          <p:cNvSpPr/>
          <p:nvPr userDrawn="1"/>
        </p:nvSpPr>
        <p:spPr>
          <a:xfrm>
            <a:off x="145125" y="3878263"/>
            <a:ext cx="8856000" cy="28368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8" name="Rectangle 7"/>
          <p:cNvSpPr/>
          <p:nvPr userDrawn="1"/>
        </p:nvSpPr>
        <p:spPr>
          <a:xfrm>
            <a:off x="145125" y="3771904"/>
            <a:ext cx="8856000" cy="1063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9" name="TextBox 8"/>
          <p:cNvSpPr txBox="1"/>
          <p:nvPr userDrawn="1"/>
        </p:nvSpPr>
        <p:spPr>
          <a:xfrm>
            <a:off x="7592037" y="6453514"/>
            <a:ext cx="1409088" cy="246888"/>
          </a:xfrm>
          <a:prstGeom prst="rect">
            <a:avLst/>
          </a:prstGeom>
          <a:noFill/>
        </p:spPr>
        <p:txBody>
          <a:bodyPr wrap="square" rtlCol="0">
            <a:spAutoFit/>
          </a:bodyPr>
          <a:lstStyle/>
          <a:p>
            <a:pPr algn="r" fontAlgn="auto">
              <a:spcBef>
                <a:spcPts val="0"/>
              </a:spcBef>
              <a:spcAft>
                <a:spcPts val="0"/>
              </a:spcAft>
            </a:pPr>
            <a:r>
              <a:rPr lang="en-US" sz="1000" b="0" dirty="0">
                <a:solidFill>
                  <a:srgbClr val="FFFFFF"/>
                </a:solidFill>
                <a:latin typeface="Arial"/>
                <a:cs typeface="Arial" pitchFamily="34" charset="0"/>
              </a:rPr>
              <a:t>© AstraZeneca 2017</a:t>
            </a:r>
          </a:p>
        </p:txBody>
      </p:sp>
      <p:pic>
        <p:nvPicPr>
          <p:cNvPr id="10" name="Picture 9">
            <a:hlinkClick r:id="rId2" action="ppaction://hlinksldjump"/>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12324" y="5715000"/>
            <a:ext cx="567956" cy="653802"/>
          </a:xfrm>
          <a:prstGeom prst="rect">
            <a:avLst/>
          </a:prstGeom>
        </p:spPr>
      </p:pic>
      <p:sp>
        <p:nvSpPr>
          <p:cNvPr id="2" name="Title 1"/>
          <p:cNvSpPr>
            <a:spLocks noGrp="1"/>
          </p:cNvSpPr>
          <p:nvPr>
            <p:ph type="ctrTitle"/>
          </p:nvPr>
        </p:nvSpPr>
        <p:spPr>
          <a:xfrm>
            <a:off x="342900" y="1279207"/>
            <a:ext cx="8458200" cy="1828800"/>
          </a:xfrm>
        </p:spPr>
        <p:txBody>
          <a:bodyPr anchor="t" anchorCtr="0">
            <a:normAutofit/>
          </a:bodyPr>
          <a:lstStyle>
            <a:lvl1pPr algn="l">
              <a:defRPr sz="3600">
                <a:solidFill>
                  <a:schemeClr val="tx2"/>
                </a:solidFill>
              </a:defRPr>
            </a:lvl1pPr>
          </a:lstStyle>
          <a:p>
            <a:r>
              <a:rPr lang="en-US" dirty="0"/>
              <a:t>Click to edit Master title style</a:t>
            </a:r>
          </a:p>
        </p:txBody>
      </p:sp>
      <p:sp>
        <p:nvSpPr>
          <p:cNvPr id="14" name="Rectangle 13"/>
          <p:cNvSpPr/>
          <p:nvPr userDrawn="1"/>
        </p:nvSpPr>
        <p:spPr>
          <a:xfrm>
            <a:off x="145126" y="1028700"/>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3" name="Subtitle 2"/>
          <p:cNvSpPr>
            <a:spLocks noGrp="1"/>
          </p:cNvSpPr>
          <p:nvPr>
            <p:ph type="subTitle" idx="1"/>
          </p:nvPr>
        </p:nvSpPr>
        <p:spPr>
          <a:xfrm>
            <a:off x="342900" y="4267200"/>
            <a:ext cx="8458200" cy="1371600"/>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
        <p:nvSpPr>
          <p:cNvPr id="11" name="Text Placeholder 10"/>
          <p:cNvSpPr>
            <a:spLocks noGrp="1"/>
          </p:cNvSpPr>
          <p:nvPr>
            <p:ph type="body" sz="quarter" idx="10" hasCustomPrompt="1"/>
          </p:nvPr>
        </p:nvSpPr>
        <p:spPr>
          <a:xfrm>
            <a:off x="342900" y="5626100"/>
            <a:ext cx="7391400" cy="871538"/>
          </a:xfrm>
        </p:spPr>
        <p:txBody>
          <a:bodyPr anchor="b">
            <a:noAutofit/>
          </a:bodyPr>
          <a:lstStyle>
            <a:lvl1pPr marL="0" indent="0">
              <a:spcBef>
                <a:spcPts val="300"/>
              </a:spcBef>
              <a:buNone/>
              <a:defRPr sz="1000">
                <a:solidFill>
                  <a:schemeClr val="bg1"/>
                </a:solidFill>
              </a:defRPr>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1020101794"/>
      </p:ext>
    </p:extLst>
  </p:cSld>
  <p:clrMapOvr>
    <a:masterClrMapping/>
  </p:clrMapOvr>
  <p:extLst mod="1">
    <p:ext uri="{DCECCB84-F9BA-43D5-87BE-67443E8EF086}">
      <p15:sldGuideLst xmlns:p15="http://schemas.microsoft.com/office/powerpoint/2012/main">
        <p15:guide id="1" orient="horz" pos="268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45125" y="156117"/>
            <a:ext cx="8856000" cy="6559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2" name="Title 1"/>
          <p:cNvSpPr>
            <a:spLocks noGrp="1"/>
          </p:cNvSpPr>
          <p:nvPr>
            <p:ph type="title"/>
          </p:nvPr>
        </p:nvSpPr>
        <p:spPr>
          <a:xfrm>
            <a:off x="342900" y="1270368"/>
            <a:ext cx="8458200" cy="535531"/>
          </a:xfrm>
        </p:spPr>
        <p:txBody>
          <a:bodyPr anchor="t">
            <a:spAutoFit/>
          </a:bodyPr>
          <a:lstStyle>
            <a:lvl1pPr>
              <a:defRPr sz="32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342900" y="3429004"/>
            <a:ext cx="84582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292F430-8436-43E6-A53C-87522F50B036}" type="datetime1">
              <a:rPr lang="en-US" smtClean="0">
                <a:solidFill>
                  <a:srgbClr val="000000">
                    <a:tint val="75000"/>
                  </a:srgbClr>
                </a:solidFill>
              </a:rPr>
              <a:pPr/>
              <a:t>1/29/2019</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8" name="Text Placeholder 7"/>
          <p:cNvSpPr>
            <a:spLocks noGrp="1"/>
          </p:cNvSpPr>
          <p:nvPr>
            <p:ph type="body" sz="quarter" idx="13" hasCustomPrompt="1"/>
          </p:nvPr>
        </p:nvSpPr>
        <p:spPr>
          <a:xfrm>
            <a:off x="342900" y="5829304"/>
            <a:ext cx="7391400" cy="885825"/>
          </a:xfrm>
        </p:spPr>
        <p:txBody>
          <a:bodyPr anchor="b">
            <a:noAutofit/>
          </a:bodyPr>
          <a:lstStyle>
            <a:lvl1pPr marL="0" indent="0">
              <a:spcBef>
                <a:spcPts val="300"/>
              </a:spcBef>
              <a:buNone/>
              <a:defRPr sz="1000">
                <a:solidFill>
                  <a:schemeClr val="bg1"/>
                </a:solidFill>
              </a:defRPr>
            </a:lvl1pPr>
            <a:lvl2pPr marL="228600" indent="0">
              <a:spcBef>
                <a:spcPts val="300"/>
              </a:spcBef>
              <a:buNone/>
              <a:defRPr sz="1000">
                <a:solidFill>
                  <a:schemeClr val="bg1"/>
                </a:solidFill>
              </a:defRPr>
            </a:lvl2pPr>
            <a:lvl3pPr marL="457200" indent="0">
              <a:spcBef>
                <a:spcPts val="300"/>
              </a:spcBef>
              <a:buNone/>
              <a:defRPr sz="1000">
                <a:solidFill>
                  <a:schemeClr val="bg1"/>
                </a:solidFill>
              </a:defRPr>
            </a:lvl3pPr>
            <a:lvl4pPr marL="685800" indent="0">
              <a:spcBef>
                <a:spcPts val="300"/>
              </a:spcBef>
              <a:buNone/>
              <a:defRPr sz="1000">
                <a:solidFill>
                  <a:schemeClr val="bg1"/>
                </a:solidFill>
              </a:defRPr>
            </a:lvl4pPr>
            <a:lvl5pPr marL="914400" indent="0">
              <a:spcBef>
                <a:spcPts val="300"/>
              </a:spcBef>
              <a:buNone/>
              <a:defRPr sz="1000">
                <a:solidFill>
                  <a:schemeClr val="bg1"/>
                </a:solidFill>
              </a:defRPr>
            </a:lvl5pPr>
          </a:lstStyle>
          <a:p>
            <a:pPr lvl="0"/>
            <a:r>
              <a:rPr lang="en-US" dirty="0"/>
              <a:t>Reference(s)</a:t>
            </a:r>
          </a:p>
        </p:txBody>
      </p:sp>
    </p:spTree>
    <p:extLst>
      <p:ext uri="{BB962C8B-B14F-4D97-AF65-F5344CB8AC3E}">
        <p14:creationId xmlns:p14="http://schemas.microsoft.com/office/powerpoint/2010/main" val="23609148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2E5C76F4-DBE4-46A4-A564-C7542A73AA1A}" type="datetime1">
              <a:rPr lang="en-US" smtClean="0">
                <a:solidFill>
                  <a:srgbClr val="000000">
                    <a:tint val="75000"/>
                  </a:srgbClr>
                </a:solidFill>
              </a:rPr>
              <a:pPr/>
              <a:t>1/29/2019</a:t>
            </a:fld>
            <a:endParaRPr lang="en-US"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US"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dirty="0">
              <a:solidFill>
                <a:srgbClr val="000000"/>
              </a:solidFill>
            </a:endParaRPr>
          </a:p>
        </p:txBody>
      </p:sp>
      <p:sp>
        <p:nvSpPr>
          <p:cNvPr id="9" name="Text Placeholder 8"/>
          <p:cNvSpPr>
            <a:spLocks noGrp="1"/>
          </p:cNvSpPr>
          <p:nvPr>
            <p:ph type="body" sz="quarter" idx="13" hasCustomPrompt="1"/>
          </p:nvPr>
        </p:nvSpPr>
        <p:spPr>
          <a:xfrm>
            <a:off x="342900" y="5851602"/>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3" name="Content Placeholder 2"/>
          <p:cNvSpPr>
            <a:spLocks noGrp="1"/>
          </p:cNvSpPr>
          <p:nvPr>
            <p:ph sz="half" idx="1"/>
          </p:nvPr>
        </p:nvSpPr>
        <p:spPr>
          <a:xfrm>
            <a:off x="342900" y="1261872"/>
            <a:ext cx="4229100" cy="45570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72000" y="1261872"/>
            <a:ext cx="4229100" cy="45570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454268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1"/>
            <a:ext cx="8458200" cy="8001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342900" y="1264719"/>
            <a:ext cx="4229100" cy="428283"/>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4572000" y="1264719"/>
            <a:ext cx="4229100" cy="428283"/>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14735907-800D-4FFA-8B8C-4D244B1EB62B}" type="datetime1">
              <a:rPr lang="en-US" smtClean="0">
                <a:solidFill>
                  <a:srgbClr val="000000">
                    <a:tint val="75000"/>
                  </a:srgbClr>
                </a:solidFill>
              </a:rPr>
              <a:pPr/>
              <a:t>1/29/2019</a:t>
            </a:fld>
            <a:endParaRPr lang="en-US" dirty="0">
              <a:solidFill>
                <a:srgbClr val="000000">
                  <a:tint val="75000"/>
                </a:srgbClr>
              </a:solidFill>
            </a:endParaRPr>
          </a:p>
        </p:txBody>
      </p:sp>
      <p:sp>
        <p:nvSpPr>
          <p:cNvPr id="8" name="Footer Placeholder 7"/>
          <p:cNvSpPr>
            <a:spLocks noGrp="1"/>
          </p:cNvSpPr>
          <p:nvPr>
            <p:ph type="ftr" sz="quarter" idx="11"/>
          </p:nvPr>
        </p:nvSpPr>
        <p:spPr/>
        <p:txBody>
          <a:bodyPr/>
          <a:lstStyle/>
          <a:p>
            <a:endParaRPr lang="en-US" dirty="0">
              <a:solidFill>
                <a:srgbClr val="000000">
                  <a:tint val="75000"/>
                </a:srgbClr>
              </a:solidFill>
            </a:endParaRPr>
          </a:p>
        </p:txBody>
      </p:sp>
      <p:sp>
        <p:nvSpPr>
          <p:cNvPr id="9" name="Slide Number Placeholder 8"/>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dirty="0">
              <a:solidFill>
                <a:srgbClr val="000000"/>
              </a:solidFill>
            </a:endParaRPr>
          </a:p>
        </p:txBody>
      </p:sp>
      <p:sp>
        <p:nvSpPr>
          <p:cNvPr id="11" name="Text Placeholder 10"/>
          <p:cNvSpPr>
            <a:spLocks noGrp="1"/>
          </p:cNvSpPr>
          <p:nvPr>
            <p:ph type="body" sz="quarter" idx="13" hasCustomPrompt="1"/>
          </p:nvPr>
        </p:nvSpPr>
        <p:spPr>
          <a:xfrm>
            <a:off x="342900" y="5851602"/>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4" name="Content Placeholder 3"/>
          <p:cNvSpPr>
            <a:spLocks noGrp="1"/>
          </p:cNvSpPr>
          <p:nvPr>
            <p:ph sz="half" idx="2"/>
          </p:nvPr>
        </p:nvSpPr>
        <p:spPr>
          <a:xfrm>
            <a:off x="342900" y="1692998"/>
            <a:ext cx="4229100" cy="41363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572000" y="1692998"/>
            <a:ext cx="4229100" cy="41363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578663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0"/>
            <a:ext cx="8458200" cy="800100"/>
          </a:xfrm>
        </p:spPr>
        <p:txBody>
          <a:bodyPr anchor="b">
            <a:normAutofit/>
          </a:bodyPr>
          <a:lstStyle>
            <a:lvl1pPr>
              <a:defRPr sz="2400"/>
            </a:lvl1pPr>
          </a:lstStyle>
          <a:p>
            <a:r>
              <a:rPr lang="en-US"/>
              <a:t>Click to edit Master title style</a:t>
            </a:r>
            <a:endParaRPr lang="en-US" dirty="0"/>
          </a:p>
        </p:txBody>
      </p:sp>
      <p:sp>
        <p:nvSpPr>
          <p:cNvPr id="4" name="Text Placeholder 3"/>
          <p:cNvSpPr>
            <a:spLocks noGrp="1"/>
          </p:cNvSpPr>
          <p:nvPr>
            <p:ph type="body" sz="half" idx="2" hasCustomPrompt="1"/>
          </p:nvPr>
        </p:nvSpPr>
        <p:spPr>
          <a:xfrm>
            <a:off x="877824" y="5440680"/>
            <a:ext cx="7406640" cy="365760"/>
          </a:xfrm>
          <a:prstGeom prst="roundRect">
            <a:avLst/>
          </a:prstGeom>
          <a:solidFill>
            <a:schemeClr val="accent2"/>
          </a:solidFill>
        </p:spPr>
        <p:txBody>
          <a:bodyPr anchor="ctr"/>
          <a:lstStyle>
            <a:lvl1pPr marL="0" indent="0" algn="ctr">
              <a:buNone/>
              <a:defRPr sz="1600" b="1" baseline="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nter caption</a:t>
            </a:r>
          </a:p>
        </p:txBody>
      </p:sp>
      <p:sp>
        <p:nvSpPr>
          <p:cNvPr id="5" name="Date Placeholder 4"/>
          <p:cNvSpPr>
            <a:spLocks noGrp="1"/>
          </p:cNvSpPr>
          <p:nvPr>
            <p:ph type="dt" sz="half" idx="10"/>
          </p:nvPr>
        </p:nvSpPr>
        <p:spPr/>
        <p:txBody>
          <a:bodyPr/>
          <a:lstStyle/>
          <a:p>
            <a:fld id="{B4D9A17C-1717-4FFC-9E81-DA0A5452950A}" type="datetime1">
              <a:rPr lang="en-US" smtClean="0">
                <a:solidFill>
                  <a:srgbClr val="000000">
                    <a:tint val="75000"/>
                  </a:srgbClr>
                </a:solidFill>
              </a:rPr>
              <a:pPr/>
              <a:t>1/29/2019</a:t>
            </a:fld>
            <a:endParaRPr lang="en-US"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US"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dirty="0">
              <a:solidFill>
                <a:srgbClr val="000000"/>
              </a:solidFill>
            </a:endParaRPr>
          </a:p>
        </p:txBody>
      </p:sp>
      <p:sp>
        <p:nvSpPr>
          <p:cNvPr id="9" name="Text Placeholder 8"/>
          <p:cNvSpPr>
            <a:spLocks noGrp="1"/>
          </p:cNvSpPr>
          <p:nvPr>
            <p:ph type="body" sz="quarter" idx="13" hasCustomPrompt="1"/>
          </p:nvPr>
        </p:nvSpPr>
        <p:spPr>
          <a:xfrm>
            <a:off x="342900" y="5851602"/>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3" name="Content Placeholder 2"/>
          <p:cNvSpPr>
            <a:spLocks noGrp="1"/>
          </p:cNvSpPr>
          <p:nvPr>
            <p:ph idx="1"/>
          </p:nvPr>
        </p:nvSpPr>
        <p:spPr>
          <a:xfrm>
            <a:off x="342900" y="1260477"/>
            <a:ext cx="8458200" cy="4185227"/>
          </a:xfrm>
        </p:spPr>
        <p:txBody>
          <a:bodyPr/>
          <a:lstStyle>
            <a:lvl1pPr>
              <a:defRPr sz="2000"/>
            </a:lvl1pPr>
            <a:lvl2pPr>
              <a:defRPr sz="1800"/>
            </a:lvl2pPr>
            <a:lvl3pPr>
              <a:defRPr sz="16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524039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7347BBB-1CB5-4824-9D2A-A9A7FDAEC358}" type="datetime1">
              <a:rPr lang="en-US" smtClean="0">
                <a:solidFill>
                  <a:srgbClr val="000000">
                    <a:tint val="75000"/>
                  </a:srgbClr>
                </a:solidFill>
              </a:rPr>
              <a:pPr/>
              <a:t>1/29/2019</a:t>
            </a:fld>
            <a:endParaRPr lang="en-US"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dirty="0">
              <a:solidFill>
                <a:srgbClr val="000000"/>
              </a:solidFill>
            </a:endParaRPr>
          </a:p>
        </p:txBody>
      </p:sp>
      <p:sp>
        <p:nvSpPr>
          <p:cNvPr id="8" name="Text Placeholder 7"/>
          <p:cNvSpPr>
            <a:spLocks noGrp="1"/>
          </p:cNvSpPr>
          <p:nvPr>
            <p:ph type="body" sz="quarter" idx="14" hasCustomPrompt="1"/>
          </p:nvPr>
        </p:nvSpPr>
        <p:spPr>
          <a:xfrm>
            <a:off x="877824" y="5440680"/>
            <a:ext cx="7406640" cy="361950"/>
          </a:xfrm>
          <a:prstGeom prst="roundRect">
            <a:avLst/>
          </a:prstGeom>
          <a:solidFill>
            <a:schemeClr val="accent2"/>
          </a:solidFill>
        </p:spPr>
        <p:txBody>
          <a:bodyPr>
            <a:normAutofit/>
          </a:bodyPr>
          <a:lstStyle>
            <a:lvl1pPr marL="0" indent="0" algn="ctr">
              <a:buNone/>
              <a:defRPr sz="1600" b="1">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Click to enter caption</a:t>
            </a:r>
          </a:p>
        </p:txBody>
      </p:sp>
      <p:sp>
        <p:nvSpPr>
          <p:cNvPr id="7" name="Text Placeholder 6"/>
          <p:cNvSpPr>
            <a:spLocks noGrp="1"/>
          </p:cNvSpPr>
          <p:nvPr>
            <p:ph type="body" sz="quarter" idx="13" hasCustomPrompt="1"/>
          </p:nvPr>
        </p:nvSpPr>
        <p:spPr>
          <a:xfrm>
            <a:off x="342900" y="5851602"/>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15262538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680560"/>
            <a:ext cx="7056000" cy="216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540000" indent="-180000">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12" name="Content Placeholder 2"/>
          <p:cNvSpPr>
            <a:spLocks noGrp="1"/>
          </p:cNvSpPr>
          <p:nvPr>
            <p:ph idx="15" hasCustomPrompt="1"/>
          </p:nvPr>
        </p:nvSpPr>
        <p:spPr>
          <a:xfrm>
            <a:off x="237061" y="3866400"/>
            <a:ext cx="2664000" cy="2160000"/>
          </a:xfrm>
          <a:prstGeom prst="rect">
            <a:avLst/>
          </a:prstGeom>
        </p:spPr>
        <p:txBody>
          <a:bodyPr/>
          <a:lstStyle>
            <a:lvl1pPr marL="180000" indent="-180000">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6" hasCustomPrompt="1"/>
          </p:nvPr>
        </p:nvSpPr>
        <p:spPr>
          <a:xfrm>
            <a:off x="3250223" y="3866400"/>
            <a:ext cx="2664000" cy="2160000"/>
          </a:xfrm>
          <a:prstGeom prst="rect">
            <a:avLst/>
          </a:prstGeom>
        </p:spPr>
        <p:txBody>
          <a:bodyPr/>
          <a:lstStyle>
            <a:lvl1pPr marL="180000" indent="-180000">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4" name="Content Placeholder 2"/>
          <p:cNvSpPr>
            <a:spLocks noGrp="1"/>
          </p:cNvSpPr>
          <p:nvPr>
            <p:ph idx="17" hasCustomPrompt="1"/>
          </p:nvPr>
        </p:nvSpPr>
        <p:spPr>
          <a:xfrm>
            <a:off x="6274223" y="3866400"/>
            <a:ext cx="2664000" cy="2160000"/>
          </a:xfrm>
          <a:prstGeom prst="rect">
            <a:avLst/>
          </a:prstGeom>
        </p:spPr>
        <p:txBody>
          <a:bodyPr/>
          <a:lstStyle>
            <a:lvl1pPr marL="180000" indent="-180000">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8"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1"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398137459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ntent - No Line">
    <p:spTree>
      <p:nvGrpSpPr>
        <p:cNvPr id="1" name=""/>
        <p:cNvGrpSpPr/>
        <p:nvPr/>
      </p:nvGrpSpPr>
      <p:grpSpPr>
        <a:xfrm>
          <a:off x="0" y="0"/>
          <a:ext cx="0" cy="0"/>
          <a:chOff x="0" y="0"/>
          <a:chExt cx="0" cy="0"/>
        </a:xfrm>
      </p:grpSpPr>
      <p:sp>
        <p:nvSpPr>
          <p:cNvPr id="10" name="Rectangle 9"/>
          <p:cNvSpPr/>
          <p:nvPr userDrawn="1"/>
        </p:nvSpPr>
        <p:spPr>
          <a:xfrm>
            <a:off x="145126" y="1028700"/>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4" name="Date Placeholder 3"/>
          <p:cNvSpPr>
            <a:spLocks noGrp="1"/>
          </p:cNvSpPr>
          <p:nvPr>
            <p:ph type="dt" sz="half" idx="10"/>
          </p:nvPr>
        </p:nvSpPr>
        <p:spPr/>
        <p:txBody>
          <a:bodyPr/>
          <a:lstStyle/>
          <a:p>
            <a:fld id="{25BFC253-ACC1-4B20-9047-535C189850FC}" type="datetime1">
              <a:rPr lang="en-US" smtClean="0">
                <a:solidFill>
                  <a:srgbClr val="000000">
                    <a:tint val="75000"/>
                  </a:srgbClr>
                </a:solidFill>
              </a:rPr>
              <a:pPr/>
              <a:t>1/29/2019</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dirty="0">
              <a:solidFill>
                <a:srgbClr val="000000"/>
              </a:solidFill>
            </a:endParaRPr>
          </a:p>
        </p:txBody>
      </p:sp>
      <p:sp>
        <p:nvSpPr>
          <p:cNvPr id="8" name="Text Placeholder 7"/>
          <p:cNvSpPr>
            <a:spLocks noGrp="1"/>
          </p:cNvSpPr>
          <p:nvPr>
            <p:ph type="body" sz="quarter" idx="13" hasCustomPrompt="1"/>
          </p:nvPr>
        </p:nvSpPr>
        <p:spPr>
          <a:xfrm>
            <a:off x="342900" y="5851602"/>
            <a:ext cx="73914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Reference(s)</a:t>
            </a:r>
          </a:p>
        </p:txBody>
      </p:sp>
      <p:sp>
        <p:nvSpPr>
          <p:cNvPr id="3" name="Content Placeholder 2"/>
          <p:cNvSpPr>
            <a:spLocks noGrp="1"/>
          </p:cNvSpPr>
          <p:nvPr>
            <p:ph idx="1"/>
          </p:nvPr>
        </p:nvSpPr>
        <p:spPr>
          <a:xfrm>
            <a:off x="342900" y="1028700"/>
            <a:ext cx="8458200" cy="48051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331164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9" name="Rectangle 8"/>
          <p:cNvSpPr/>
          <p:nvPr userDrawn="1"/>
        </p:nvSpPr>
        <p:spPr>
          <a:xfrm>
            <a:off x="7464383" y="6521480"/>
            <a:ext cx="1607475" cy="332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10" name="Rectangle 9"/>
          <p:cNvSpPr/>
          <p:nvPr userDrawn="1"/>
        </p:nvSpPr>
        <p:spPr>
          <a:xfrm>
            <a:off x="145126" y="1028700"/>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4" name="Date Placeholder 3"/>
          <p:cNvSpPr>
            <a:spLocks noGrp="1"/>
          </p:cNvSpPr>
          <p:nvPr>
            <p:ph type="dt" sz="half" idx="10"/>
          </p:nvPr>
        </p:nvSpPr>
        <p:spPr/>
        <p:txBody>
          <a:bodyPr/>
          <a:lstStyle/>
          <a:p>
            <a:fld id="{775A1009-7755-4115-A139-4142CA3B0804}" type="datetime1">
              <a:rPr lang="en-US" smtClean="0">
                <a:solidFill>
                  <a:srgbClr val="000000">
                    <a:tint val="75000"/>
                  </a:srgbClr>
                </a:solidFill>
              </a:rPr>
              <a:pPr/>
              <a:t>1/29/2019</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dirty="0">
              <a:solidFill>
                <a:srgbClr val="000000"/>
              </a:solidFill>
            </a:endParaRPr>
          </a:p>
        </p:txBody>
      </p:sp>
      <p:sp>
        <p:nvSpPr>
          <p:cNvPr id="3" name="Content Placeholder 2"/>
          <p:cNvSpPr>
            <a:spLocks noGrp="1"/>
          </p:cNvSpPr>
          <p:nvPr>
            <p:ph idx="1"/>
          </p:nvPr>
        </p:nvSpPr>
        <p:spPr>
          <a:xfrm>
            <a:off x="342900" y="1028700"/>
            <a:ext cx="8458200" cy="48051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064645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 No Line">
    <p:spTree>
      <p:nvGrpSpPr>
        <p:cNvPr id="1" name=""/>
        <p:cNvGrpSpPr/>
        <p:nvPr/>
      </p:nvGrpSpPr>
      <p:grpSpPr>
        <a:xfrm>
          <a:off x="0" y="0"/>
          <a:ext cx="0" cy="0"/>
          <a:chOff x="0" y="0"/>
          <a:chExt cx="0" cy="0"/>
        </a:xfrm>
      </p:grpSpPr>
      <p:sp>
        <p:nvSpPr>
          <p:cNvPr id="9" name="Rectangle 8"/>
          <p:cNvSpPr/>
          <p:nvPr userDrawn="1"/>
        </p:nvSpPr>
        <p:spPr>
          <a:xfrm>
            <a:off x="145126" y="1028700"/>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AE173A2-8745-4607-9493-1D8AF7034F1E}" type="datetime1">
              <a:rPr lang="en-US" smtClean="0">
                <a:solidFill>
                  <a:srgbClr val="000000">
                    <a:tint val="75000"/>
                  </a:srgbClr>
                </a:solidFill>
              </a:rPr>
              <a:pPr/>
              <a:t>1/29/2019</a:t>
            </a:fld>
            <a:endParaRPr lang="en-US"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dirty="0">
              <a:solidFill>
                <a:srgbClr val="000000"/>
              </a:solidFill>
            </a:endParaRPr>
          </a:p>
        </p:txBody>
      </p:sp>
      <p:sp>
        <p:nvSpPr>
          <p:cNvPr id="7" name="Text Placeholder 6"/>
          <p:cNvSpPr>
            <a:spLocks noGrp="1"/>
          </p:cNvSpPr>
          <p:nvPr>
            <p:ph type="body" sz="quarter" idx="13" hasCustomPrompt="1"/>
          </p:nvPr>
        </p:nvSpPr>
        <p:spPr>
          <a:xfrm>
            <a:off x="342900" y="5851602"/>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116857860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Rectangle 7"/>
          <p:cNvSpPr/>
          <p:nvPr userDrawn="1"/>
        </p:nvSpPr>
        <p:spPr>
          <a:xfrm>
            <a:off x="145126" y="1028700"/>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2" name="Date Placeholder 1"/>
          <p:cNvSpPr>
            <a:spLocks noGrp="1"/>
          </p:cNvSpPr>
          <p:nvPr>
            <p:ph type="dt" sz="half" idx="10"/>
          </p:nvPr>
        </p:nvSpPr>
        <p:spPr/>
        <p:txBody>
          <a:bodyPr/>
          <a:lstStyle/>
          <a:p>
            <a:fld id="{539B9274-6A29-48D2-8010-04B236DE9589}" type="datetime1">
              <a:rPr lang="en-US" smtClean="0">
                <a:solidFill>
                  <a:srgbClr val="000000">
                    <a:tint val="75000"/>
                  </a:srgbClr>
                </a:solidFill>
              </a:rPr>
              <a:pPr/>
              <a:t>1/29/2019</a:t>
            </a:fld>
            <a:endParaRPr lang="en-US" dirty="0">
              <a:solidFill>
                <a:srgbClr val="000000">
                  <a:tint val="75000"/>
                </a:srgbClr>
              </a:solidFill>
            </a:endParaRPr>
          </a:p>
        </p:txBody>
      </p:sp>
      <p:sp>
        <p:nvSpPr>
          <p:cNvPr id="3" name="Footer Placeholder 2"/>
          <p:cNvSpPr>
            <a:spLocks noGrp="1"/>
          </p:cNvSpPr>
          <p:nvPr>
            <p:ph type="ftr" sz="quarter" idx="11"/>
          </p:nvPr>
        </p:nvSpPr>
        <p:spPr/>
        <p:txBody>
          <a:bodyPr/>
          <a:lstStyle/>
          <a:p>
            <a:endParaRPr lang="en-US" dirty="0">
              <a:solidFill>
                <a:srgbClr val="000000">
                  <a:tint val="75000"/>
                </a:srgbClr>
              </a:solidFill>
            </a:endParaRPr>
          </a:p>
        </p:txBody>
      </p:sp>
      <p:sp>
        <p:nvSpPr>
          <p:cNvPr id="4" name="Slide Number Placeholder 3"/>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dirty="0">
              <a:solidFill>
                <a:srgbClr val="000000"/>
              </a:solidFill>
            </a:endParaRPr>
          </a:p>
        </p:txBody>
      </p:sp>
      <p:sp>
        <p:nvSpPr>
          <p:cNvPr id="7" name="Text Placeholder 6"/>
          <p:cNvSpPr>
            <a:spLocks noGrp="1"/>
          </p:cNvSpPr>
          <p:nvPr>
            <p:ph type="body" sz="quarter" idx="13" hasCustomPrompt="1"/>
          </p:nvPr>
        </p:nvSpPr>
        <p:spPr>
          <a:xfrm>
            <a:off x="342900" y="5851602"/>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158525099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332859" y="1164483"/>
            <a:ext cx="8906940" cy="5236317"/>
          </a:xfrm>
          <a:prstGeom prst="rect">
            <a:avLst/>
          </a:prstGeom>
        </p:spPr>
        <p:txBody>
          <a:bodyPr vert="horz"/>
          <a:lstStyle>
            <a:lvl1pPr marL="339725" indent="-339725">
              <a:spcBef>
                <a:spcPts val="0"/>
              </a:spcBef>
              <a:spcAft>
                <a:spcPts val="600"/>
              </a:spcAft>
              <a:buFont typeface="Arial" pitchFamily="34" charset="0"/>
              <a:buChar char="•"/>
              <a:defRPr sz="2600" baseline="0">
                <a:solidFill>
                  <a:schemeClr val="tx1"/>
                </a:solidFill>
                <a:latin typeface="Arial" pitchFamily="34" charset="0"/>
                <a:cs typeface="Arial" pitchFamily="34" charset="0"/>
              </a:defRPr>
            </a:lvl1pPr>
            <a:lvl2pPr marL="687388" indent="-225425">
              <a:spcBef>
                <a:spcPts val="600"/>
              </a:spcBef>
              <a:spcAft>
                <a:spcPts val="600"/>
              </a:spcAft>
              <a:buClrTx/>
              <a:buFont typeface="Arial" pitchFamily="34" charset="0"/>
              <a:buChar char="‒"/>
              <a:defRPr sz="2400"/>
            </a:lvl2pPr>
            <a:lvl3pPr marL="914400" indent="0">
              <a:buNone/>
              <a:defRPr sz="2400"/>
            </a:lvl3pPr>
            <a:lvl4pPr marL="1371600" indent="0">
              <a:buNone/>
              <a:defRPr sz="2400"/>
            </a:lvl4pPr>
            <a:lvl5pPr marL="1828800" indent="0">
              <a:buNone/>
              <a:defRPr sz="2400"/>
            </a:lvl5pPr>
          </a:lstStyle>
          <a:p>
            <a:pPr lvl="0"/>
            <a:r>
              <a:rPr lang="en-GB" noProof="0" dirty="0"/>
              <a:t>Click to add </a:t>
            </a:r>
            <a:r>
              <a:rPr lang="en-GB" noProof="0"/>
              <a:t>introduction text</a:t>
            </a:r>
          </a:p>
          <a:p>
            <a:pPr lvl="1"/>
            <a:r>
              <a:rPr lang="en-GB" noProof="0"/>
              <a:t> f</a:t>
            </a:r>
            <a:endParaRPr lang="en-GB" noProof="0" dirty="0"/>
          </a:p>
        </p:txBody>
      </p:sp>
      <p:sp>
        <p:nvSpPr>
          <p:cNvPr id="8" name="Title 8"/>
          <p:cNvSpPr>
            <a:spLocks noGrp="1"/>
          </p:cNvSpPr>
          <p:nvPr>
            <p:ph type="title" hasCustomPrompt="1"/>
          </p:nvPr>
        </p:nvSpPr>
        <p:spPr>
          <a:xfrm>
            <a:off x="324153" y="-50408"/>
            <a:ext cx="8906939" cy="1200329"/>
          </a:xfrm>
          <a:prstGeom prst="rect">
            <a:avLst/>
          </a:prstGeom>
        </p:spPr>
        <p:txBody>
          <a:bodyPr vert="horz" wrap="square" anchor="b" anchorCtr="0">
            <a:spAutoFit/>
          </a:bodyPr>
          <a:lstStyle>
            <a:lvl1pPr algn="l">
              <a:lnSpc>
                <a:spcPct val="100000"/>
              </a:lnSpc>
              <a:defRPr sz="3600" b="1" baseline="0">
                <a:solidFill>
                  <a:schemeClr val="tx2"/>
                </a:solidFill>
                <a:latin typeface="Arial" pitchFamily="34" charset="0"/>
                <a:cs typeface="Arial" pitchFamily="34" charset="0"/>
              </a:defRPr>
            </a:lvl1pPr>
          </a:lstStyle>
          <a:p>
            <a:r>
              <a:rPr lang="en-GB" noProof="0" dirty="0"/>
              <a:t>Click to add master title</a:t>
            </a:r>
            <a:br>
              <a:rPr lang="en-GB" noProof="0" dirty="0"/>
            </a:br>
            <a:r>
              <a:rPr lang="en-GB" noProof="0" dirty="0" err="1"/>
              <a:t>wqdqd</a:t>
            </a:r>
            <a:endParaRPr lang="en-GB" noProof="0" dirty="0"/>
          </a:p>
        </p:txBody>
      </p:sp>
      <p:sp>
        <p:nvSpPr>
          <p:cNvPr id="7" name="Slide Number Placeholder 5"/>
          <p:cNvSpPr>
            <a:spLocks noGrp="1"/>
          </p:cNvSpPr>
          <p:nvPr>
            <p:ph type="sldNum" sz="quarter" idx="4"/>
          </p:nvPr>
        </p:nvSpPr>
        <p:spPr>
          <a:xfrm>
            <a:off x="223125" y="6510559"/>
            <a:ext cx="396000" cy="216000"/>
          </a:xfrm>
          <a:prstGeom prst="rect">
            <a:avLst/>
          </a:prstGeom>
        </p:spPr>
        <p:txBody>
          <a:bodyPr vert="horz" lIns="0" tIns="0" rIns="0" bIns="0" rtlCol="0" anchor="t" anchorCtr="0"/>
          <a:lstStyle>
            <a:lvl1pPr marL="0" marR="0" indent="0" algn="l" defTabSz="457200" rtl="0" eaLnBrk="1" fontAlgn="auto" latinLnBrk="0" hangingPunct="1">
              <a:lnSpc>
                <a:spcPct val="100000"/>
              </a:lnSpc>
              <a:spcBef>
                <a:spcPts val="0"/>
              </a:spcBef>
              <a:spcAft>
                <a:spcPts val="0"/>
              </a:spcAft>
              <a:buClrTx/>
              <a:buSzTx/>
              <a:buFontTx/>
              <a:buNone/>
              <a:tabLst/>
              <a:defRPr sz="105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2" name="Footer Placeholder 4"/>
          <p:cNvSpPr>
            <a:spLocks noGrp="1"/>
          </p:cNvSpPr>
          <p:nvPr>
            <p:ph type="ftr" sz="quarter" idx="3"/>
          </p:nvPr>
        </p:nvSpPr>
        <p:spPr>
          <a:xfrm>
            <a:off x="628650" y="6509809"/>
            <a:ext cx="5796000" cy="216000"/>
          </a:xfrm>
          <a:prstGeom prst="rect">
            <a:avLst/>
          </a:prstGeom>
        </p:spPr>
        <p:txBody>
          <a:bodyPr vert="horz" lIns="0" tIns="0" rIns="0" bIns="0" rtlCol="0" anchor="t" anchorCtr="0"/>
          <a:lstStyle>
            <a:lvl1pPr algn="l">
              <a:lnSpc>
                <a:spcPts val="1000"/>
              </a:lnSpc>
              <a:defRPr sz="1050">
                <a:solidFill>
                  <a:schemeClr val="tx1"/>
                </a:solidFill>
                <a:latin typeface="Arial" pitchFamily="34" charset="0"/>
                <a:cs typeface="Arial" pitchFamily="34" charset="0"/>
              </a:defRPr>
            </a:lvl1pPr>
          </a:lstStyle>
          <a:p>
            <a:pPr>
              <a:lnSpc>
                <a:spcPct val="100000"/>
              </a:lnSpc>
              <a:defRPr/>
            </a:pPr>
            <a:endParaRPr lang="en-GB" kern="0" dirty="0">
              <a:solidFill>
                <a:srgbClr val="000000"/>
              </a:solidFill>
              <a:latin typeface="Arial"/>
              <a:cs typeface="Arial"/>
            </a:endParaRPr>
          </a:p>
        </p:txBody>
      </p:sp>
    </p:spTree>
    <p:extLst>
      <p:ext uri="{BB962C8B-B14F-4D97-AF65-F5344CB8AC3E}">
        <p14:creationId xmlns:p14="http://schemas.microsoft.com/office/powerpoint/2010/main" val="330782557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13"/>
          <p:cNvPicPr>
            <a:picLocks noChangeAspect="1"/>
          </p:cNvPicPr>
          <p:nvPr userDrawn="1"/>
        </p:nvPicPr>
        <p:blipFill>
          <a:blip r:embed="rId2" cstate="email">
            <a:extLst>
              <a:ext uri="{28A0092B-C50C-407E-A947-70E740481C1C}">
                <a14:useLocalDpi xmlns:a14="http://schemas.microsoft.com/office/drawing/2010/main" val="0"/>
              </a:ext>
            </a:extLst>
          </a:blip>
          <a:srcRect b="14449"/>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userDrawn="1"/>
        </p:nvSpPr>
        <p:spPr>
          <a:xfrm>
            <a:off x="762831" y="6100763"/>
            <a:ext cx="157094" cy="153888"/>
          </a:xfrm>
          <a:prstGeom prst="rect">
            <a:avLst/>
          </a:prstGeom>
          <a:noFill/>
        </p:spPr>
        <p:txBody>
          <a:bodyPr wrap="non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fontAlgn="auto" hangingPunct="1">
              <a:spcBef>
                <a:spcPts val="0"/>
              </a:spcBef>
              <a:spcAft>
                <a:spcPts val="0"/>
              </a:spcAft>
              <a:defRPr/>
            </a:pPr>
            <a:fld id="{E8FB8C9A-8267-4457-AD0B-E3DCACC4CA15}" type="slidenum">
              <a:rPr lang="en-US" sz="1000" b="0">
                <a:solidFill>
                  <a:prstClr val="white"/>
                </a:solidFill>
                <a:cs typeface="Arial" pitchFamily="34" charset="0"/>
              </a:rPr>
              <a:pPr algn="ctr" eaLnBrk="1" fontAlgn="auto" hangingPunct="1">
                <a:spcBef>
                  <a:spcPts val="0"/>
                </a:spcBef>
                <a:spcAft>
                  <a:spcPts val="0"/>
                </a:spcAft>
                <a:defRPr/>
              </a:pPr>
              <a:t>‹#›</a:t>
            </a:fld>
            <a:endParaRPr lang="en-US" sz="1000" b="0">
              <a:solidFill>
                <a:prstClr val="white"/>
              </a:solidFill>
              <a:cs typeface="Arial" pitchFamily="34" charset="0"/>
            </a:endParaRPr>
          </a:p>
        </p:txBody>
      </p:sp>
      <p:pic>
        <p:nvPicPr>
          <p:cNvPr id="8" name="Picture 2" descr="Z:\Clients\AZ-BMS\2014\5. Forxiga-Xigduo\3. Global projects\1. 360\786205172_Forxiga 2014 Speaker Training\4. Templates\Logo_19Aug14.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07975" y="244475"/>
            <a:ext cx="3995738" cy="231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4" descr="C:\Users\inam\Desktop\SF\AZ_DIAB_RGB_H_COL_LG.pn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7704138" y="6210300"/>
            <a:ext cx="143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6" name="Rectangle 4"/>
          <p:cNvSpPr>
            <a:spLocks noGrp="1" noChangeArrowheads="1"/>
          </p:cNvSpPr>
          <p:nvPr>
            <p:ph type="ctrTitle" sz="quarter"/>
          </p:nvPr>
        </p:nvSpPr>
        <p:spPr bwMode="auto">
          <a:xfrm>
            <a:off x="1236043" y="2708970"/>
            <a:ext cx="6719888" cy="1328637"/>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normAutofit/>
          </a:bodyPr>
          <a:lstStyle>
            <a:lvl1pPr algn="ctr">
              <a:defRPr sz="3600" smtClean="0">
                <a:solidFill>
                  <a:schemeClr val="accent2"/>
                </a:solidFill>
                <a:latin typeface="Arial" pitchFamily="34" charset="0"/>
                <a:ea typeface="ＭＳ Ｐゴシック" pitchFamily="34" charset="-128"/>
                <a:cs typeface="Arial" pitchFamily="34" charset="0"/>
              </a:defRPr>
            </a:lvl1pPr>
          </a:lstStyle>
          <a:p>
            <a:pPr lvl="0"/>
            <a:r>
              <a:rPr lang="en-US" noProof="0"/>
              <a:t>Click to edit Master title style</a:t>
            </a:r>
            <a:endParaRPr lang="en-GB" noProof="0" dirty="0"/>
          </a:p>
        </p:txBody>
      </p:sp>
      <p:sp>
        <p:nvSpPr>
          <p:cNvPr id="23557" name="Rectangle 5"/>
          <p:cNvSpPr>
            <a:spLocks noGrp="1" noChangeArrowheads="1"/>
          </p:cNvSpPr>
          <p:nvPr>
            <p:ph type="subTitle" sz="quarter" idx="1"/>
          </p:nvPr>
        </p:nvSpPr>
        <p:spPr bwMode="auto">
          <a:xfrm>
            <a:off x="1236043" y="4210194"/>
            <a:ext cx="6719888" cy="1068387"/>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a:bodyPr>
          <a:lstStyle>
            <a:lvl1pPr marL="0" indent="0" algn="ctr">
              <a:buFont typeface="Arial" pitchFamily="34" charset="0"/>
              <a:buNone/>
              <a:defRPr sz="2500" smtClean="0">
                <a:solidFill>
                  <a:schemeClr val="accent1"/>
                </a:solidFill>
                <a:latin typeface="Arial" pitchFamily="34" charset="0"/>
                <a:ea typeface="ＭＳ Ｐゴシック" pitchFamily="34" charset="-128"/>
                <a:cs typeface="Arial" pitchFamily="34" charset="0"/>
              </a:defRPr>
            </a:lvl1pPr>
          </a:lstStyle>
          <a:p>
            <a:pPr lvl="0"/>
            <a:r>
              <a:rPr lang="en-US" noProof="0"/>
              <a:t>Click to edit Master subtitle style</a:t>
            </a:r>
            <a:endParaRPr lang="en-GB" noProof="0" dirty="0"/>
          </a:p>
        </p:txBody>
      </p:sp>
      <p:sp>
        <p:nvSpPr>
          <p:cNvPr id="5" name="Text Placeholder 5"/>
          <p:cNvSpPr>
            <a:spLocks noGrp="1"/>
          </p:cNvSpPr>
          <p:nvPr>
            <p:ph type="body" sz="quarter" idx="11"/>
          </p:nvPr>
        </p:nvSpPr>
        <p:spPr>
          <a:xfrm>
            <a:off x="1407255" y="5335364"/>
            <a:ext cx="6549122" cy="469900"/>
          </a:xfrm>
          <a:prstGeom prst="rect">
            <a:avLst/>
          </a:prstGeom>
        </p:spPr>
        <p:txBody>
          <a:bodyPr lIns="360000" tIns="0" bIns="0" anchor="b"/>
          <a:lstStyle>
            <a:lvl1pPr marL="0" indent="0" algn="ctr">
              <a:spcBef>
                <a:spcPts val="0"/>
              </a:spcBef>
              <a:buNone/>
              <a:defRPr lang="en-GB" sz="1200" kern="1200" baseline="0" dirty="0" smtClean="0">
                <a:solidFill>
                  <a:srgbClr val="58595B"/>
                </a:solidFill>
                <a:latin typeface="Avenir LT Std 55 Roman"/>
                <a:ea typeface="ＭＳ Ｐゴシック" charset="-128"/>
                <a:cs typeface="+mn-cs"/>
              </a:defRPr>
            </a:lvl1pPr>
            <a:lvl2pPr algn="r">
              <a:defRPr lang="en-GB" sz="1400" kern="1200" dirty="0" smtClean="0">
                <a:solidFill>
                  <a:srgbClr val="58595B"/>
                </a:solidFill>
                <a:latin typeface="Avenir LT Std 55 Roman"/>
                <a:ea typeface="ＭＳ Ｐゴシック" charset="-128"/>
                <a:cs typeface="+mn-cs"/>
              </a:defRPr>
            </a:lvl2pPr>
          </a:lstStyle>
          <a:p>
            <a:pPr lvl="0"/>
            <a:r>
              <a:rPr lang="en-US"/>
              <a:t>Click to edit Master text styles</a:t>
            </a:r>
          </a:p>
        </p:txBody>
      </p:sp>
      <p:sp>
        <p:nvSpPr>
          <p:cNvPr id="10" name="Slide Number Placeholder 5"/>
          <p:cNvSpPr>
            <a:spLocks noGrp="1"/>
          </p:cNvSpPr>
          <p:nvPr>
            <p:ph type="sldNum" sz="quarter" idx="12"/>
          </p:nvPr>
        </p:nvSpPr>
        <p:spPr>
          <a:xfrm>
            <a:off x="4386287" y="6562775"/>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FE62C718-35D5-4353-8346-71F0365BB025}" type="slidenum">
              <a:rPr lang="en-GB" b="0"/>
              <a:pPr>
                <a:defRPr/>
              </a:pPr>
              <a:t>‹#›</a:t>
            </a:fld>
            <a:endParaRPr lang="en-GB" b="0"/>
          </a:p>
        </p:txBody>
      </p:sp>
    </p:spTree>
    <p:extLst>
      <p:ext uri="{BB962C8B-B14F-4D97-AF65-F5344CB8AC3E}">
        <p14:creationId xmlns:p14="http://schemas.microsoft.com/office/powerpoint/2010/main" val="762703766"/>
      </p:ext>
    </p:extLst>
  </p:cSld>
  <p:clrMapOvr>
    <a:masterClrMapping/>
  </p:clrMapOvr>
  <p:transition spd="slow"/>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4" name="Picture 13"/>
          <p:cNvPicPr>
            <a:picLocks noChangeAspect="1"/>
          </p:cNvPicPr>
          <p:nvPr userDrawn="1"/>
        </p:nvPicPr>
        <p:blipFill>
          <a:blip r:embed="rId2" cstate="email">
            <a:extLst>
              <a:ext uri="{28A0092B-C50C-407E-A947-70E740481C1C}">
                <a14:useLocalDpi xmlns:a14="http://schemas.microsoft.com/office/drawing/2010/main" val="0"/>
              </a:ext>
            </a:extLst>
          </a:blip>
          <a:srcRect b="1430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C:\Users\inam\Desktop\SF\AZ_DIAB_RGB_H_COL_LG.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704138" y="6210300"/>
            <a:ext cx="143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Z:\Clients\AZ-BMS\2014\5. Forxiga-Xigduo\3. Global projects\1. 360\786205172_Forxiga 2014 Speaker Training\4. Templates\Logo_19Aug14.pn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30185" y="5578475"/>
            <a:ext cx="2098675"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827585" y="1599674"/>
            <a:ext cx="7512448" cy="2701925"/>
          </a:xfrm>
          <a:prstGeom prst="rect">
            <a:avLst/>
          </a:prstGeom>
        </p:spPr>
        <p:txBody>
          <a:bodyPr anchor="ctr" anchorCtr="0">
            <a:normAutofit/>
          </a:bodyPr>
          <a:lstStyle>
            <a:lvl1pPr algn="ctr">
              <a:defRPr sz="3600"/>
            </a:lvl1pPr>
          </a:lstStyle>
          <a:p>
            <a:r>
              <a:rPr lang="en-US"/>
              <a:t>Click to edit Master title style</a:t>
            </a:r>
            <a:endParaRPr lang="en-GB" dirty="0"/>
          </a:p>
        </p:txBody>
      </p:sp>
      <p:sp>
        <p:nvSpPr>
          <p:cNvPr id="7" name="Text Placeholder 6"/>
          <p:cNvSpPr>
            <a:spLocks noGrp="1"/>
          </p:cNvSpPr>
          <p:nvPr>
            <p:ph type="body" sz="quarter" idx="10"/>
          </p:nvPr>
        </p:nvSpPr>
        <p:spPr>
          <a:xfrm>
            <a:off x="827585" y="4414436"/>
            <a:ext cx="7512448" cy="819377"/>
          </a:xfrm>
        </p:spPr>
        <p:txBody>
          <a:bodyPr>
            <a:normAutofit/>
          </a:bodyPr>
          <a:lstStyle>
            <a:lvl1pPr marL="0" indent="0" algn="ctr">
              <a:buNone/>
              <a:defRPr sz="2500">
                <a:solidFill>
                  <a:schemeClr val="accent2"/>
                </a:solidFill>
              </a:defRPr>
            </a:lvl1pPr>
          </a:lstStyle>
          <a:p>
            <a:pPr lvl="0"/>
            <a:r>
              <a:rPr lang="en-US"/>
              <a:t>Click to edit Master text styles</a:t>
            </a:r>
          </a:p>
        </p:txBody>
      </p:sp>
      <p:sp>
        <p:nvSpPr>
          <p:cNvPr id="8" name="Slide Number Placeholder 5"/>
          <p:cNvSpPr>
            <a:spLocks noGrp="1"/>
          </p:cNvSpPr>
          <p:nvPr>
            <p:ph type="sldNum" sz="quarter" idx="11"/>
          </p:nvPr>
        </p:nvSpPr>
        <p:spPr>
          <a:xfrm>
            <a:off x="4386287" y="6562775"/>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FF31889C-5E2E-498D-805C-C19B8162000D}" type="slidenum">
              <a:rPr lang="en-GB" b="0"/>
              <a:pPr>
                <a:defRPr/>
              </a:pPr>
              <a:t>‹#›</a:t>
            </a:fld>
            <a:endParaRPr lang="en-GB" b="0"/>
          </a:p>
        </p:txBody>
      </p:sp>
    </p:spTree>
    <p:extLst>
      <p:ext uri="{BB962C8B-B14F-4D97-AF65-F5344CB8AC3E}">
        <p14:creationId xmlns:p14="http://schemas.microsoft.com/office/powerpoint/2010/main" val="70454730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cxnSp>
        <p:nvCxnSpPr>
          <p:cNvPr id="5" name="Straight Connector 4"/>
          <p:cNvCxnSpPr/>
          <p:nvPr userDrawn="1"/>
        </p:nvCxnSpPr>
        <p:spPr>
          <a:xfrm>
            <a:off x="509613"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515957" y="281024"/>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endParaRPr lang="en-US" dirty="0"/>
          </a:p>
        </p:txBody>
      </p:sp>
      <p:sp>
        <p:nvSpPr>
          <p:cNvPr id="3" name="Content Placeholder 2"/>
          <p:cNvSpPr>
            <a:spLocks noGrp="1"/>
          </p:cNvSpPr>
          <p:nvPr>
            <p:ph idx="1"/>
          </p:nvPr>
        </p:nvSpPr>
        <p:spPr>
          <a:xfrm>
            <a:off x="509036" y="1203325"/>
            <a:ext cx="8166652" cy="4601939"/>
          </a:xfrm>
          <a:prstGeom prst="rect">
            <a:avLst/>
          </a:prstGeom>
        </p:spPr>
        <p:txBody>
          <a:bodyPr>
            <a:normAutofit/>
          </a:bodyPr>
          <a:lstStyle>
            <a:lvl1pPr>
              <a:lnSpc>
                <a:spcPct val="100000"/>
              </a:lnSpc>
              <a:spcBef>
                <a:spcPts val="0"/>
              </a:spcBef>
              <a:spcAft>
                <a:spcPts val="600"/>
              </a:spcAft>
              <a:buClr>
                <a:schemeClr val="accent1"/>
              </a:buClr>
              <a:defRPr sz="1800">
                <a:solidFill>
                  <a:schemeClr val="tx1"/>
                </a:solidFill>
                <a:latin typeface="+mj-lt"/>
              </a:defRPr>
            </a:lvl1pPr>
            <a:lvl2pPr>
              <a:lnSpc>
                <a:spcPct val="100000"/>
              </a:lnSpc>
              <a:spcBef>
                <a:spcPts val="0"/>
              </a:spcBef>
              <a:spcAft>
                <a:spcPts val="600"/>
              </a:spcAft>
              <a:buClr>
                <a:schemeClr val="accent2"/>
              </a:buClr>
              <a:buFont typeface="Arial"/>
              <a:buChar char="•"/>
              <a:defRPr sz="1800">
                <a:solidFill>
                  <a:schemeClr val="tx1"/>
                </a:solidFill>
                <a:latin typeface="+mj-lt"/>
              </a:defRPr>
            </a:lvl2pPr>
            <a:lvl3pPr>
              <a:lnSpc>
                <a:spcPct val="100000"/>
              </a:lnSpc>
              <a:spcBef>
                <a:spcPts val="0"/>
              </a:spcBef>
              <a:spcAft>
                <a:spcPts val="600"/>
              </a:spcAft>
              <a:buClr>
                <a:schemeClr val="accent3"/>
              </a:buClr>
              <a:buFont typeface="Wingdings" charset="2"/>
              <a:buChar char="§"/>
              <a:defRPr sz="1800">
                <a:solidFill>
                  <a:schemeClr val="tx1"/>
                </a:solidFill>
                <a:latin typeface="+mj-lt"/>
              </a:defRPr>
            </a:lvl3pPr>
            <a:lvl4pPr>
              <a:lnSpc>
                <a:spcPct val="100000"/>
              </a:lnSpc>
              <a:spcBef>
                <a:spcPts val="0"/>
              </a:spcBef>
              <a:spcAft>
                <a:spcPts val="600"/>
              </a:spcAft>
              <a:buClr>
                <a:schemeClr val="accent1"/>
              </a:buClr>
              <a:buFont typeface="Wingdings" charset="2"/>
              <a:buChar char="§"/>
              <a:defRPr sz="1800">
                <a:solidFill>
                  <a:schemeClr val="tx1"/>
                </a:solidFill>
                <a:latin typeface="+mj-lt"/>
              </a:defRPr>
            </a:lvl4pPr>
            <a:lvl5pPr>
              <a:lnSpc>
                <a:spcPct val="100000"/>
              </a:lnSpc>
              <a:spcBef>
                <a:spcPts val="0"/>
              </a:spcBef>
              <a:spcAft>
                <a:spcPts val="600"/>
              </a:spcAft>
              <a:buClr>
                <a:schemeClr val="accent2"/>
              </a:buClr>
              <a:buFont typeface="Courier New"/>
              <a:buChar char="o"/>
              <a:defRPr sz="1800">
                <a:solidFill>
                  <a:schemeClr val="tx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0"/>
          </p:nvPr>
        </p:nvSpPr>
        <p:spPr>
          <a:xfrm>
            <a:off x="1043608" y="5876974"/>
            <a:ext cx="7632080" cy="504403"/>
          </a:xfrm>
        </p:spPr>
        <p:txBody>
          <a:bodyPr anchor="b">
            <a:noAutofit/>
          </a:bodyPr>
          <a:lstStyle>
            <a:lvl1pPr marL="0" indent="0">
              <a:spcAft>
                <a:spcPts val="0"/>
              </a:spcAft>
              <a:buNone/>
              <a:defRPr sz="800"/>
            </a:lvl1pPr>
          </a:lstStyle>
          <a:p>
            <a:pPr lvl="0"/>
            <a:r>
              <a:rPr lang="en-US" dirty="0"/>
              <a:t>Click to edit Master text styles</a:t>
            </a:r>
            <a:endParaRPr lang="en-GB" dirty="0"/>
          </a:p>
        </p:txBody>
      </p:sp>
      <p:sp>
        <p:nvSpPr>
          <p:cNvPr id="6" name="Slide Number Placeholder 5"/>
          <p:cNvSpPr>
            <a:spLocks noGrp="1"/>
          </p:cNvSpPr>
          <p:nvPr>
            <p:ph type="sldNum" sz="quarter" idx="11"/>
          </p:nvPr>
        </p:nvSpPr>
        <p:spPr>
          <a:xfrm>
            <a:off x="4386287" y="6562775"/>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C1CFBA41-3699-43E0-B235-264530B6FCAB}" type="slidenum">
              <a:rPr lang="en-GB" b="0"/>
              <a:pPr>
                <a:defRPr/>
              </a:pPr>
              <a:t>‹#›</a:t>
            </a:fld>
            <a:endParaRPr lang="en-GB" b="0"/>
          </a:p>
        </p:txBody>
      </p:sp>
    </p:spTree>
    <p:extLst>
      <p:ext uri="{BB962C8B-B14F-4D97-AF65-F5344CB8AC3E}">
        <p14:creationId xmlns:p14="http://schemas.microsoft.com/office/powerpoint/2010/main" val="22077655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4" name="TextBox 13"/>
          <p:cNvSpPr txBox="1">
            <a:spLocks noChangeArrowheads="1"/>
          </p:cNvSpPr>
          <p:nvPr userDrawn="1"/>
        </p:nvSpPr>
        <p:spPr bwMode="auto">
          <a:xfrm>
            <a:off x="666527" y="6072237"/>
            <a:ext cx="3417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buFont typeface="Arial" pitchFamily="34" charset="0"/>
              <a:buNone/>
              <a:defRPr/>
            </a:pPr>
            <a:fld id="{BF336DA0-FE85-4765-BE65-671C08D95488}" type="slidenum">
              <a:rPr lang="en-GB" sz="1000" b="0" smtClean="0">
                <a:solidFill>
                  <a:srgbClr val="FFFFFF"/>
                </a:solidFill>
              </a:rPr>
              <a:pPr algn="ctr" eaLnBrk="1" hangingPunct="1">
                <a:buFont typeface="Arial" pitchFamily="34" charset="0"/>
                <a:buNone/>
                <a:defRPr/>
              </a:pPr>
              <a:t>‹#›</a:t>
            </a:fld>
            <a:endParaRPr lang="en-GB" sz="1000" b="0">
              <a:solidFill>
                <a:srgbClr val="FFFFFF"/>
              </a:solidFill>
            </a:endParaRPr>
          </a:p>
        </p:txBody>
      </p:sp>
      <p:cxnSp>
        <p:nvCxnSpPr>
          <p:cNvPr id="5" name="Straight Connector 4"/>
          <p:cNvCxnSpPr/>
          <p:nvPr userDrawn="1"/>
        </p:nvCxnSpPr>
        <p:spPr>
          <a:xfrm>
            <a:off x="509613"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Text Placeholder 7"/>
          <p:cNvSpPr>
            <a:spLocks noGrp="1"/>
          </p:cNvSpPr>
          <p:nvPr>
            <p:ph type="body" sz="quarter" idx="10"/>
          </p:nvPr>
        </p:nvSpPr>
        <p:spPr>
          <a:xfrm>
            <a:off x="1043608" y="5876974"/>
            <a:ext cx="7632080" cy="504403"/>
          </a:xfrm>
        </p:spPr>
        <p:txBody>
          <a:bodyPr anchor="b">
            <a:noAutofit/>
          </a:bodyPr>
          <a:lstStyle>
            <a:lvl1pPr marL="0" indent="0">
              <a:buNone/>
              <a:defRPr sz="800"/>
            </a:lvl1pPr>
          </a:lstStyle>
          <a:p>
            <a:pPr lvl="0"/>
            <a:r>
              <a:rPr lang="en-US" dirty="0"/>
              <a:t>Click to edit Master text styles</a:t>
            </a:r>
            <a:endParaRPr lang="en-GB" dirty="0"/>
          </a:p>
        </p:txBody>
      </p:sp>
      <p:sp>
        <p:nvSpPr>
          <p:cNvPr id="8" name="Title 1"/>
          <p:cNvSpPr>
            <a:spLocks noGrp="1"/>
          </p:cNvSpPr>
          <p:nvPr>
            <p:ph type="title"/>
          </p:nvPr>
        </p:nvSpPr>
        <p:spPr>
          <a:xfrm>
            <a:off x="515957" y="281024"/>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r>
              <a:rPr lang="en-US"/>
              <a:t>Click to edit Master title style</a:t>
            </a:r>
            <a:endParaRPr lang="en-US" dirty="0"/>
          </a:p>
        </p:txBody>
      </p:sp>
      <p:sp>
        <p:nvSpPr>
          <p:cNvPr id="7" name="Slide Number Placeholder 5"/>
          <p:cNvSpPr>
            <a:spLocks noGrp="1"/>
          </p:cNvSpPr>
          <p:nvPr>
            <p:ph type="sldNum" sz="quarter" idx="11"/>
          </p:nvPr>
        </p:nvSpPr>
        <p:spPr>
          <a:xfrm>
            <a:off x="4386287" y="6562775"/>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8B7EC8E1-EB56-47E1-9DEF-6EEF1287415E}" type="slidenum">
              <a:rPr lang="en-GB" b="0"/>
              <a:pPr>
                <a:defRPr/>
              </a:pPr>
              <a:t>‹#›</a:t>
            </a:fld>
            <a:endParaRPr lang="en-GB" b="0"/>
          </a:p>
        </p:txBody>
      </p:sp>
    </p:spTree>
    <p:extLst>
      <p:ext uri="{BB962C8B-B14F-4D97-AF65-F5344CB8AC3E}">
        <p14:creationId xmlns:p14="http://schemas.microsoft.com/office/powerpoint/2010/main" val="56064482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cxnSp>
        <p:nvCxnSpPr>
          <p:cNvPr id="6" name="Straight Connector 5"/>
          <p:cNvCxnSpPr/>
          <p:nvPr userDrawn="1"/>
        </p:nvCxnSpPr>
        <p:spPr>
          <a:xfrm>
            <a:off x="509613"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509613"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 name="Content Placeholder 2"/>
          <p:cNvSpPr>
            <a:spLocks noGrp="1"/>
          </p:cNvSpPr>
          <p:nvPr>
            <p:ph idx="1"/>
          </p:nvPr>
        </p:nvSpPr>
        <p:spPr>
          <a:xfrm>
            <a:off x="509038" y="1219200"/>
            <a:ext cx="3956839" cy="4586064"/>
          </a:xfrm>
        </p:spPr>
        <p:txBody>
          <a:bodyPr tIns="0" bIns="0"/>
          <a:lstStyle>
            <a:lvl1pPr>
              <a:lnSpc>
                <a:spcPct val="120000"/>
              </a:lnSpc>
              <a:spcBef>
                <a:spcPts val="0"/>
              </a:spcBef>
              <a:spcAft>
                <a:spcPts val="400"/>
              </a:spcAft>
              <a:buClr>
                <a:schemeClr val="accent1"/>
              </a:buClr>
              <a:defRPr sz="1600">
                <a:solidFill>
                  <a:schemeClr val="tx1"/>
                </a:solidFill>
                <a:latin typeface="Avenir LT Std 55 Roman"/>
              </a:defRPr>
            </a:lvl1pPr>
            <a:lvl2pPr>
              <a:lnSpc>
                <a:spcPct val="120000"/>
              </a:lnSpc>
              <a:spcBef>
                <a:spcPts val="0"/>
              </a:spcBef>
              <a:spcAft>
                <a:spcPts val="400"/>
              </a:spcAft>
              <a:buClr>
                <a:schemeClr val="accent2"/>
              </a:buClr>
              <a:buFont typeface="Arial"/>
              <a:buChar char="•"/>
              <a:defRPr sz="1600">
                <a:solidFill>
                  <a:schemeClr val="tx1"/>
                </a:solidFill>
                <a:latin typeface="Avenir LT Std 55 Roman"/>
              </a:defRPr>
            </a:lvl2pPr>
            <a:lvl3pPr>
              <a:lnSpc>
                <a:spcPct val="120000"/>
              </a:lnSpc>
              <a:spcBef>
                <a:spcPts val="0"/>
              </a:spcBef>
              <a:spcAft>
                <a:spcPts val="400"/>
              </a:spcAft>
              <a:buClr>
                <a:schemeClr val="accent3"/>
              </a:buClr>
              <a:buFont typeface="Wingdings" charset="2"/>
              <a:buChar char="§"/>
              <a:defRPr sz="1400">
                <a:solidFill>
                  <a:schemeClr val="tx1"/>
                </a:solidFill>
                <a:latin typeface="Avenir LT Std 55 Roman"/>
              </a:defRPr>
            </a:lvl3pPr>
            <a:lvl4pPr>
              <a:lnSpc>
                <a:spcPct val="120000"/>
              </a:lnSpc>
              <a:spcBef>
                <a:spcPts val="0"/>
              </a:spcBef>
              <a:spcAft>
                <a:spcPts val="400"/>
              </a:spcAft>
              <a:buClr>
                <a:schemeClr val="accent1"/>
              </a:buClr>
              <a:buFont typeface="Wingdings" charset="2"/>
              <a:buChar char="§"/>
              <a:defRPr sz="1400">
                <a:solidFill>
                  <a:schemeClr val="tx1"/>
                </a:solidFill>
                <a:latin typeface="Avenir LT Std 55 Roman"/>
              </a:defRPr>
            </a:lvl4pPr>
            <a:lvl5pPr>
              <a:lnSpc>
                <a:spcPct val="120000"/>
              </a:lnSpc>
              <a:spcBef>
                <a:spcPts val="0"/>
              </a:spcBef>
              <a:spcAft>
                <a:spcPts val="400"/>
              </a:spcAft>
              <a:buClr>
                <a:schemeClr val="accent2"/>
              </a:buClr>
              <a:buFont typeface="Courier New"/>
              <a:buChar char="o"/>
              <a:defRPr sz="1400">
                <a:solidFill>
                  <a:schemeClr val="tx1"/>
                </a:solidFill>
                <a:latin typeface="Avenir LT Std 55 Roman"/>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3"/>
          </p:nvPr>
        </p:nvSpPr>
        <p:spPr>
          <a:xfrm>
            <a:off x="4671230" y="1219200"/>
            <a:ext cx="3956839" cy="4586064"/>
          </a:xfrm>
        </p:spPr>
        <p:txBody>
          <a:bodyPr tIns="0" bIns="0"/>
          <a:lstStyle>
            <a:lvl1pPr>
              <a:lnSpc>
                <a:spcPct val="120000"/>
              </a:lnSpc>
              <a:spcBef>
                <a:spcPts val="0"/>
              </a:spcBef>
              <a:spcAft>
                <a:spcPts val="400"/>
              </a:spcAft>
              <a:buClr>
                <a:schemeClr val="accent1"/>
              </a:buClr>
              <a:defRPr sz="1600">
                <a:solidFill>
                  <a:schemeClr val="tx1"/>
                </a:solidFill>
                <a:latin typeface="Avenir LT Std 55 Roman"/>
              </a:defRPr>
            </a:lvl1pPr>
            <a:lvl2pPr>
              <a:lnSpc>
                <a:spcPct val="120000"/>
              </a:lnSpc>
              <a:spcBef>
                <a:spcPts val="0"/>
              </a:spcBef>
              <a:spcAft>
                <a:spcPts val="400"/>
              </a:spcAft>
              <a:buClr>
                <a:schemeClr val="accent2"/>
              </a:buClr>
              <a:buFont typeface="Arial"/>
              <a:buChar char="•"/>
              <a:defRPr sz="1600">
                <a:solidFill>
                  <a:schemeClr val="tx1"/>
                </a:solidFill>
                <a:latin typeface="Avenir LT Std 55 Roman"/>
              </a:defRPr>
            </a:lvl2pPr>
            <a:lvl3pPr>
              <a:lnSpc>
                <a:spcPct val="120000"/>
              </a:lnSpc>
              <a:spcBef>
                <a:spcPts val="0"/>
              </a:spcBef>
              <a:spcAft>
                <a:spcPts val="400"/>
              </a:spcAft>
              <a:buClr>
                <a:schemeClr val="accent3"/>
              </a:buClr>
              <a:buFont typeface="Wingdings" charset="2"/>
              <a:buChar char="§"/>
              <a:defRPr sz="1400">
                <a:solidFill>
                  <a:schemeClr val="tx1"/>
                </a:solidFill>
                <a:latin typeface="Avenir LT Std 55 Roman"/>
              </a:defRPr>
            </a:lvl3pPr>
            <a:lvl4pPr>
              <a:lnSpc>
                <a:spcPct val="120000"/>
              </a:lnSpc>
              <a:spcBef>
                <a:spcPts val="0"/>
              </a:spcBef>
              <a:spcAft>
                <a:spcPts val="400"/>
              </a:spcAft>
              <a:buClr>
                <a:schemeClr val="accent1"/>
              </a:buClr>
              <a:buFont typeface="Wingdings" charset="2"/>
              <a:buChar char="§"/>
              <a:defRPr sz="1400">
                <a:solidFill>
                  <a:schemeClr val="tx1"/>
                </a:solidFill>
                <a:latin typeface="Avenir LT Std 55 Roman"/>
              </a:defRPr>
            </a:lvl4pPr>
            <a:lvl5pPr>
              <a:lnSpc>
                <a:spcPct val="120000"/>
              </a:lnSpc>
              <a:spcBef>
                <a:spcPts val="0"/>
              </a:spcBef>
              <a:spcAft>
                <a:spcPts val="400"/>
              </a:spcAft>
              <a:buClr>
                <a:schemeClr val="accent2"/>
              </a:buClr>
              <a:buFont typeface="Courier New"/>
              <a:buChar char="o"/>
              <a:defRPr sz="1400">
                <a:solidFill>
                  <a:schemeClr val="tx1"/>
                </a:solidFill>
                <a:latin typeface="Avenir LT Std 55 Roman"/>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0"/>
          </p:nvPr>
        </p:nvSpPr>
        <p:spPr>
          <a:xfrm>
            <a:off x="1043612" y="5876974"/>
            <a:ext cx="7578105" cy="504403"/>
          </a:xfrm>
        </p:spPr>
        <p:txBody>
          <a:bodyPr anchor="b">
            <a:noAutofit/>
          </a:bodyPr>
          <a:lstStyle>
            <a:lvl1pPr marL="0" indent="0">
              <a:buNone/>
              <a:defRPr sz="800"/>
            </a:lvl1pPr>
          </a:lstStyle>
          <a:p>
            <a:pPr lvl="0"/>
            <a:r>
              <a:rPr lang="en-US" dirty="0"/>
              <a:t>Click to edit Master text styles</a:t>
            </a:r>
            <a:endParaRPr lang="en-GB" dirty="0"/>
          </a:p>
        </p:txBody>
      </p:sp>
      <p:sp>
        <p:nvSpPr>
          <p:cNvPr id="13" name="Title 1"/>
          <p:cNvSpPr>
            <a:spLocks noGrp="1"/>
          </p:cNvSpPr>
          <p:nvPr>
            <p:ph type="title"/>
          </p:nvPr>
        </p:nvSpPr>
        <p:spPr>
          <a:xfrm>
            <a:off x="515957" y="281024"/>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r>
              <a:rPr lang="en-US"/>
              <a:t>Click to edit Master title style</a:t>
            </a:r>
            <a:endParaRPr lang="en-US" dirty="0"/>
          </a:p>
        </p:txBody>
      </p:sp>
      <p:sp>
        <p:nvSpPr>
          <p:cNvPr id="10" name="Slide Number Placeholder 5"/>
          <p:cNvSpPr>
            <a:spLocks noGrp="1"/>
          </p:cNvSpPr>
          <p:nvPr>
            <p:ph type="sldNum" sz="quarter" idx="14"/>
          </p:nvPr>
        </p:nvSpPr>
        <p:spPr>
          <a:xfrm>
            <a:off x="4386287" y="6562775"/>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724B9A12-1DC8-49C5-A0AB-A3CE154710FA}" type="slidenum">
              <a:rPr lang="en-GB" b="0"/>
              <a:pPr>
                <a:defRPr/>
              </a:pPr>
              <a:t>‹#›</a:t>
            </a:fld>
            <a:endParaRPr lang="en-GB" b="0"/>
          </a:p>
        </p:txBody>
      </p:sp>
    </p:spTree>
    <p:extLst>
      <p:ext uri="{BB962C8B-B14F-4D97-AF65-F5344CB8AC3E}">
        <p14:creationId xmlns:p14="http://schemas.microsoft.com/office/powerpoint/2010/main" val="15436222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680560"/>
            <a:ext cx="4086000" cy="216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680560"/>
            <a:ext cx="4086000" cy="216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GB" noProof="0" dirty="0"/>
              <a:t>Click to edit Master text styles</a:t>
            </a:r>
          </a:p>
        </p:txBody>
      </p:sp>
      <p:sp>
        <p:nvSpPr>
          <p:cNvPr id="8"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6"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395043026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cxnSp>
        <p:nvCxnSpPr>
          <p:cNvPr id="10" name="Straight Connector 9"/>
          <p:cNvCxnSpPr/>
          <p:nvPr userDrawn="1"/>
        </p:nvCxnSpPr>
        <p:spPr>
          <a:xfrm>
            <a:off x="509613"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509613"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 name="Content Placeholder 2"/>
          <p:cNvSpPr>
            <a:spLocks noGrp="1"/>
          </p:cNvSpPr>
          <p:nvPr>
            <p:ph idx="1"/>
          </p:nvPr>
        </p:nvSpPr>
        <p:spPr>
          <a:xfrm>
            <a:off x="509038" y="1844824"/>
            <a:ext cx="3956839" cy="3960440"/>
          </a:xfrm>
        </p:spPr>
        <p:txBody>
          <a:bodyPr tIns="0" bIns="0"/>
          <a:lstStyle>
            <a:lvl1pPr>
              <a:lnSpc>
                <a:spcPct val="120000"/>
              </a:lnSpc>
              <a:spcBef>
                <a:spcPts val="0"/>
              </a:spcBef>
              <a:spcAft>
                <a:spcPts val="400"/>
              </a:spcAft>
              <a:buClr>
                <a:schemeClr val="accent1"/>
              </a:buClr>
              <a:defRPr sz="1600">
                <a:solidFill>
                  <a:schemeClr val="tx1"/>
                </a:solidFill>
                <a:latin typeface="Avenir LT Std 55 Roman"/>
              </a:defRPr>
            </a:lvl1pPr>
            <a:lvl2pPr>
              <a:lnSpc>
                <a:spcPct val="120000"/>
              </a:lnSpc>
              <a:spcBef>
                <a:spcPts val="0"/>
              </a:spcBef>
              <a:spcAft>
                <a:spcPts val="400"/>
              </a:spcAft>
              <a:buClr>
                <a:schemeClr val="accent2"/>
              </a:buClr>
              <a:buFont typeface="Arial"/>
              <a:buChar char="•"/>
              <a:defRPr sz="1600">
                <a:solidFill>
                  <a:schemeClr val="tx1"/>
                </a:solidFill>
                <a:latin typeface="Avenir LT Std 55 Roman"/>
              </a:defRPr>
            </a:lvl2pPr>
            <a:lvl3pPr>
              <a:lnSpc>
                <a:spcPct val="120000"/>
              </a:lnSpc>
              <a:spcBef>
                <a:spcPts val="0"/>
              </a:spcBef>
              <a:spcAft>
                <a:spcPts val="400"/>
              </a:spcAft>
              <a:buClr>
                <a:schemeClr val="accent3"/>
              </a:buClr>
              <a:buFont typeface="Wingdings" charset="2"/>
              <a:buChar char="§"/>
              <a:defRPr sz="1400">
                <a:solidFill>
                  <a:schemeClr val="tx1"/>
                </a:solidFill>
                <a:latin typeface="Avenir LT Std 55 Roman"/>
              </a:defRPr>
            </a:lvl3pPr>
            <a:lvl4pPr>
              <a:lnSpc>
                <a:spcPct val="120000"/>
              </a:lnSpc>
              <a:spcBef>
                <a:spcPts val="0"/>
              </a:spcBef>
              <a:spcAft>
                <a:spcPts val="400"/>
              </a:spcAft>
              <a:buClr>
                <a:schemeClr val="accent1"/>
              </a:buClr>
              <a:buFont typeface="Wingdings" charset="2"/>
              <a:buChar char="§"/>
              <a:defRPr sz="1400">
                <a:solidFill>
                  <a:schemeClr val="tx1"/>
                </a:solidFill>
                <a:latin typeface="Avenir LT Std 55 Roman"/>
              </a:defRPr>
            </a:lvl4pPr>
            <a:lvl5pPr>
              <a:lnSpc>
                <a:spcPct val="120000"/>
              </a:lnSpc>
              <a:spcBef>
                <a:spcPts val="0"/>
              </a:spcBef>
              <a:spcAft>
                <a:spcPts val="400"/>
              </a:spcAft>
              <a:buClr>
                <a:schemeClr val="accent2"/>
              </a:buClr>
              <a:buFont typeface="Courier New"/>
              <a:buChar char="o"/>
              <a:defRPr sz="1400">
                <a:solidFill>
                  <a:schemeClr val="tx1"/>
                </a:solidFill>
                <a:latin typeface="Avenir LT Std 55 Roman"/>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3"/>
          </p:nvPr>
        </p:nvSpPr>
        <p:spPr>
          <a:xfrm>
            <a:off x="4671230" y="1844824"/>
            <a:ext cx="3956839" cy="3960440"/>
          </a:xfrm>
        </p:spPr>
        <p:txBody>
          <a:bodyPr tIns="0" bIns="0"/>
          <a:lstStyle>
            <a:lvl1pPr>
              <a:lnSpc>
                <a:spcPct val="120000"/>
              </a:lnSpc>
              <a:spcBef>
                <a:spcPts val="0"/>
              </a:spcBef>
              <a:spcAft>
                <a:spcPts val="400"/>
              </a:spcAft>
              <a:buClr>
                <a:schemeClr val="accent1"/>
              </a:buClr>
              <a:defRPr sz="1600">
                <a:solidFill>
                  <a:schemeClr val="tx1"/>
                </a:solidFill>
                <a:latin typeface="Avenir LT Std 55 Roman"/>
              </a:defRPr>
            </a:lvl1pPr>
            <a:lvl2pPr>
              <a:lnSpc>
                <a:spcPct val="120000"/>
              </a:lnSpc>
              <a:spcBef>
                <a:spcPts val="0"/>
              </a:spcBef>
              <a:spcAft>
                <a:spcPts val="400"/>
              </a:spcAft>
              <a:buClr>
                <a:schemeClr val="accent2"/>
              </a:buClr>
              <a:buFont typeface="Arial"/>
              <a:buChar char="•"/>
              <a:defRPr sz="1600">
                <a:solidFill>
                  <a:schemeClr val="tx1"/>
                </a:solidFill>
                <a:latin typeface="Avenir LT Std 55 Roman"/>
              </a:defRPr>
            </a:lvl2pPr>
            <a:lvl3pPr>
              <a:lnSpc>
                <a:spcPct val="120000"/>
              </a:lnSpc>
              <a:spcBef>
                <a:spcPts val="0"/>
              </a:spcBef>
              <a:spcAft>
                <a:spcPts val="400"/>
              </a:spcAft>
              <a:buClr>
                <a:schemeClr val="accent3"/>
              </a:buClr>
              <a:buFont typeface="Wingdings" charset="2"/>
              <a:buChar char="§"/>
              <a:defRPr sz="1400">
                <a:solidFill>
                  <a:schemeClr val="tx1"/>
                </a:solidFill>
                <a:latin typeface="Avenir LT Std 55 Roman"/>
              </a:defRPr>
            </a:lvl3pPr>
            <a:lvl4pPr>
              <a:lnSpc>
                <a:spcPct val="120000"/>
              </a:lnSpc>
              <a:spcBef>
                <a:spcPts val="0"/>
              </a:spcBef>
              <a:spcAft>
                <a:spcPts val="400"/>
              </a:spcAft>
              <a:buClr>
                <a:schemeClr val="accent1"/>
              </a:buClr>
              <a:buFont typeface="Wingdings" charset="2"/>
              <a:buChar char="§"/>
              <a:defRPr sz="1400">
                <a:solidFill>
                  <a:schemeClr val="tx1"/>
                </a:solidFill>
                <a:latin typeface="Avenir LT Std 55 Roman"/>
              </a:defRPr>
            </a:lvl4pPr>
            <a:lvl5pPr>
              <a:lnSpc>
                <a:spcPct val="120000"/>
              </a:lnSpc>
              <a:spcBef>
                <a:spcPts val="0"/>
              </a:spcBef>
              <a:spcAft>
                <a:spcPts val="400"/>
              </a:spcAft>
              <a:buClr>
                <a:schemeClr val="accent2"/>
              </a:buClr>
              <a:buFont typeface="Courier New"/>
              <a:buChar char="o"/>
              <a:defRPr sz="1400">
                <a:solidFill>
                  <a:schemeClr val="tx1"/>
                </a:solidFill>
                <a:latin typeface="Avenir LT Std 55 Roman"/>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4"/>
          </p:nvPr>
        </p:nvSpPr>
        <p:spPr>
          <a:xfrm>
            <a:off x="509588" y="1196975"/>
            <a:ext cx="3956400" cy="503238"/>
          </a:xfrm>
        </p:spPr>
        <p:txBody>
          <a:bodyPr/>
          <a:lstStyle>
            <a:lvl1pPr marL="0" indent="0">
              <a:buNone/>
              <a:defRPr b="1">
                <a:solidFill>
                  <a:schemeClr val="accent2"/>
                </a:solidFill>
              </a:defRPr>
            </a:lvl1pPr>
          </a:lstStyle>
          <a:p>
            <a:pPr lvl="0"/>
            <a:r>
              <a:rPr lang="en-US"/>
              <a:t>Click to edit Master text styles</a:t>
            </a:r>
          </a:p>
        </p:txBody>
      </p:sp>
      <p:sp>
        <p:nvSpPr>
          <p:cNvPr id="11" name="Text Placeholder 3"/>
          <p:cNvSpPr>
            <a:spLocks noGrp="1"/>
          </p:cNvSpPr>
          <p:nvPr>
            <p:ph type="body" sz="quarter" idx="15"/>
          </p:nvPr>
        </p:nvSpPr>
        <p:spPr>
          <a:xfrm>
            <a:off x="4671901" y="1196752"/>
            <a:ext cx="3956400" cy="503238"/>
          </a:xfrm>
        </p:spPr>
        <p:txBody>
          <a:bodyPr/>
          <a:lstStyle>
            <a:lvl1pPr marL="0" indent="0">
              <a:buNone/>
              <a:defRPr b="1">
                <a:solidFill>
                  <a:schemeClr val="accent2"/>
                </a:solidFill>
              </a:defRPr>
            </a:lvl1pPr>
          </a:lstStyle>
          <a:p>
            <a:pPr lvl="0"/>
            <a:r>
              <a:rPr lang="en-US"/>
              <a:t>Click to edit Master text styles</a:t>
            </a:r>
          </a:p>
        </p:txBody>
      </p:sp>
      <p:sp>
        <p:nvSpPr>
          <p:cNvPr id="12" name="Text Placeholder 7"/>
          <p:cNvSpPr>
            <a:spLocks noGrp="1"/>
          </p:cNvSpPr>
          <p:nvPr>
            <p:ph type="body" sz="quarter" idx="10"/>
          </p:nvPr>
        </p:nvSpPr>
        <p:spPr>
          <a:xfrm>
            <a:off x="1043612" y="5876974"/>
            <a:ext cx="7578105" cy="504403"/>
          </a:xfrm>
        </p:spPr>
        <p:txBody>
          <a:bodyPr anchor="b">
            <a:noAutofit/>
          </a:bodyPr>
          <a:lstStyle>
            <a:lvl1pPr marL="0" indent="0">
              <a:buNone/>
              <a:defRPr sz="800"/>
            </a:lvl1pPr>
          </a:lstStyle>
          <a:p>
            <a:pPr lvl="0"/>
            <a:r>
              <a:rPr lang="en-US" dirty="0"/>
              <a:t>Click to edit Master text styles</a:t>
            </a:r>
            <a:endParaRPr lang="en-GB" dirty="0"/>
          </a:p>
        </p:txBody>
      </p:sp>
      <p:sp>
        <p:nvSpPr>
          <p:cNvPr id="14" name="Title 1"/>
          <p:cNvSpPr>
            <a:spLocks noGrp="1"/>
          </p:cNvSpPr>
          <p:nvPr>
            <p:ph type="title"/>
          </p:nvPr>
        </p:nvSpPr>
        <p:spPr>
          <a:xfrm>
            <a:off x="515957" y="281024"/>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r>
              <a:rPr lang="en-US"/>
              <a:t>Click to edit Master title style</a:t>
            </a:r>
            <a:endParaRPr lang="en-US" dirty="0"/>
          </a:p>
        </p:txBody>
      </p:sp>
      <p:sp>
        <p:nvSpPr>
          <p:cNvPr id="15" name="Slide Number Placeholder 5"/>
          <p:cNvSpPr>
            <a:spLocks noGrp="1"/>
          </p:cNvSpPr>
          <p:nvPr>
            <p:ph type="sldNum" sz="quarter" idx="16"/>
          </p:nvPr>
        </p:nvSpPr>
        <p:spPr>
          <a:xfrm>
            <a:off x="4386287" y="6562775"/>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145B9D23-82D9-416B-B1DD-D9229E22BF5A}" type="slidenum">
              <a:rPr lang="en-GB" b="0"/>
              <a:pPr>
                <a:defRPr/>
              </a:pPr>
              <a:t>‹#›</a:t>
            </a:fld>
            <a:endParaRPr lang="en-GB" b="0"/>
          </a:p>
        </p:txBody>
      </p:sp>
    </p:spTree>
    <p:extLst>
      <p:ext uri="{BB962C8B-B14F-4D97-AF65-F5344CB8AC3E}">
        <p14:creationId xmlns:p14="http://schemas.microsoft.com/office/powerpoint/2010/main" val="396687199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Introduction">
    <p:spTree>
      <p:nvGrpSpPr>
        <p:cNvPr id="1" name=""/>
        <p:cNvGrpSpPr/>
        <p:nvPr/>
      </p:nvGrpSpPr>
      <p:grpSpPr>
        <a:xfrm>
          <a:off x="0" y="0"/>
          <a:ext cx="0" cy="0"/>
          <a:chOff x="0" y="0"/>
          <a:chExt cx="0" cy="0"/>
        </a:xfrm>
      </p:grpSpPr>
      <p:sp>
        <p:nvSpPr>
          <p:cNvPr id="2" name="Title 1"/>
          <p:cNvSpPr>
            <a:spLocks noGrp="1"/>
          </p:cNvSpPr>
          <p:nvPr>
            <p:ph type="title"/>
          </p:nvPr>
        </p:nvSpPr>
        <p:spPr>
          <a:xfrm>
            <a:off x="309565" y="274646"/>
            <a:ext cx="8415337" cy="511175"/>
          </a:xfrm>
          <a:prstGeom prst="rect">
            <a:avLst/>
          </a:prstGeom>
        </p:spPr>
        <p:txBody>
          <a:bodyPr/>
          <a:lstStyle/>
          <a:p>
            <a:r>
              <a:rPr lang="en-US"/>
              <a:t>Click to edit Master title style</a:t>
            </a:r>
            <a:endParaRPr lang="en-GB" dirty="0"/>
          </a:p>
        </p:txBody>
      </p:sp>
      <p:sp>
        <p:nvSpPr>
          <p:cNvPr id="7" name="Text Placeholder 6"/>
          <p:cNvSpPr>
            <a:spLocks noGrp="1"/>
          </p:cNvSpPr>
          <p:nvPr>
            <p:ph type="body" sz="quarter" idx="12"/>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a:t>Click to edit Master text styles</a:t>
            </a:r>
          </a:p>
        </p:txBody>
      </p:sp>
      <p:sp>
        <p:nvSpPr>
          <p:cNvPr id="9" name="Text Placeholder 8"/>
          <p:cNvSpPr>
            <a:spLocks noGrp="1"/>
          </p:cNvSpPr>
          <p:nvPr>
            <p:ph type="body" sz="quarter" idx="13"/>
          </p:nvPr>
        </p:nvSpPr>
        <p:spPr>
          <a:xfrm>
            <a:off x="309599" y="1536700"/>
            <a:ext cx="8439114" cy="4330700"/>
          </a:xfrm>
        </p:spPr>
        <p:txBody>
          <a:bodyPr/>
          <a:lstStyle>
            <a:lvl1pPr marL="342900" indent="-342900">
              <a:spcBef>
                <a:spcPts val="1200"/>
              </a:spcBef>
              <a:buFont typeface="Arial" panose="020B0604020202020204" pitchFamily="34" charset="0"/>
              <a:buChar char="•"/>
              <a:defRPr sz="2400" b="0">
                <a:solidFill>
                  <a:schemeClr val="accent2"/>
                </a:solidFill>
                <a:latin typeface="Arial" pitchFamily="34" charset="0"/>
                <a:cs typeface="Arial" pitchFamily="34" charset="0"/>
              </a:defRPr>
            </a:lvl1pPr>
            <a:lvl2pPr marL="622300" indent="-266700">
              <a:defRPr sz="2000">
                <a:solidFill>
                  <a:schemeClr val="accent2"/>
                </a:solidFill>
              </a:defRPr>
            </a:lvl2pPr>
            <a:lvl3pPr marL="901700" indent="-177800">
              <a:defRPr sz="1800">
                <a:solidFill>
                  <a:schemeClr val="accent2"/>
                </a:solidFill>
              </a:defRPr>
            </a:lvl3pPr>
            <a:lvl4pPr marL="901700" indent="-177800">
              <a:defRPr sz="1800">
                <a:solidFill>
                  <a:schemeClr val="accent2"/>
                </a:solidFill>
              </a:defRPr>
            </a:lvl4pPr>
            <a:lvl5pPr marL="901700" indent="-177800">
              <a:defRPr sz="1800">
                <a:solidFill>
                  <a:schemeClr val="accent2"/>
                </a:solidFill>
              </a:defRPr>
            </a:lvl5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dirty="0"/>
          </a:p>
        </p:txBody>
      </p:sp>
      <p:sp>
        <p:nvSpPr>
          <p:cNvPr id="5" name="Rectangle 6"/>
          <p:cNvSpPr>
            <a:spLocks noGrp="1" noChangeArrowheads="1"/>
          </p:cNvSpPr>
          <p:nvPr>
            <p:ph type="sldNum" sz="quarter" idx="14"/>
          </p:nvPr>
        </p:nvSpPr>
        <p:spPr>
          <a:xfrm>
            <a:off x="107951" y="6354771"/>
            <a:ext cx="466725" cy="358775"/>
          </a:xfrm>
          <a:prstGeom prst="rect">
            <a:avLst/>
          </a:prstGeom>
          <a:ln/>
        </p:spPr>
        <p:txBody>
          <a:bodyPr/>
          <a:lstStyle>
            <a:lvl1pPr>
              <a:defRPr/>
            </a:lvl1pPr>
          </a:lstStyle>
          <a:p>
            <a:pPr defTabSz="457200">
              <a:defRPr/>
            </a:pPr>
            <a:fld id="{C8687D6F-1A8A-4BBD-9042-932E2EE4EC0A}" type="slidenum">
              <a:rPr lang="en-GB" sz="1800" b="0">
                <a:solidFill>
                  <a:prstClr val="black"/>
                </a:solidFill>
                <a:latin typeface="Arial" pitchFamily="34" charset="0"/>
                <a:ea typeface="ＭＳ Ｐゴシック" pitchFamily="34" charset="-128"/>
              </a:rPr>
              <a:pPr defTabSz="457200">
                <a:defRPr/>
              </a:pPr>
              <a:t>‹#›</a:t>
            </a:fld>
            <a:endParaRPr lang="en-GB" sz="1800" b="0" dirty="0">
              <a:solidFill>
                <a:prstClr val="black"/>
              </a:solidFill>
              <a:latin typeface="Arial" pitchFamily="34" charset="0"/>
              <a:ea typeface="ＭＳ Ｐゴシック" pitchFamily="34" charset="-128"/>
            </a:endParaRPr>
          </a:p>
        </p:txBody>
      </p:sp>
    </p:spTree>
    <p:extLst>
      <p:ext uri="{BB962C8B-B14F-4D97-AF65-F5344CB8AC3E}">
        <p14:creationId xmlns:p14="http://schemas.microsoft.com/office/powerpoint/2010/main" val="6386900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7"/>
          <p:cNvSpPr>
            <a:spLocks noGrp="1" noChangeArrowheads="1"/>
          </p:cNvSpPr>
          <p:nvPr>
            <p:ph type="ftr" sz="quarter" idx="10"/>
          </p:nvPr>
        </p:nvSpPr>
        <p:spPr>
          <a:xfrm>
            <a:off x="609600" y="6624638"/>
            <a:ext cx="7924800" cy="476250"/>
          </a:xfrm>
          <a:prstGeom prst="rect">
            <a:avLst/>
          </a:prstGeom>
        </p:spPr>
        <p:txBody>
          <a:bodyPr/>
          <a:lstStyle>
            <a:lvl1pPr>
              <a:defRPr/>
            </a:lvl1pPr>
          </a:lstStyle>
          <a:p>
            <a:pPr>
              <a:defRPr/>
            </a:pPr>
            <a:r>
              <a:rPr lang="en-US" sz="1800" b="0">
                <a:solidFill>
                  <a:prstClr val="black"/>
                </a:solidFill>
                <a:ea typeface="ＭＳ Ｐゴシック"/>
              </a:rPr>
              <a:t>Strictly Confidential. Proprietary information of Novartis. For internal use ONLY. March 2010. GAL10.497. Novartis. </a:t>
            </a:r>
          </a:p>
        </p:txBody>
      </p:sp>
      <p:sp>
        <p:nvSpPr>
          <p:cNvPr id="3" name="Rectangle 8"/>
          <p:cNvSpPr>
            <a:spLocks noGrp="1" noChangeArrowheads="1"/>
          </p:cNvSpPr>
          <p:nvPr>
            <p:ph type="sldNum" sz="quarter" idx="11"/>
          </p:nvPr>
        </p:nvSpPr>
        <p:spPr>
          <a:xfrm>
            <a:off x="6831013" y="6624638"/>
            <a:ext cx="2133600" cy="476250"/>
          </a:xfrm>
          <a:prstGeom prst="rect">
            <a:avLst/>
          </a:prstGeom>
        </p:spPr>
        <p:txBody>
          <a:bodyPr/>
          <a:lstStyle>
            <a:lvl1pPr>
              <a:defRPr/>
            </a:lvl1pPr>
          </a:lstStyle>
          <a:p>
            <a:pPr>
              <a:defRPr/>
            </a:pPr>
            <a:fld id="{8C3F1263-DEC1-4161-86E1-A95D4281C91F}" type="slidenum">
              <a:rPr lang="en-US" sz="1800" b="0">
                <a:solidFill>
                  <a:prstClr val="black"/>
                </a:solidFill>
                <a:ea typeface="ＭＳ Ｐゴシック"/>
              </a:rPr>
              <a:pPr>
                <a:defRPr/>
              </a:pPr>
              <a:t>‹#›</a:t>
            </a:fld>
            <a:endParaRPr lang="en-US" sz="1800" b="0">
              <a:solidFill>
                <a:prstClr val="black"/>
              </a:solidFill>
              <a:ea typeface="ＭＳ Ｐゴシック"/>
            </a:endParaRPr>
          </a:p>
        </p:txBody>
      </p:sp>
    </p:spTree>
    <p:extLst>
      <p:ext uri="{BB962C8B-B14F-4D97-AF65-F5344CB8AC3E}">
        <p14:creationId xmlns:p14="http://schemas.microsoft.com/office/powerpoint/2010/main" val="2613834994"/>
      </p:ext>
    </p:extLst>
  </p:cSld>
  <p:clrMapOvr>
    <a:masterClrMapping/>
  </p:clrMapOvr>
  <p:transition>
    <p:wipe dir="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44000" y="144000"/>
            <a:ext cx="8856000" cy="6588000"/>
          </a:xfrm>
          <a:prstGeom prst="rect">
            <a:avLst/>
          </a:prstGeom>
          <a:solidFill>
            <a:srgbClr val="83005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dirty="0">
              <a:solidFill>
                <a:srgbClr val="FFFFFF"/>
              </a:solidFill>
            </a:endParaRPr>
          </a:p>
        </p:txBody>
      </p:sp>
      <p:sp>
        <p:nvSpPr>
          <p:cNvPr id="13" name="Title 8"/>
          <p:cNvSpPr>
            <a:spLocks noGrp="1"/>
          </p:cNvSpPr>
          <p:nvPr>
            <p:ph type="title" hasCustomPrompt="1"/>
          </p:nvPr>
        </p:nvSpPr>
        <p:spPr>
          <a:xfrm>
            <a:off x="216001" y="193039"/>
            <a:ext cx="8765651" cy="506116"/>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
        <p:nvSpPr>
          <p:cNvPr id="4" name="TextBox 3"/>
          <p:cNvSpPr txBox="1"/>
          <p:nvPr userDrawn="1"/>
        </p:nvSpPr>
        <p:spPr>
          <a:xfrm>
            <a:off x="1300657" y="2671872"/>
            <a:ext cx="6542689" cy="1514261"/>
          </a:xfrm>
          <a:prstGeom prst="rect">
            <a:avLst/>
          </a:prstGeom>
          <a:noFill/>
        </p:spPr>
        <p:txBody>
          <a:bodyPr wrap="square" rtlCol="0">
            <a:spAutoFit/>
          </a:bodyPr>
          <a:lstStyle/>
          <a:p>
            <a:pPr algn="ctr" defTabSz="457200" fontAlgn="auto">
              <a:lnSpc>
                <a:spcPct val="110000"/>
              </a:lnSpc>
              <a:spcBef>
                <a:spcPts val="0"/>
              </a:spcBef>
              <a:spcAft>
                <a:spcPts val="0"/>
              </a:spcAft>
            </a:pPr>
            <a:r>
              <a:rPr lang="en-US" sz="2800" dirty="0">
                <a:solidFill>
                  <a:srgbClr val="FFFFFF">
                    <a:lumMod val="85000"/>
                  </a:srgbClr>
                </a:solidFill>
                <a:latin typeface="Arial"/>
                <a:ea typeface="+mn-ea"/>
                <a:cs typeface="+mn-cs"/>
              </a:rPr>
              <a:t>DRAFT </a:t>
            </a:r>
            <a:br>
              <a:rPr lang="en-US" sz="2800" dirty="0">
                <a:solidFill>
                  <a:srgbClr val="FFFFFF">
                    <a:lumMod val="85000"/>
                  </a:srgbClr>
                </a:solidFill>
                <a:latin typeface="Arial"/>
                <a:ea typeface="+mn-ea"/>
                <a:cs typeface="+mn-cs"/>
              </a:rPr>
            </a:br>
            <a:r>
              <a:rPr lang="en-US" sz="2800" dirty="0">
                <a:solidFill>
                  <a:srgbClr val="FFFFFF">
                    <a:lumMod val="85000"/>
                  </a:srgbClr>
                </a:solidFill>
                <a:latin typeface="Arial"/>
                <a:ea typeface="+mn-ea"/>
                <a:cs typeface="+mn-cs"/>
              </a:rPr>
              <a:t>NOT APPROVED FOR USE IN CURRENT FORM </a:t>
            </a:r>
          </a:p>
        </p:txBody>
      </p:sp>
    </p:spTree>
    <p:extLst>
      <p:ext uri="{BB962C8B-B14F-4D97-AF65-F5344CB8AC3E}">
        <p14:creationId xmlns:p14="http://schemas.microsoft.com/office/powerpoint/2010/main" val="46289503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Divider Slide Navy">
    <p:spTree>
      <p:nvGrpSpPr>
        <p:cNvPr id="1" name=""/>
        <p:cNvGrpSpPr/>
        <p:nvPr/>
      </p:nvGrpSpPr>
      <p:grpSpPr>
        <a:xfrm>
          <a:off x="0" y="0"/>
          <a:ext cx="0" cy="0"/>
          <a:chOff x="0" y="0"/>
          <a:chExt cx="0" cy="0"/>
        </a:xfrm>
      </p:grpSpPr>
      <p:sp>
        <p:nvSpPr>
          <p:cNvPr id="5" name="Rectangle 4"/>
          <p:cNvSpPr/>
          <p:nvPr userDrawn="1"/>
        </p:nvSpPr>
        <p:spPr>
          <a:xfrm>
            <a:off x="144000" y="144000"/>
            <a:ext cx="8856000" cy="658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dirty="0">
              <a:solidFill>
                <a:srgbClr val="FFFFFF"/>
              </a:solidFill>
            </a:endParaRPr>
          </a:p>
        </p:txBody>
      </p:sp>
      <p:sp>
        <p:nvSpPr>
          <p:cNvPr id="13" name="Title 8"/>
          <p:cNvSpPr>
            <a:spLocks noGrp="1"/>
          </p:cNvSpPr>
          <p:nvPr>
            <p:ph type="title" hasCustomPrompt="1"/>
          </p:nvPr>
        </p:nvSpPr>
        <p:spPr>
          <a:xfrm>
            <a:off x="216001" y="193039"/>
            <a:ext cx="8765651" cy="506116"/>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
        <p:nvSpPr>
          <p:cNvPr id="4" name="TextBox 3"/>
          <p:cNvSpPr txBox="1"/>
          <p:nvPr userDrawn="1"/>
        </p:nvSpPr>
        <p:spPr>
          <a:xfrm>
            <a:off x="1300657" y="2671872"/>
            <a:ext cx="6542689" cy="1514261"/>
          </a:xfrm>
          <a:prstGeom prst="rect">
            <a:avLst/>
          </a:prstGeom>
          <a:noFill/>
        </p:spPr>
        <p:txBody>
          <a:bodyPr wrap="square" rtlCol="0">
            <a:spAutoFit/>
          </a:bodyPr>
          <a:lstStyle/>
          <a:p>
            <a:pPr algn="ctr" defTabSz="457200" fontAlgn="auto">
              <a:lnSpc>
                <a:spcPct val="110000"/>
              </a:lnSpc>
              <a:spcBef>
                <a:spcPts val="0"/>
              </a:spcBef>
              <a:spcAft>
                <a:spcPts val="0"/>
              </a:spcAft>
            </a:pPr>
            <a:r>
              <a:rPr lang="en-US" sz="2800" dirty="0">
                <a:solidFill>
                  <a:srgbClr val="FFFFFF">
                    <a:lumMod val="85000"/>
                  </a:srgbClr>
                </a:solidFill>
                <a:latin typeface="Arial"/>
                <a:ea typeface="+mn-ea"/>
                <a:cs typeface="+mn-cs"/>
              </a:rPr>
              <a:t>DRAFT </a:t>
            </a:r>
            <a:br>
              <a:rPr lang="en-US" sz="2800" dirty="0">
                <a:solidFill>
                  <a:srgbClr val="FFFFFF">
                    <a:lumMod val="85000"/>
                  </a:srgbClr>
                </a:solidFill>
                <a:latin typeface="Arial"/>
                <a:ea typeface="+mn-ea"/>
                <a:cs typeface="+mn-cs"/>
              </a:rPr>
            </a:br>
            <a:r>
              <a:rPr lang="en-US" sz="2800" dirty="0">
                <a:solidFill>
                  <a:srgbClr val="FFFFFF">
                    <a:lumMod val="85000"/>
                  </a:srgbClr>
                </a:solidFill>
                <a:latin typeface="Arial"/>
                <a:ea typeface="+mn-ea"/>
                <a:cs typeface="+mn-cs"/>
              </a:rPr>
              <a:t>NOT APPROVED FOR USE IN CURRENT FORM </a:t>
            </a:r>
          </a:p>
        </p:txBody>
      </p:sp>
    </p:spTree>
    <p:extLst>
      <p:ext uri="{BB962C8B-B14F-4D97-AF65-F5344CB8AC3E}">
        <p14:creationId xmlns:p14="http://schemas.microsoft.com/office/powerpoint/2010/main" val="354637361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Divider Slide Light Blue">
    <p:spTree>
      <p:nvGrpSpPr>
        <p:cNvPr id="1" name=""/>
        <p:cNvGrpSpPr/>
        <p:nvPr/>
      </p:nvGrpSpPr>
      <p:grpSpPr>
        <a:xfrm>
          <a:off x="0" y="0"/>
          <a:ext cx="0" cy="0"/>
          <a:chOff x="0" y="0"/>
          <a:chExt cx="0" cy="0"/>
        </a:xfrm>
      </p:grpSpPr>
      <p:sp>
        <p:nvSpPr>
          <p:cNvPr id="5" name="Rectangle 4"/>
          <p:cNvSpPr/>
          <p:nvPr userDrawn="1"/>
        </p:nvSpPr>
        <p:spPr>
          <a:xfrm>
            <a:off x="144000" y="144000"/>
            <a:ext cx="8856000" cy="658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dirty="0">
              <a:solidFill>
                <a:srgbClr val="FFFFFF"/>
              </a:solidFill>
            </a:endParaRPr>
          </a:p>
        </p:txBody>
      </p:sp>
      <p:sp>
        <p:nvSpPr>
          <p:cNvPr id="13" name="Title 8"/>
          <p:cNvSpPr>
            <a:spLocks noGrp="1"/>
          </p:cNvSpPr>
          <p:nvPr>
            <p:ph type="title" hasCustomPrompt="1"/>
          </p:nvPr>
        </p:nvSpPr>
        <p:spPr>
          <a:xfrm>
            <a:off x="216001" y="193039"/>
            <a:ext cx="8765651" cy="506116"/>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
        <p:nvSpPr>
          <p:cNvPr id="4" name="TextBox 3"/>
          <p:cNvSpPr txBox="1"/>
          <p:nvPr userDrawn="1"/>
        </p:nvSpPr>
        <p:spPr>
          <a:xfrm>
            <a:off x="1300657" y="2671872"/>
            <a:ext cx="6542689" cy="1514261"/>
          </a:xfrm>
          <a:prstGeom prst="rect">
            <a:avLst/>
          </a:prstGeom>
          <a:noFill/>
        </p:spPr>
        <p:txBody>
          <a:bodyPr wrap="square" rtlCol="0">
            <a:spAutoFit/>
          </a:bodyPr>
          <a:lstStyle/>
          <a:p>
            <a:pPr algn="ctr" defTabSz="457200" fontAlgn="auto">
              <a:lnSpc>
                <a:spcPct val="110000"/>
              </a:lnSpc>
              <a:spcBef>
                <a:spcPts val="0"/>
              </a:spcBef>
              <a:spcAft>
                <a:spcPts val="0"/>
              </a:spcAft>
            </a:pPr>
            <a:r>
              <a:rPr lang="en-US" sz="2800" dirty="0">
                <a:solidFill>
                  <a:srgbClr val="FFFFFF">
                    <a:lumMod val="85000"/>
                  </a:srgbClr>
                </a:solidFill>
                <a:latin typeface="Arial"/>
                <a:ea typeface="+mn-ea"/>
                <a:cs typeface="+mn-cs"/>
              </a:rPr>
              <a:t>DRAFT </a:t>
            </a:r>
            <a:br>
              <a:rPr lang="en-US" sz="2800" dirty="0">
                <a:solidFill>
                  <a:srgbClr val="FFFFFF">
                    <a:lumMod val="85000"/>
                  </a:srgbClr>
                </a:solidFill>
                <a:latin typeface="Arial"/>
                <a:ea typeface="+mn-ea"/>
                <a:cs typeface="+mn-cs"/>
              </a:rPr>
            </a:br>
            <a:r>
              <a:rPr lang="en-US" sz="2800" dirty="0">
                <a:solidFill>
                  <a:srgbClr val="FFFFFF">
                    <a:lumMod val="85000"/>
                  </a:srgbClr>
                </a:solidFill>
                <a:latin typeface="Arial"/>
                <a:ea typeface="+mn-ea"/>
                <a:cs typeface="+mn-cs"/>
              </a:rPr>
              <a:t>NOT APPROVED FOR USE IN CURRENT FORM </a:t>
            </a:r>
          </a:p>
        </p:txBody>
      </p:sp>
    </p:spTree>
    <p:extLst>
      <p:ext uri="{BB962C8B-B14F-4D97-AF65-F5344CB8AC3E}">
        <p14:creationId xmlns:p14="http://schemas.microsoft.com/office/powerpoint/2010/main" val="163374956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spTree>
      <p:nvGrpSpPr>
        <p:cNvPr id="1" name=""/>
        <p:cNvGrpSpPr/>
        <p:nvPr/>
      </p:nvGrpSpPr>
      <p:grpSpPr>
        <a:xfrm>
          <a:off x="0" y="0"/>
          <a:ext cx="0" cy="0"/>
          <a:chOff x="0" y="0"/>
          <a:chExt cx="0" cy="0"/>
        </a:xfrm>
      </p:grpSpPr>
      <p:sp>
        <p:nvSpPr>
          <p:cNvPr id="5" name="Rectangle 4"/>
          <p:cNvSpPr/>
          <p:nvPr userDrawn="1"/>
        </p:nvSpPr>
        <p:spPr>
          <a:xfrm>
            <a:off x="144000" y="144000"/>
            <a:ext cx="8856000" cy="658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dirty="0">
              <a:solidFill>
                <a:srgbClr val="FFFFFF"/>
              </a:solidFill>
            </a:endParaRPr>
          </a:p>
        </p:txBody>
      </p:sp>
      <p:sp>
        <p:nvSpPr>
          <p:cNvPr id="13" name="Title 8"/>
          <p:cNvSpPr>
            <a:spLocks noGrp="1"/>
          </p:cNvSpPr>
          <p:nvPr>
            <p:ph type="title" hasCustomPrompt="1"/>
          </p:nvPr>
        </p:nvSpPr>
        <p:spPr>
          <a:xfrm>
            <a:off x="216001" y="193039"/>
            <a:ext cx="8765651" cy="506116"/>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
        <p:nvSpPr>
          <p:cNvPr id="6" name="TextBox 5"/>
          <p:cNvSpPr txBox="1"/>
          <p:nvPr userDrawn="1"/>
        </p:nvSpPr>
        <p:spPr>
          <a:xfrm>
            <a:off x="1300657" y="2671872"/>
            <a:ext cx="6542689" cy="1514261"/>
          </a:xfrm>
          <a:prstGeom prst="rect">
            <a:avLst/>
          </a:prstGeom>
          <a:noFill/>
        </p:spPr>
        <p:txBody>
          <a:bodyPr wrap="square" rtlCol="0">
            <a:spAutoFit/>
          </a:bodyPr>
          <a:lstStyle/>
          <a:p>
            <a:pPr algn="ctr" defTabSz="457200" fontAlgn="auto">
              <a:lnSpc>
                <a:spcPct val="110000"/>
              </a:lnSpc>
              <a:spcBef>
                <a:spcPts val="0"/>
              </a:spcBef>
              <a:spcAft>
                <a:spcPts val="0"/>
              </a:spcAft>
            </a:pPr>
            <a:r>
              <a:rPr lang="en-US" sz="2800" dirty="0">
                <a:solidFill>
                  <a:srgbClr val="FFFFFF">
                    <a:lumMod val="85000"/>
                  </a:srgbClr>
                </a:solidFill>
                <a:latin typeface="Arial"/>
                <a:ea typeface="+mn-ea"/>
                <a:cs typeface="+mn-cs"/>
              </a:rPr>
              <a:t>DRAFT </a:t>
            </a:r>
            <a:br>
              <a:rPr lang="en-US" sz="2800" dirty="0">
                <a:solidFill>
                  <a:srgbClr val="FFFFFF">
                    <a:lumMod val="85000"/>
                  </a:srgbClr>
                </a:solidFill>
                <a:latin typeface="Arial"/>
                <a:ea typeface="+mn-ea"/>
                <a:cs typeface="+mn-cs"/>
              </a:rPr>
            </a:br>
            <a:r>
              <a:rPr lang="en-US" sz="2800" dirty="0">
                <a:solidFill>
                  <a:srgbClr val="FFFFFF">
                    <a:lumMod val="85000"/>
                  </a:srgbClr>
                </a:solidFill>
                <a:latin typeface="Arial"/>
                <a:ea typeface="+mn-ea"/>
                <a:cs typeface="+mn-cs"/>
              </a:rPr>
              <a:t>NOT APPROVED FOR USE IN CURRENT FORM </a:t>
            </a:r>
          </a:p>
        </p:txBody>
      </p:sp>
    </p:spTree>
    <p:extLst>
      <p:ext uri="{BB962C8B-B14F-4D97-AF65-F5344CB8AC3E}">
        <p14:creationId xmlns:p14="http://schemas.microsoft.com/office/powerpoint/2010/main" val="65741095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ivider Slide Graphite">
    <p:spTree>
      <p:nvGrpSpPr>
        <p:cNvPr id="1" name=""/>
        <p:cNvGrpSpPr/>
        <p:nvPr/>
      </p:nvGrpSpPr>
      <p:grpSpPr>
        <a:xfrm>
          <a:off x="0" y="0"/>
          <a:ext cx="0" cy="0"/>
          <a:chOff x="0" y="0"/>
          <a:chExt cx="0" cy="0"/>
        </a:xfrm>
      </p:grpSpPr>
      <p:sp>
        <p:nvSpPr>
          <p:cNvPr id="5" name="Rectangle 4"/>
          <p:cNvSpPr/>
          <p:nvPr userDrawn="1"/>
        </p:nvSpPr>
        <p:spPr>
          <a:xfrm>
            <a:off x="144000" y="144000"/>
            <a:ext cx="8856000" cy="658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dirty="0">
              <a:solidFill>
                <a:srgbClr val="FFFFFF"/>
              </a:solidFill>
            </a:endParaRPr>
          </a:p>
        </p:txBody>
      </p:sp>
      <p:sp>
        <p:nvSpPr>
          <p:cNvPr id="13" name="Title 8"/>
          <p:cNvSpPr>
            <a:spLocks noGrp="1"/>
          </p:cNvSpPr>
          <p:nvPr>
            <p:ph type="title" hasCustomPrompt="1"/>
          </p:nvPr>
        </p:nvSpPr>
        <p:spPr>
          <a:xfrm>
            <a:off x="216001" y="193039"/>
            <a:ext cx="8765651" cy="506116"/>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420057111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Bullet Content 1 with Subtitle">
    <p:spTree>
      <p:nvGrpSpPr>
        <p:cNvPr id="1" name=""/>
        <p:cNvGrpSpPr/>
        <p:nvPr/>
      </p:nvGrpSpPr>
      <p:grpSpPr>
        <a:xfrm>
          <a:off x="0" y="0"/>
          <a:ext cx="0" cy="0"/>
          <a:chOff x="0" y="0"/>
          <a:chExt cx="0" cy="0"/>
        </a:xfrm>
      </p:grpSpPr>
      <p:sp>
        <p:nvSpPr>
          <p:cNvPr id="8" name="Content Placeholder 2"/>
          <p:cNvSpPr>
            <a:spLocks noGrp="1"/>
          </p:cNvSpPr>
          <p:nvPr>
            <p:ph idx="15" hasCustomPrompt="1"/>
          </p:nvPr>
        </p:nvSpPr>
        <p:spPr>
          <a:xfrm>
            <a:off x="237600" y="1495625"/>
            <a:ext cx="7056000" cy="2160000"/>
          </a:xfrm>
          <a:prstGeom prst="rect">
            <a:avLst/>
          </a:prstGeom>
        </p:spPr>
        <p:txBody>
          <a:bodyPr/>
          <a:lstStyle>
            <a:lvl1pPr marL="135000" indent="-135000">
              <a:lnSpc>
                <a:spcPct val="100000"/>
              </a:lnSpc>
              <a:spcBef>
                <a:spcPts val="1200"/>
              </a:spcBef>
              <a:buClr>
                <a:srgbClr val="830051"/>
              </a:buClr>
              <a:buFont typeface="Arial" pitchFamily="34" charset="0"/>
              <a:buChar char="•"/>
              <a:defRPr sz="1800">
                <a:solidFill>
                  <a:schemeClr val="tx1"/>
                </a:solidFill>
                <a:latin typeface="Arial" pitchFamily="34" charset="0"/>
                <a:cs typeface="Arial" pitchFamily="34" charset="0"/>
              </a:defRPr>
            </a:lvl1pPr>
            <a:lvl2pPr marL="360363" indent="-179388" defTabSz="539750">
              <a:lnSpc>
                <a:spcPct val="100000"/>
              </a:lnSpc>
              <a:spcBef>
                <a:spcPts val="600"/>
              </a:spcBef>
              <a:defRPr lang="en-GB" sz="1800" kern="1200" baseline="0" noProof="0" dirty="0" smtClean="0">
                <a:solidFill>
                  <a:schemeClr val="tx1"/>
                </a:solidFill>
                <a:latin typeface="Arial" pitchFamily="34" charset="0"/>
                <a:ea typeface="+mn-ea"/>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marL="540000" lvl="1" indent="-180000" algn="l" defTabSz="457200" rtl="0" eaLnBrk="1" latinLnBrk="0" hangingPunct="1">
              <a:lnSpc>
                <a:spcPct val="150000"/>
              </a:lnSpc>
              <a:spcBef>
                <a:spcPts val="0"/>
              </a:spcBef>
              <a:buFont typeface="Arial"/>
              <a:buChar char="–"/>
            </a:pPr>
            <a:r>
              <a:rPr lang="en-GB" noProof="0" dirty="0"/>
              <a:t>Second level</a:t>
            </a:r>
          </a:p>
          <a:p>
            <a:pPr marL="540000" lvl="1" indent="-180000" algn="l" defTabSz="457200" rtl="0" eaLnBrk="1" latinLnBrk="0" hangingPunct="1">
              <a:lnSpc>
                <a:spcPct val="150000"/>
              </a:lnSpc>
              <a:spcBef>
                <a:spcPts val="0"/>
              </a:spcBef>
              <a:buFont typeface="Arial"/>
              <a:buChar char="–"/>
            </a:pPr>
            <a:r>
              <a:rPr lang="en-GB" noProof="0" dirty="0"/>
              <a:t>Third level</a:t>
            </a:r>
          </a:p>
          <a:p>
            <a:pPr marL="540000" lvl="1" indent="-180000" algn="l" defTabSz="457200" rtl="0" eaLnBrk="1" latinLnBrk="0" hangingPunct="1">
              <a:lnSpc>
                <a:spcPct val="150000"/>
              </a:lnSpc>
              <a:spcBef>
                <a:spcPts val="0"/>
              </a:spcBef>
              <a:buFont typeface="Arial"/>
              <a:buChar char="–"/>
            </a:pPr>
            <a:r>
              <a:rPr lang="en-GB" noProof="0" dirty="0"/>
              <a:t>Fourth level</a:t>
            </a:r>
          </a:p>
        </p:txBody>
      </p:sp>
      <p:sp>
        <p:nvSpPr>
          <p:cNvPr id="5" name="Title 8"/>
          <p:cNvSpPr>
            <a:spLocks noGrp="1"/>
          </p:cNvSpPr>
          <p:nvPr>
            <p:ph type="title" hasCustomPrompt="1"/>
          </p:nvPr>
        </p:nvSpPr>
        <p:spPr>
          <a:xfrm>
            <a:off x="237064" y="192000"/>
            <a:ext cx="8765651" cy="672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3" y="702468"/>
            <a:ext cx="8765651" cy="432000"/>
          </a:xfrm>
          <a:prstGeom prst="rect">
            <a:avLst/>
          </a:prstGeom>
        </p:spPr>
        <p:txBody>
          <a:bodyPr/>
          <a:lstStyle>
            <a:lvl1pPr marL="0" indent="0" algn="l">
              <a:lnSpc>
                <a:spcPct val="100000"/>
              </a:lnSpc>
              <a:spcBef>
                <a:spcPts val="0"/>
              </a:spcBef>
              <a:buNone/>
              <a:defRPr sz="2400">
                <a:solidFill>
                  <a:srgbClr val="830051"/>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7" name="Slide Number Placeholder 5"/>
          <p:cNvSpPr>
            <a:spLocks noGrp="1"/>
          </p:cNvSpPr>
          <p:nvPr>
            <p:ph type="sldNum" sz="quarter" idx="4"/>
          </p:nvPr>
        </p:nvSpPr>
        <p:spPr>
          <a:xfrm>
            <a:off x="8547444" y="6622400"/>
            <a:ext cx="396000" cy="216000"/>
          </a:xfrm>
          <a:prstGeom prst="rect">
            <a:avLst/>
          </a:prstGeom>
        </p:spPr>
        <p:txBody>
          <a:bodyPr vert="horz" lIns="0" tIns="0" rIns="0" bIns="0" rtlCol="0" anchor="b" anchorCtr="0"/>
          <a:lstStyle>
            <a:lvl1pPr algn="r">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0" name="Text Placeholder 2"/>
          <p:cNvSpPr>
            <a:spLocks noGrp="1"/>
          </p:cNvSpPr>
          <p:nvPr>
            <p:ph type="body" sz="quarter" idx="16"/>
          </p:nvPr>
        </p:nvSpPr>
        <p:spPr>
          <a:xfrm>
            <a:off x="113767" y="6028269"/>
            <a:ext cx="3865562" cy="328084"/>
          </a:xfrm>
          <a:prstGeom prst="rect">
            <a:avLst/>
          </a:prstGeom>
        </p:spPr>
        <p:txBody>
          <a:bodyPr anchor="b"/>
          <a:lstStyle>
            <a:lvl1pPr marL="0" indent="0">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
        <p:nvSpPr>
          <p:cNvPr id="11" name="Text Placeholder 2"/>
          <p:cNvSpPr>
            <a:spLocks noGrp="1"/>
          </p:cNvSpPr>
          <p:nvPr>
            <p:ph type="body" sz="quarter" idx="17"/>
          </p:nvPr>
        </p:nvSpPr>
        <p:spPr>
          <a:xfrm>
            <a:off x="113767" y="6507339"/>
            <a:ext cx="3865562" cy="328084"/>
          </a:xfrm>
          <a:prstGeom prst="rect">
            <a:avLst/>
          </a:prstGeom>
        </p:spPr>
        <p:txBody>
          <a:bodyPr anchor="b"/>
          <a:lstStyle>
            <a:lvl1pPr marL="0" indent="0">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99353437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1"/>
          <p:cNvSpPr>
            <a:spLocks noGrp="1"/>
          </p:cNvSpPr>
          <p:nvPr>
            <p:ph type="title"/>
          </p:nvPr>
        </p:nvSpPr>
        <p:spPr>
          <a:xfrm>
            <a:off x="571500" y="0"/>
            <a:ext cx="8229600" cy="1199408"/>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5517585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685640"/>
            <a:ext cx="4086000" cy="216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GB" noProof="0" dirty="0"/>
              <a:t>Click to edit Master text styles</a:t>
            </a:r>
          </a:p>
        </p:txBody>
      </p:sp>
      <p:sp>
        <p:nvSpPr>
          <p:cNvPr id="8" name="Content Placeholder 2"/>
          <p:cNvSpPr>
            <a:spLocks noGrp="1"/>
          </p:cNvSpPr>
          <p:nvPr>
            <p:ph idx="14" hasCustomPrompt="1"/>
          </p:nvPr>
        </p:nvSpPr>
        <p:spPr>
          <a:xfrm>
            <a:off x="4680000" y="1573385"/>
            <a:ext cx="4086000" cy="2160000"/>
          </a:xfrm>
          <a:prstGeom prst="rect">
            <a:avLst/>
          </a:prstGeom>
        </p:spPr>
        <p:txBody>
          <a:bodyPr/>
          <a:lstStyle>
            <a:lvl1pPr marL="180000" indent="-180000">
              <a:lnSpc>
                <a:spcPct val="15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5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6"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236556315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750503"/>
            <a:ext cx="3542400" cy="2042057"/>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922" y="4033952"/>
            <a:ext cx="3543319" cy="912781"/>
          </a:xfrm>
          <a:extLst/>
        </p:spPr>
        <p:txBody>
          <a:bodyPr rIns="0"/>
          <a:lstStyle>
            <a:lvl1pPr marL="0" indent="0" algn="r">
              <a:buFontTx/>
              <a:buNone/>
              <a:defRPr sz="1400"/>
            </a:lvl1pPr>
          </a:lstStyle>
          <a:p>
            <a:pPr lvl="0"/>
            <a:r>
              <a:rPr lang="en-US" noProof="0"/>
              <a:t>Click to edit Master subtitle style</a:t>
            </a:r>
            <a:endParaRPr lang="en-GB" noProof="0" dirty="0"/>
          </a:p>
        </p:txBody>
      </p:sp>
      <p:sp>
        <p:nvSpPr>
          <p:cNvPr id="4" name="Rectangle 23"/>
          <p:cNvSpPr>
            <a:spLocks noGrp="1" noChangeArrowheads="1"/>
          </p:cNvSpPr>
          <p:nvPr>
            <p:ph type="sldNum" sz="quarter" idx="10"/>
          </p:nvPr>
        </p:nvSpPr>
        <p:spPr/>
        <p:txBody>
          <a:bodyPr/>
          <a:lstStyle>
            <a:lvl1pPr>
              <a:defRPr/>
            </a:lvl1pPr>
          </a:lstStyle>
          <a:p>
            <a:pPr>
              <a:defRPr/>
            </a:pPr>
            <a:fld id="{526361E1-FBDA-448E-A3C9-CA62A00AC35D}" type="slidenum">
              <a:rPr lang="en-GB"/>
              <a:pPr>
                <a:defRPr/>
              </a:pPr>
              <a:t>‹#›</a:t>
            </a:fld>
            <a:endParaRPr lang="en-GB"/>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t>Presentation title</a:t>
            </a:r>
          </a:p>
        </p:txBody>
      </p:sp>
      <p:sp>
        <p:nvSpPr>
          <p:cNvPr id="6"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2845862235"/>
      </p:ext>
    </p:extLst>
  </p:cSld>
  <p:clrMapOvr>
    <a:masterClrMapping/>
  </p:clrMapOv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p:txBody>
          <a:bodyPr/>
          <a:lstStyle>
            <a:lvl1pPr>
              <a:defRPr/>
            </a:lvl1pPr>
          </a:lstStyle>
          <a:p>
            <a:pPr>
              <a:defRPr/>
            </a:pPr>
            <a:fld id="{82775C9F-5975-424C-8FBD-DAE04EDFABC7}" type="slidenum">
              <a:rPr lang="en-GB"/>
              <a:pPr>
                <a:defRPr/>
              </a:pPr>
              <a:t>‹#›</a:t>
            </a:fld>
            <a:endParaRPr lang="en-GB"/>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967489835"/>
      </p:ext>
    </p:extLst>
  </p:cSld>
  <p:clrMapOvr>
    <a:masterClrMapping/>
  </p:clrMapOv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rompet">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316800" y="514567"/>
            <a:ext cx="8510400" cy="171520"/>
          </a:xfrm>
          <a:extLst/>
        </p:spPr>
        <p:txBody>
          <a:bodyPr wrap="none" lIns="18000" anchor="ctr">
            <a:noAutofit/>
          </a:bodyPr>
          <a:lstStyle>
            <a:lvl1pPr marL="0" indent="0" algn="l">
              <a:buFontTx/>
              <a:buNone/>
              <a:defRPr sz="1100" baseline="0"/>
            </a:lvl1pPr>
          </a:lstStyle>
          <a:p>
            <a:pPr lvl="0"/>
            <a:r>
              <a:rPr lang="en-US" noProof="0"/>
              <a:t>Click to edit Master subtitle style</a:t>
            </a:r>
            <a:endParaRPr lang="en-GB" noProof="0" dirty="0"/>
          </a:p>
        </p:txBody>
      </p:sp>
      <p:sp>
        <p:nvSpPr>
          <p:cNvPr id="10"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15"/>
          </p:nvPr>
        </p:nvSpPr>
        <p:spPr/>
        <p:txBody>
          <a:bodyPr/>
          <a:lstStyle>
            <a:lvl1pPr>
              <a:defRPr/>
            </a:lvl1pPr>
          </a:lstStyle>
          <a:p>
            <a:pPr>
              <a:defRPr/>
            </a:pPr>
            <a:fld id="{7BC06884-5B60-454B-AF36-010CFC2335FD}" type="slidenum">
              <a:rPr lang="en-GB"/>
              <a:pPr>
                <a:defRPr/>
              </a:pPr>
              <a:t>‹#›</a:t>
            </a:fld>
            <a:endParaRPr lang="en-GB"/>
          </a:p>
        </p:txBody>
      </p:sp>
      <p:sp>
        <p:nvSpPr>
          <p:cNvPr id="6" name="Rectangle 7"/>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807755359"/>
      </p:ext>
    </p:extLst>
  </p:cSld>
  <p:clrMapOvr>
    <a:masterClrMapping/>
  </p:clrMapOv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316800" y="1209178"/>
            <a:ext cx="8510400" cy="266301"/>
          </a:xfrm>
          <a:extLst/>
        </p:spPr>
        <p:txBody>
          <a:bodyPr wrap="none" lIns="18000" anchor="ctr"/>
          <a:lstStyle>
            <a:lvl1pPr marL="0" indent="0" algn="l">
              <a:buFontTx/>
              <a:buNone/>
              <a:defRPr sz="1100" baseline="0"/>
            </a:lvl1pPr>
          </a:lstStyle>
          <a:p>
            <a:pPr lvl="0"/>
            <a:r>
              <a:rPr lang="en-US" noProof="0"/>
              <a:t>Click to edit Master subtitle style</a:t>
            </a:r>
            <a:endParaRPr lang="en-GB" noProof="0" dirty="0"/>
          </a:p>
        </p:txBody>
      </p:sp>
      <p:sp>
        <p:nvSpPr>
          <p:cNvPr id="13"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15"/>
          </p:nvPr>
        </p:nvSpPr>
        <p:spPr/>
        <p:txBody>
          <a:bodyPr/>
          <a:lstStyle>
            <a:lvl1pPr>
              <a:defRPr/>
            </a:lvl1pPr>
          </a:lstStyle>
          <a:p>
            <a:pPr>
              <a:defRPr/>
            </a:pPr>
            <a:fld id="{99789683-90AA-41B4-A37D-CE2B6E0A4EB5}" type="slidenum">
              <a:rPr lang="en-GB"/>
              <a:pPr>
                <a:defRPr/>
              </a:pPr>
              <a:t>‹#›</a:t>
            </a:fld>
            <a:endParaRPr lang="en-GB"/>
          </a:p>
        </p:txBody>
      </p:sp>
      <p:sp>
        <p:nvSpPr>
          <p:cNvPr id="6" name="Rectangle 7"/>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99442164"/>
      </p:ext>
    </p:extLst>
  </p:cSld>
  <p:clrMapOvr>
    <a:masterClrMapping/>
  </p:clrMapOv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318833" y="687240"/>
            <a:ext cx="6692499" cy="5006607"/>
          </a:xfrm>
        </p:spPr>
        <p:txBody>
          <a:bodyPr tIns="57600" anchor="t"/>
          <a:lstStyle>
            <a:lvl1pPr>
              <a:lnSpc>
                <a:spcPct val="90000"/>
              </a:lnSpc>
              <a:defRPr sz="6000" spc="-150"/>
            </a:lvl1pPr>
          </a:lstStyle>
          <a:p>
            <a:r>
              <a:rPr lang="en-US" noProof="0"/>
              <a:t>Click to edit Master title style</a:t>
            </a:r>
            <a:endParaRPr lang="en-GB" noProof="0" dirty="0"/>
          </a:p>
        </p:txBody>
      </p:sp>
      <p:sp>
        <p:nvSpPr>
          <p:cNvPr id="3" name="Rectangle 23"/>
          <p:cNvSpPr>
            <a:spLocks noGrp="1" noChangeArrowheads="1"/>
          </p:cNvSpPr>
          <p:nvPr>
            <p:ph type="sldNum" sz="quarter" idx="10"/>
          </p:nvPr>
        </p:nvSpPr>
        <p:spPr/>
        <p:txBody>
          <a:bodyPr/>
          <a:lstStyle>
            <a:lvl1pPr>
              <a:defRPr/>
            </a:lvl1pPr>
          </a:lstStyle>
          <a:p>
            <a:pPr>
              <a:defRPr/>
            </a:pPr>
            <a:fld id="{EFB316F9-C18D-4725-812B-6103E4F8E0E5}" type="slidenum">
              <a:rPr lang="en-GB"/>
              <a:pPr>
                <a:defRPr/>
              </a:pPr>
              <a:t>‹#›</a:t>
            </a:fld>
            <a:endParaRPr lang="en-GB"/>
          </a:p>
        </p:txBody>
      </p:sp>
      <p:sp>
        <p:nvSpPr>
          <p:cNvPr id="4"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t>Presentation title</a:t>
            </a:r>
          </a:p>
        </p:txBody>
      </p:sp>
      <p:sp>
        <p:nvSpPr>
          <p:cNvPr id="5"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2778572367"/>
      </p:ext>
    </p:extLst>
  </p:cSld>
  <p:clrMapOvr>
    <a:masterClrMapping/>
  </p:clrMapOv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687230"/>
            <a:ext cx="8510400" cy="521883"/>
          </a:xfrm>
        </p:spPr>
        <p:txBody>
          <a:bodyPr/>
          <a:lstStyle>
            <a:lvl1pPr>
              <a:defRPr sz="2400"/>
            </a:lvl1pPr>
          </a:lstStyle>
          <a:p>
            <a:r>
              <a:rPr lang="en-US" noProof="0" dirty="0"/>
              <a:t>Click to edit Master title style</a:t>
            </a:r>
            <a:endParaRPr lang="en-GB" noProof="0" dirty="0"/>
          </a:p>
        </p:txBody>
      </p:sp>
      <p:sp>
        <p:nvSpPr>
          <p:cNvPr id="36" name="Content Placeholder 2"/>
          <p:cNvSpPr>
            <a:spLocks noGrp="1"/>
          </p:cNvSpPr>
          <p:nvPr>
            <p:ph idx="1"/>
          </p:nvPr>
        </p:nvSpPr>
        <p:spPr>
          <a:xfrm>
            <a:off x="316801" y="1749631"/>
            <a:ext cx="40968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749631"/>
            <a:ext cx="40968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11"/>
          </p:nvPr>
        </p:nvSpPr>
        <p:spPr/>
        <p:txBody>
          <a:bodyPr/>
          <a:lstStyle>
            <a:lvl1pPr>
              <a:defRPr/>
            </a:lvl1pPr>
          </a:lstStyle>
          <a:p>
            <a:pPr>
              <a:defRPr/>
            </a:pPr>
            <a:fld id="{CC8A4378-1874-428A-9E72-9255B158CB5E}" type="slidenum">
              <a:rPr lang="en-GB"/>
              <a:pPr>
                <a:defRPr/>
              </a:pPr>
              <a:t>‹#›</a:t>
            </a:fld>
            <a:endParaRPr lang="en-GB"/>
          </a:p>
        </p:txBody>
      </p:sp>
      <p:sp>
        <p:nvSpPr>
          <p:cNvPr id="6" name="Rectangle 7"/>
          <p:cNvSpPr>
            <a:spLocks noGrp="1" noChangeArrowheads="1"/>
          </p:cNvSpPr>
          <p:nvPr>
            <p:ph type="ftr" sz="quarter" idx="12"/>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3"/>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441156214"/>
      </p:ext>
    </p:extLst>
  </p:cSld>
  <p:clrMapOvr>
    <a:masterClrMapping/>
  </p:clrMapOv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24" name="Content Placeholder 2"/>
          <p:cNvSpPr>
            <a:spLocks noGrp="1"/>
          </p:cNvSpPr>
          <p:nvPr>
            <p:ph idx="1"/>
          </p:nvPr>
        </p:nvSpPr>
        <p:spPr>
          <a:xfrm>
            <a:off x="316800" y="1749661"/>
            <a:ext cx="8510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
          <p:cNvSpPr>
            <a:spLocks noGrp="1"/>
          </p:cNvSpPr>
          <p:nvPr>
            <p:ph idx="25"/>
          </p:nvPr>
        </p:nvSpPr>
        <p:spPr>
          <a:xfrm>
            <a:off x="316800" y="3831336"/>
            <a:ext cx="8510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26"/>
          </p:nvPr>
        </p:nvSpPr>
        <p:spPr/>
        <p:txBody>
          <a:bodyPr/>
          <a:lstStyle>
            <a:lvl1pPr>
              <a:defRPr/>
            </a:lvl1pPr>
          </a:lstStyle>
          <a:p>
            <a:pPr>
              <a:defRPr/>
            </a:pPr>
            <a:fld id="{63241552-FA46-4655-9DA3-6E4692519BE0}" type="slidenum">
              <a:rPr lang="en-GB"/>
              <a:pPr>
                <a:defRPr/>
              </a:pPr>
              <a:t>‹#›</a:t>
            </a:fld>
            <a:endParaRPr lang="en-GB"/>
          </a:p>
        </p:txBody>
      </p:sp>
      <p:sp>
        <p:nvSpPr>
          <p:cNvPr id="6" name="Rectangle 7"/>
          <p:cNvSpPr>
            <a:spLocks noGrp="1" noChangeArrowheads="1"/>
          </p:cNvSpPr>
          <p:nvPr>
            <p:ph type="ftr" sz="quarter" idx="27"/>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28"/>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665393920"/>
      </p:ext>
    </p:extLst>
  </p:cSld>
  <p:clrMapOvr>
    <a:masterClrMapping/>
  </p:clrMapOv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27" name="Content Placeholder 2"/>
          <p:cNvSpPr>
            <a:spLocks noGrp="1"/>
          </p:cNvSpPr>
          <p:nvPr>
            <p:ph idx="1"/>
          </p:nvPr>
        </p:nvSpPr>
        <p:spPr>
          <a:xfrm>
            <a:off x="316800" y="1749631"/>
            <a:ext cx="2623250" cy="3941052"/>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
          <p:cNvSpPr>
            <a:spLocks noGrp="1"/>
          </p:cNvSpPr>
          <p:nvPr>
            <p:ph idx="10"/>
          </p:nvPr>
        </p:nvSpPr>
        <p:spPr>
          <a:xfrm>
            <a:off x="3260377" y="1749631"/>
            <a:ext cx="2623250" cy="3941052"/>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Content Placeholder 2"/>
          <p:cNvSpPr>
            <a:spLocks noGrp="1"/>
          </p:cNvSpPr>
          <p:nvPr>
            <p:ph idx="11"/>
          </p:nvPr>
        </p:nvSpPr>
        <p:spPr>
          <a:xfrm>
            <a:off x="6203950" y="1749631"/>
            <a:ext cx="2623250" cy="3941052"/>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Rectangle 23"/>
          <p:cNvSpPr>
            <a:spLocks noGrp="1" noChangeArrowheads="1"/>
          </p:cNvSpPr>
          <p:nvPr>
            <p:ph type="sldNum" sz="quarter" idx="12"/>
          </p:nvPr>
        </p:nvSpPr>
        <p:spPr/>
        <p:txBody>
          <a:bodyPr/>
          <a:lstStyle>
            <a:lvl1pPr>
              <a:defRPr/>
            </a:lvl1pPr>
          </a:lstStyle>
          <a:p>
            <a:pPr>
              <a:defRPr/>
            </a:pPr>
            <a:fld id="{FC2E03BD-7867-40B5-876E-3F67F7AC2B71}" type="slidenum">
              <a:rPr lang="en-GB"/>
              <a:pPr>
                <a:defRPr/>
              </a:pPr>
              <a:t>‹#›</a:t>
            </a:fld>
            <a:endParaRPr lang="en-GB"/>
          </a:p>
        </p:txBody>
      </p:sp>
      <p:sp>
        <p:nvSpPr>
          <p:cNvPr id="7" name="Rectangle 5"/>
          <p:cNvSpPr>
            <a:spLocks noGrp="1" noChangeArrowheads="1"/>
          </p:cNvSpPr>
          <p:nvPr>
            <p:ph type="ftr" sz="quarter" idx="13"/>
          </p:nvPr>
        </p:nvSpPr>
        <p:spPr/>
        <p:txBody>
          <a:bodyPr/>
          <a:lstStyle>
            <a:lvl1pPr fontAlgn="auto">
              <a:spcBef>
                <a:spcPts val="0"/>
              </a:spcBef>
              <a:spcAft>
                <a:spcPts val="0"/>
              </a:spcAft>
              <a:defRPr>
                <a:ea typeface="+mn-ea"/>
              </a:defRPr>
            </a:lvl1pPr>
          </a:lstStyle>
          <a:p>
            <a:pPr>
              <a:defRPr/>
            </a:pPr>
            <a:r>
              <a:rPr lang="en-GB"/>
              <a:t>Presentation title</a:t>
            </a:r>
          </a:p>
        </p:txBody>
      </p:sp>
      <p:sp>
        <p:nvSpPr>
          <p:cNvPr id="8" name="Rectangle 81"/>
          <p:cNvSpPr>
            <a:spLocks noGrp="1" noChangeArrowheads="1"/>
          </p:cNvSpPr>
          <p:nvPr>
            <p:ph type="dt" sz="half" idx="14"/>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725110866"/>
      </p:ext>
    </p:extLst>
  </p:cSld>
  <p:clrMapOvr>
    <a:masterClrMapping/>
  </p:clrMapOv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13"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37" name="Content Placeholder 2"/>
          <p:cNvSpPr>
            <a:spLocks noGrp="1"/>
          </p:cNvSpPr>
          <p:nvPr>
            <p:ph idx="1"/>
          </p:nvPr>
        </p:nvSpPr>
        <p:spPr>
          <a:xfrm>
            <a:off x="316811" y="1749631"/>
            <a:ext cx="1888237" cy="3941052"/>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0"/>
          </p:nvPr>
        </p:nvSpPr>
        <p:spPr>
          <a:xfrm>
            <a:off x="2521841" y="1749631"/>
            <a:ext cx="1888237" cy="3941052"/>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1"/>
          </p:nvPr>
        </p:nvSpPr>
        <p:spPr>
          <a:xfrm>
            <a:off x="4726892" y="1749631"/>
            <a:ext cx="1888237" cy="3941052"/>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0" name="Content Placeholder 2"/>
          <p:cNvSpPr>
            <a:spLocks noGrp="1"/>
          </p:cNvSpPr>
          <p:nvPr>
            <p:ph idx="12"/>
          </p:nvPr>
        </p:nvSpPr>
        <p:spPr>
          <a:xfrm>
            <a:off x="6939011" y="1749631"/>
            <a:ext cx="1888237" cy="3941052"/>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Rectangle 23"/>
          <p:cNvSpPr>
            <a:spLocks noGrp="1" noChangeArrowheads="1"/>
          </p:cNvSpPr>
          <p:nvPr>
            <p:ph type="sldNum" sz="quarter" idx="13"/>
          </p:nvPr>
        </p:nvSpPr>
        <p:spPr/>
        <p:txBody>
          <a:bodyPr/>
          <a:lstStyle>
            <a:lvl1pPr>
              <a:defRPr/>
            </a:lvl1pPr>
          </a:lstStyle>
          <a:p>
            <a:pPr>
              <a:defRPr/>
            </a:pPr>
            <a:fld id="{993FBCE7-1EE9-4354-BF64-C4633E474CE4}" type="slidenum">
              <a:rPr lang="en-GB"/>
              <a:pPr>
                <a:defRPr/>
              </a:pPr>
              <a:t>‹#›</a:t>
            </a:fld>
            <a:endParaRPr lang="en-GB"/>
          </a:p>
        </p:txBody>
      </p:sp>
      <p:sp>
        <p:nvSpPr>
          <p:cNvPr id="8" name="Rectangle 5"/>
          <p:cNvSpPr>
            <a:spLocks noGrp="1" noChangeArrowheads="1"/>
          </p:cNvSpPr>
          <p:nvPr>
            <p:ph type="ftr" sz="quarter" idx="14"/>
          </p:nvPr>
        </p:nvSpPr>
        <p:spPr/>
        <p:txBody>
          <a:bodyPr/>
          <a:lstStyle>
            <a:lvl1pPr fontAlgn="auto">
              <a:spcBef>
                <a:spcPts val="0"/>
              </a:spcBef>
              <a:spcAft>
                <a:spcPts val="0"/>
              </a:spcAft>
              <a:defRPr>
                <a:ea typeface="+mn-ea"/>
              </a:defRPr>
            </a:lvl1pPr>
          </a:lstStyle>
          <a:p>
            <a:pPr>
              <a:defRPr/>
            </a:pPr>
            <a:r>
              <a:rPr lang="en-GB"/>
              <a:t>Presentation title</a:t>
            </a:r>
          </a:p>
        </p:txBody>
      </p:sp>
      <p:sp>
        <p:nvSpPr>
          <p:cNvPr id="9" name="Rectangle 81"/>
          <p:cNvSpPr>
            <a:spLocks noGrp="1" noChangeArrowheads="1"/>
          </p:cNvSpPr>
          <p:nvPr>
            <p:ph type="dt" sz="half" idx="15"/>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953391907"/>
      </p:ext>
    </p:extLst>
  </p:cSld>
  <p:clrMapOvr>
    <a:masterClrMapping/>
  </p:clrMapOv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10" name="Content Placeholder 2"/>
          <p:cNvSpPr>
            <a:spLocks noGrp="1"/>
          </p:cNvSpPr>
          <p:nvPr>
            <p:ph idx="10"/>
          </p:nvPr>
        </p:nvSpPr>
        <p:spPr>
          <a:xfrm>
            <a:off x="4730400" y="1749661"/>
            <a:ext cx="40968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2"/>
          <p:cNvSpPr>
            <a:spLocks noGrp="1"/>
          </p:cNvSpPr>
          <p:nvPr>
            <p:ph idx="26"/>
          </p:nvPr>
        </p:nvSpPr>
        <p:spPr>
          <a:xfrm>
            <a:off x="316801" y="1749661"/>
            <a:ext cx="40968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2"/>
          <p:cNvSpPr>
            <a:spLocks noGrp="1"/>
          </p:cNvSpPr>
          <p:nvPr>
            <p:ph idx="27"/>
          </p:nvPr>
        </p:nvSpPr>
        <p:spPr>
          <a:xfrm>
            <a:off x="4729512" y="3831346"/>
            <a:ext cx="40968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
          <p:cNvSpPr>
            <a:spLocks noGrp="1"/>
          </p:cNvSpPr>
          <p:nvPr>
            <p:ph idx="28"/>
          </p:nvPr>
        </p:nvSpPr>
        <p:spPr>
          <a:xfrm>
            <a:off x="315913" y="3831346"/>
            <a:ext cx="40968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Rectangle 23"/>
          <p:cNvSpPr>
            <a:spLocks noGrp="1" noChangeArrowheads="1"/>
          </p:cNvSpPr>
          <p:nvPr>
            <p:ph type="sldNum" sz="quarter" idx="29"/>
          </p:nvPr>
        </p:nvSpPr>
        <p:spPr/>
        <p:txBody>
          <a:bodyPr/>
          <a:lstStyle>
            <a:lvl1pPr>
              <a:defRPr/>
            </a:lvl1pPr>
          </a:lstStyle>
          <a:p>
            <a:pPr>
              <a:defRPr/>
            </a:pPr>
            <a:fld id="{D6BDD731-AB68-49E3-AF79-74330FD6048E}" type="slidenum">
              <a:rPr lang="en-GB"/>
              <a:pPr>
                <a:defRPr/>
              </a:pPr>
              <a:t>‹#›</a:t>
            </a:fld>
            <a:endParaRPr lang="en-GB"/>
          </a:p>
        </p:txBody>
      </p:sp>
      <p:sp>
        <p:nvSpPr>
          <p:cNvPr id="8" name="Rectangle 5"/>
          <p:cNvSpPr>
            <a:spLocks noGrp="1" noChangeArrowheads="1"/>
          </p:cNvSpPr>
          <p:nvPr>
            <p:ph type="ftr" sz="quarter" idx="30"/>
          </p:nvPr>
        </p:nvSpPr>
        <p:spPr/>
        <p:txBody>
          <a:bodyPr/>
          <a:lstStyle>
            <a:lvl1pPr fontAlgn="auto">
              <a:spcBef>
                <a:spcPts val="0"/>
              </a:spcBef>
              <a:spcAft>
                <a:spcPts val="0"/>
              </a:spcAft>
              <a:defRPr>
                <a:ea typeface="+mn-ea"/>
              </a:defRPr>
            </a:lvl1pPr>
          </a:lstStyle>
          <a:p>
            <a:pPr>
              <a:defRPr/>
            </a:pPr>
            <a:r>
              <a:rPr lang="en-GB"/>
              <a:t>Presentation title</a:t>
            </a:r>
          </a:p>
        </p:txBody>
      </p:sp>
      <p:sp>
        <p:nvSpPr>
          <p:cNvPr id="9" name="Rectangle 81"/>
          <p:cNvSpPr>
            <a:spLocks noGrp="1" noChangeArrowheads="1"/>
          </p:cNvSpPr>
          <p:nvPr>
            <p:ph type="dt" sz="half" idx="31"/>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240372463"/>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685640"/>
            <a:ext cx="4086000" cy="216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GB" noProof="0" dirty="0"/>
              <a:t>Click to edit Master text styles</a:t>
            </a:r>
          </a:p>
        </p:txBody>
      </p:sp>
      <p:sp>
        <p:nvSpPr>
          <p:cNvPr id="8" name="Content Placeholder 2"/>
          <p:cNvSpPr>
            <a:spLocks noGrp="1"/>
          </p:cNvSpPr>
          <p:nvPr>
            <p:ph idx="14" hasCustomPrompt="1"/>
          </p:nvPr>
        </p:nvSpPr>
        <p:spPr>
          <a:xfrm>
            <a:off x="4680000" y="1574500"/>
            <a:ext cx="4086000" cy="2160000"/>
          </a:xfrm>
          <a:prstGeom prst="rect">
            <a:avLst/>
          </a:prstGeom>
        </p:spPr>
        <p:txBody>
          <a:bodyPr/>
          <a:lstStyle>
            <a:lvl1pPr marL="180000" indent="-180000">
              <a:lnSpc>
                <a:spcPct val="15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5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5" hasCustomPrompt="1"/>
          </p:nvPr>
        </p:nvSpPr>
        <p:spPr>
          <a:xfrm>
            <a:off x="4678499" y="3797659"/>
            <a:ext cx="4086000" cy="2160000"/>
          </a:xfrm>
          <a:prstGeom prst="rect">
            <a:avLst/>
          </a:prstGeom>
        </p:spPr>
        <p:txBody>
          <a:bodyPr/>
          <a:lstStyle>
            <a:lvl1pPr marL="180000" indent="-180000">
              <a:lnSpc>
                <a:spcPct val="15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5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0"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2"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61795354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6 placeholders horizontal">
    <p:spTree>
      <p:nvGrpSpPr>
        <p:cNvPr id="1" name=""/>
        <p:cNvGrpSpPr/>
        <p:nvPr/>
      </p:nvGrpSpPr>
      <p:grpSpPr>
        <a:xfrm>
          <a:off x="0" y="0"/>
          <a:ext cx="0" cy="0"/>
          <a:chOff x="0" y="0"/>
          <a:chExt cx="0" cy="0"/>
        </a:xfrm>
      </p:grpSpPr>
      <p:sp>
        <p:nvSpPr>
          <p:cNvPr id="21"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33" name="Content Placeholder 2"/>
          <p:cNvSpPr>
            <a:spLocks noGrp="1"/>
          </p:cNvSpPr>
          <p:nvPr>
            <p:ph idx="1"/>
          </p:nvPr>
        </p:nvSpPr>
        <p:spPr>
          <a:xfrm>
            <a:off x="316800" y="1749661"/>
            <a:ext cx="2623250" cy="1862527"/>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4" name="Content Placeholder 2"/>
          <p:cNvSpPr>
            <a:spLocks noGrp="1"/>
          </p:cNvSpPr>
          <p:nvPr>
            <p:ph idx="10"/>
          </p:nvPr>
        </p:nvSpPr>
        <p:spPr>
          <a:xfrm>
            <a:off x="3260377" y="1749661"/>
            <a:ext cx="2623250" cy="1862527"/>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5" name="Content Placeholder 2"/>
          <p:cNvSpPr>
            <a:spLocks noGrp="1"/>
          </p:cNvSpPr>
          <p:nvPr>
            <p:ph idx="11"/>
          </p:nvPr>
        </p:nvSpPr>
        <p:spPr>
          <a:xfrm>
            <a:off x="6203950" y="1749661"/>
            <a:ext cx="2623250" cy="1862527"/>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2"/>
          </p:nvPr>
        </p:nvSpPr>
        <p:spPr>
          <a:xfrm>
            <a:off x="316800" y="3831346"/>
            <a:ext cx="2623250" cy="1862527"/>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3"/>
          </p:nvPr>
        </p:nvSpPr>
        <p:spPr>
          <a:xfrm>
            <a:off x="3260377" y="3831346"/>
            <a:ext cx="2623250" cy="1862527"/>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4"/>
          </p:nvPr>
        </p:nvSpPr>
        <p:spPr>
          <a:xfrm>
            <a:off x="6203950" y="3831346"/>
            <a:ext cx="2623250" cy="1862527"/>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Rectangle 23"/>
          <p:cNvSpPr>
            <a:spLocks noGrp="1" noChangeArrowheads="1"/>
          </p:cNvSpPr>
          <p:nvPr>
            <p:ph type="sldNum" sz="quarter" idx="15"/>
          </p:nvPr>
        </p:nvSpPr>
        <p:spPr/>
        <p:txBody>
          <a:bodyPr/>
          <a:lstStyle>
            <a:lvl1pPr>
              <a:defRPr/>
            </a:lvl1pPr>
          </a:lstStyle>
          <a:p>
            <a:pPr>
              <a:defRPr/>
            </a:pPr>
            <a:fld id="{91B1DE37-7040-4087-BBDD-CF5C0FE76811}" type="slidenum">
              <a:rPr lang="en-GB"/>
              <a:pPr>
                <a:defRPr/>
              </a:pPr>
              <a:t>‹#›</a:t>
            </a:fld>
            <a:endParaRPr lang="en-GB"/>
          </a:p>
        </p:txBody>
      </p:sp>
      <p:sp>
        <p:nvSpPr>
          <p:cNvPr id="10" name="Rectangle 5"/>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11"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275936429"/>
      </p:ext>
    </p:extLst>
  </p:cSld>
  <p:clrMapOvr>
    <a:masterClrMapping/>
  </p:clrMapOv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6858000"/>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3" name="Rectangle 5"/>
          <p:cNvSpPr>
            <a:spLocks noGrp="1" noChangeArrowheads="1"/>
          </p:cNvSpPr>
          <p:nvPr>
            <p:ph type="ftr" sz="quarter" idx="15"/>
          </p:nvPr>
        </p:nvSpPr>
        <p:spPr/>
        <p:txBody>
          <a:bodyPr/>
          <a:lstStyle>
            <a:lvl1pPr fontAlgn="auto">
              <a:spcBef>
                <a:spcPts val="0"/>
              </a:spcBef>
              <a:spcAft>
                <a:spcPts val="0"/>
              </a:spcAft>
              <a:defRPr>
                <a:solidFill>
                  <a:srgbClr val="FFFFFF"/>
                </a:solidFill>
                <a:ea typeface="+mn-ea"/>
              </a:defRPr>
            </a:lvl1pPr>
          </a:lstStyle>
          <a:p>
            <a:pPr>
              <a:defRPr/>
            </a:pPr>
            <a:r>
              <a:rPr lang="en-GB"/>
              <a:t>Presentation title</a:t>
            </a:r>
          </a:p>
        </p:txBody>
      </p:sp>
      <p:sp>
        <p:nvSpPr>
          <p:cNvPr id="4" name="Rectangle 81"/>
          <p:cNvSpPr>
            <a:spLocks noGrp="1" noChangeArrowheads="1"/>
          </p:cNvSpPr>
          <p:nvPr>
            <p:ph type="dt" sz="half" idx="16"/>
          </p:nvPr>
        </p:nvSpPr>
        <p:spPr/>
        <p:txBody>
          <a:bodyPr/>
          <a:lstStyle>
            <a:lvl1pPr fontAlgn="auto">
              <a:spcBef>
                <a:spcPts val="0"/>
              </a:spcBef>
              <a:spcAft>
                <a:spcPts val="0"/>
              </a:spcAft>
              <a:defRPr>
                <a:solidFill>
                  <a:srgbClr val="FFFFFF"/>
                </a:solidFill>
                <a:ea typeface="+mn-ea"/>
              </a:defRPr>
            </a:lvl1pPr>
          </a:lstStyle>
          <a:p>
            <a:pPr>
              <a:defRPr/>
            </a:pPr>
            <a:r>
              <a:rPr lang="en-GB"/>
              <a:t>Date</a:t>
            </a:r>
          </a:p>
        </p:txBody>
      </p:sp>
      <p:sp>
        <p:nvSpPr>
          <p:cNvPr id="5" name="Slide Number Placeholder 23"/>
          <p:cNvSpPr>
            <a:spLocks noGrp="1" noChangeArrowheads="1"/>
          </p:cNvSpPr>
          <p:nvPr>
            <p:ph type="sldNum" sz="quarter" idx="17"/>
          </p:nvPr>
        </p:nvSpPr>
        <p:spPr/>
        <p:txBody>
          <a:bodyPr/>
          <a:lstStyle>
            <a:lvl1pPr>
              <a:defRPr>
                <a:solidFill>
                  <a:srgbClr val="FFFFFF"/>
                </a:solidFill>
              </a:defRPr>
            </a:lvl1pPr>
          </a:lstStyle>
          <a:p>
            <a:pPr>
              <a:defRPr/>
            </a:pPr>
            <a:fld id="{BC56B6F4-0BD6-4221-953E-B1495DADF21D}" type="slidenum">
              <a:rPr lang="en-GB"/>
              <a:pPr>
                <a:defRPr/>
              </a:pPr>
              <a:t>‹#›</a:t>
            </a:fld>
            <a:endParaRPr lang="en-GB"/>
          </a:p>
        </p:txBody>
      </p:sp>
    </p:spTree>
    <p:extLst>
      <p:ext uri="{BB962C8B-B14F-4D97-AF65-F5344CB8AC3E}">
        <p14:creationId xmlns:p14="http://schemas.microsoft.com/office/powerpoint/2010/main" val="1277525418"/>
      </p:ext>
    </p:extLst>
  </p:cSld>
  <p:clrMapOvr>
    <a:masterClrMapping/>
  </p:clrMapOv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
            <a:ext cx="9144000" cy="3531909"/>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18" name="Content Placeholder 2"/>
          <p:cNvSpPr>
            <a:spLocks noGrp="1"/>
          </p:cNvSpPr>
          <p:nvPr>
            <p:ph idx="25"/>
          </p:nvPr>
        </p:nvSpPr>
        <p:spPr>
          <a:xfrm>
            <a:off x="316800" y="3831336"/>
            <a:ext cx="8510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Rectangle 5"/>
          <p:cNvSpPr>
            <a:spLocks noGrp="1" noChangeArrowheads="1"/>
          </p:cNvSpPr>
          <p:nvPr>
            <p:ph type="ftr" sz="quarter" idx="26"/>
          </p:nvPr>
        </p:nvSpPr>
        <p:spPr/>
        <p:txBody>
          <a:bodyPr/>
          <a:lstStyle>
            <a:lvl1pPr fontAlgn="auto">
              <a:spcBef>
                <a:spcPts val="0"/>
              </a:spcBef>
              <a:spcAft>
                <a:spcPts val="0"/>
              </a:spcAft>
              <a:defRPr>
                <a:solidFill>
                  <a:srgbClr val="FFFFFF"/>
                </a:solidFill>
                <a:ea typeface="+mn-ea"/>
              </a:defRPr>
            </a:lvl1pPr>
          </a:lstStyle>
          <a:p>
            <a:pPr>
              <a:defRPr/>
            </a:pPr>
            <a:r>
              <a:rPr lang="en-GB"/>
              <a:t>Presentation title</a:t>
            </a:r>
          </a:p>
        </p:txBody>
      </p:sp>
      <p:sp>
        <p:nvSpPr>
          <p:cNvPr id="5" name="Rectangle 81"/>
          <p:cNvSpPr>
            <a:spLocks noGrp="1" noChangeArrowheads="1"/>
          </p:cNvSpPr>
          <p:nvPr>
            <p:ph type="dt" sz="half" idx="27"/>
          </p:nvPr>
        </p:nvSpPr>
        <p:spPr/>
        <p:txBody>
          <a:bodyPr/>
          <a:lstStyle>
            <a:lvl1pPr fontAlgn="auto">
              <a:spcBef>
                <a:spcPts val="0"/>
              </a:spcBef>
              <a:spcAft>
                <a:spcPts val="0"/>
              </a:spcAft>
              <a:defRPr>
                <a:solidFill>
                  <a:srgbClr val="FFFFFF"/>
                </a:solidFill>
                <a:ea typeface="+mn-ea"/>
              </a:defRPr>
            </a:lvl1pPr>
          </a:lstStyle>
          <a:p>
            <a:pPr>
              <a:defRPr/>
            </a:pPr>
            <a:r>
              <a:rPr lang="en-GB"/>
              <a:t>Date</a:t>
            </a:r>
          </a:p>
        </p:txBody>
      </p:sp>
      <p:sp>
        <p:nvSpPr>
          <p:cNvPr id="6" name="Slide Number Placeholder 23"/>
          <p:cNvSpPr>
            <a:spLocks noGrp="1" noChangeArrowheads="1"/>
          </p:cNvSpPr>
          <p:nvPr>
            <p:ph type="sldNum" sz="quarter" idx="28"/>
          </p:nvPr>
        </p:nvSpPr>
        <p:spPr/>
        <p:txBody>
          <a:bodyPr/>
          <a:lstStyle>
            <a:lvl1pPr>
              <a:defRPr>
                <a:solidFill>
                  <a:srgbClr val="FFFFFF"/>
                </a:solidFill>
              </a:defRPr>
            </a:lvl1pPr>
          </a:lstStyle>
          <a:p>
            <a:pPr>
              <a:defRPr/>
            </a:pPr>
            <a:fld id="{510114B4-A067-4FFE-9F0A-E70E8014796B}" type="slidenum">
              <a:rPr lang="en-GB"/>
              <a:pPr>
                <a:defRPr/>
              </a:pPr>
              <a:t>‹#›</a:t>
            </a:fld>
            <a:endParaRPr lang="en-GB"/>
          </a:p>
        </p:txBody>
      </p:sp>
    </p:spTree>
    <p:extLst>
      <p:ext uri="{BB962C8B-B14F-4D97-AF65-F5344CB8AC3E}">
        <p14:creationId xmlns:p14="http://schemas.microsoft.com/office/powerpoint/2010/main" val="1506656925"/>
      </p:ext>
    </p:extLst>
  </p:cSld>
  <p:clrMapOvr>
    <a:masterClrMapping/>
  </p:clrMapOv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mage middle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749634"/>
            <a:ext cx="9144000" cy="3941051"/>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13"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4" name="Rectangle 23"/>
          <p:cNvSpPr>
            <a:spLocks noGrp="1" noChangeArrowheads="1"/>
          </p:cNvSpPr>
          <p:nvPr>
            <p:ph type="sldNum" sz="quarter" idx="15"/>
          </p:nvPr>
        </p:nvSpPr>
        <p:spPr/>
        <p:txBody>
          <a:bodyPr/>
          <a:lstStyle>
            <a:lvl1pPr>
              <a:defRPr/>
            </a:lvl1pPr>
          </a:lstStyle>
          <a:p>
            <a:pPr>
              <a:defRPr/>
            </a:pPr>
            <a:fld id="{60A5E96A-8224-4B8A-96F3-0C24AB201396}" type="slidenum">
              <a:rPr lang="en-GB"/>
              <a:pPr>
                <a:defRPr/>
              </a:pPr>
              <a:t>‹#›</a:t>
            </a:fld>
            <a:endParaRPr lang="en-GB"/>
          </a:p>
        </p:txBody>
      </p:sp>
      <p:sp>
        <p:nvSpPr>
          <p:cNvPr id="5" name="Rectangle 5"/>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6"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4142750678"/>
      </p:ext>
    </p:extLst>
  </p:cSld>
  <p:clrMapOvr>
    <a:masterClrMapping/>
  </p:clrMapOv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4566390" cy="6858000"/>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15" name="Title 1"/>
          <p:cNvSpPr>
            <a:spLocks noGrp="1"/>
          </p:cNvSpPr>
          <p:nvPr>
            <p:ph type="title"/>
          </p:nvPr>
        </p:nvSpPr>
        <p:spPr>
          <a:xfrm>
            <a:off x="4873480" y="687230"/>
            <a:ext cx="3953755" cy="521883"/>
          </a:xfrm>
        </p:spPr>
        <p:txBody>
          <a:bodyPr/>
          <a:lstStyle>
            <a:lvl1pPr>
              <a:defRPr sz="2400"/>
            </a:lvl1pPr>
          </a:lstStyle>
          <a:p>
            <a:r>
              <a:rPr lang="en-US" noProof="0"/>
              <a:t>Click to edit Master title style</a:t>
            </a:r>
            <a:endParaRPr lang="en-GB" noProof="0" dirty="0"/>
          </a:p>
        </p:txBody>
      </p:sp>
      <p:sp>
        <p:nvSpPr>
          <p:cNvPr id="14" name="Content Placeholder 2"/>
          <p:cNvSpPr>
            <a:spLocks noGrp="1"/>
          </p:cNvSpPr>
          <p:nvPr>
            <p:ph idx="11"/>
          </p:nvPr>
        </p:nvSpPr>
        <p:spPr>
          <a:xfrm>
            <a:off x="4873480" y="1749631"/>
            <a:ext cx="3953755" cy="3941052"/>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5"/>
          <p:cNvSpPr>
            <a:spLocks noGrp="1" noChangeArrowheads="1"/>
          </p:cNvSpPr>
          <p:nvPr>
            <p:ph type="ftr" sz="quarter" idx="15"/>
          </p:nvPr>
        </p:nvSpPr>
        <p:spPr>
          <a:xfrm>
            <a:off x="4873634" y="138200"/>
            <a:ext cx="2200275" cy="134937"/>
          </a:xfrm>
        </p:spPr>
        <p:txBody>
          <a:bodyPr/>
          <a:lstStyle>
            <a:lvl1pPr fontAlgn="auto">
              <a:spcBef>
                <a:spcPts val="0"/>
              </a:spcBef>
              <a:spcAft>
                <a:spcPts val="0"/>
              </a:spcAft>
              <a:defRPr>
                <a:ea typeface="+mn-ea"/>
              </a:defRPr>
            </a:lvl1pPr>
          </a:lstStyle>
          <a:p>
            <a:pPr>
              <a:defRPr/>
            </a:pPr>
            <a:r>
              <a:rPr lang="en-GB"/>
              <a:t>Presentation title</a:t>
            </a:r>
          </a:p>
        </p:txBody>
      </p:sp>
      <p:sp>
        <p:nvSpPr>
          <p:cNvPr id="6" name="Rectangle 81"/>
          <p:cNvSpPr>
            <a:spLocks noGrp="1" noChangeArrowheads="1"/>
          </p:cNvSpPr>
          <p:nvPr>
            <p:ph type="dt" sz="half" idx="16"/>
          </p:nvPr>
        </p:nvSpPr>
        <p:spPr/>
        <p:txBody>
          <a:bodyPr/>
          <a:lstStyle>
            <a:lvl1pPr fontAlgn="auto">
              <a:spcBef>
                <a:spcPts val="0"/>
              </a:spcBef>
              <a:spcAft>
                <a:spcPts val="0"/>
              </a:spcAft>
              <a:defRPr>
                <a:ea typeface="+mn-ea"/>
              </a:defRPr>
            </a:lvl1pPr>
          </a:lstStyle>
          <a:p>
            <a:pPr>
              <a:defRPr/>
            </a:pPr>
            <a:r>
              <a:rPr lang="en-GB"/>
              <a:t>Date</a:t>
            </a:r>
          </a:p>
        </p:txBody>
      </p:sp>
      <p:sp>
        <p:nvSpPr>
          <p:cNvPr id="7" name="Slide Number Placeholder 23"/>
          <p:cNvSpPr>
            <a:spLocks noGrp="1" noChangeArrowheads="1"/>
          </p:cNvSpPr>
          <p:nvPr>
            <p:ph type="sldNum" sz="quarter" idx="17"/>
          </p:nvPr>
        </p:nvSpPr>
        <p:spPr/>
        <p:txBody>
          <a:bodyPr/>
          <a:lstStyle>
            <a:lvl1pPr>
              <a:defRPr/>
            </a:lvl1pPr>
          </a:lstStyle>
          <a:p>
            <a:pPr>
              <a:defRPr/>
            </a:pPr>
            <a:fld id="{35E48A08-0F0F-46B0-AF40-BC23964B8996}" type="slidenum">
              <a:rPr lang="en-GB"/>
              <a:pPr>
                <a:defRPr/>
              </a:pPr>
              <a:t>‹#›</a:t>
            </a:fld>
            <a:endParaRPr lang="en-GB"/>
          </a:p>
        </p:txBody>
      </p:sp>
    </p:spTree>
    <p:extLst>
      <p:ext uri="{BB962C8B-B14F-4D97-AF65-F5344CB8AC3E}">
        <p14:creationId xmlns:p14="http://schemas.microsoft.com/office/powerpoint/2010/main" val="1542302374"/>
      </p:ext>
    </p:extLst>
  </p:cSld>
  <p:clrMapOvr>
    <a:masterClrMapping/>
  </p:clrMapOv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mage large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316800" y="1749634"/>
            <a:ext cx="8510400" cy="3941051"/>
          </a:xfrm>
          <a:prstGeom prst="roundRect">
            <a:avLst>
              <a:gd name="adj" fmla="val 4683"/>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11"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4" name="Rectangle 23"/>
          <p:cNvSpPr>
            <a:spLocks noGrp="1" noChangeArrowheads="1"/>
          </p:cNvSpPr>
          <p:nvPr>
            <p:ph type="sldNum" sz="quarter" idx="15"/>
          </p:nvPr>
        </p:nvSpPr>
        <p:spPr/>
        <p:txBody>
          <a:bodyPr/>
          <a:lstStyle>
            <a:lvl1pPr>
              <a:defRPr/>
            </a:lvl1pPr>
          </a:lstStyle>
          <a:p>
            <a:pPr>
              <a:defRPr/>
            </a:pPr>
            <a:fld id="{27EDE8CA-E9D1-48B6-B1DD-8B046011E564}" type="slidenum">
              <a:rPr lang="en-GB"/>
              <a:pPr>
                <a:defRPr/>
              </a:pPr>
              <a:t>‹#›</a:t>
            </a:fld>
            <a:endParaRPr lang="en-GB"/>
          </a:p>
        </p:txBody>
      </p:sp>
      <p:sp>
        <p:nvSpPr>
          <p:cNvPr id="5" name="Rectangle 5"/>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6"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3862412322"/>
      </p:ext>
    </p:extLst>
  </p:cSld>
  <p:clrMapOvr>
    <a:masterClrMapping/>
  </p:clrMapOv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4731411" y="1749634"/>
            <a:ext cx="4093768" cy="3941051"/>
          </a:xfrm>
          <a:prstGeom prst="roundRect">
            <a:avLst>
              <a:gd name="adj" fmla="val 3924"/>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13"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26" name="Content Placeholder 2"/>
          <p:cNvSpPr>
            <a:spLocks noGrp="1"/>
          </p:cNvSpPr>
          <p:nvPr>
            <p:ph idx="1"/>
          </p:nvPr>
        </p:nvSpPr>
        <p:spPr>
          <a:xfrm>
            <a:off x="316801" y="1749631"/>
            <a:ext cx="40968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15"/>
          </p:nvPr>
        </p:nvSpPr>
        <p:spPr/>
        <p:txBody>
          <a:bodyPr/>
          <a:lstStyle>
            <a:lvl1pPr>
              <a:defRPr/>
            </a:lvl1pPr>
          </a:lstStyle>
          <a:p>
            <a:pPr>
              <a:defRPr/>
            </a:pPr>
            <a:fld id="{DD134346-D77C-4CD0-8820-393586FF622D}" type="slidenum">
              <a:rPr lang="en-GB"/>
              <a:pPr>
                <a:defRPr/>
              </a:pPr>
              <a:t>‹#›</a:t>
            </a:fld>
            <a:endParaRPr lang="en-GB"/>
          </a:p>
        </p:txBody>
      </p:sp>
      <p:sp>
        <p:nvSpPr>
          <p:cNvPr id="6" name="Rectangle 7"/>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2048210715"/>
      </p:ext>
    </p:extLst>
  </p:cSld>
  <p:clrMapOvr>
    <a:masterClrMapping/>
  </p:clrMapOv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Image 1/3 rounded">
    <p:spTree>
      <p:nvGrpSpPr>
        <p:cNvPr id="1" name=""/>
        <p:cNvGrpSpPr/>
        <p:nvPr/>
      </p:nvGrpSpPr>
      <p:grpSpPr>
        <a:xfrm>
          <a:off x="0" y="0"/>
          <a:ext cx="0" cy="0"/>
          <a:chOff x="0" y="0"/>
          <a:chExt cx="0" cy="0"/>
        </a:xfrm>
      </p:grpSpPr>
      <p:sp>
        <p:nvSpPr>
          <p:cNvPr id="12" name="Content Placeholder 2"/>
          <p:cNvSpPr>
            <a:spLocks noGrp="1"/>
          </p:cNvSpPr>
          <p:nvPr>
            <p:ph idx="18"/>
          </p:nvPr>
        </p:nvSpPr>
        <p:spPr>
          <a:xfrm>
            <a:off x="318830" y="1749631"/>
            <a:ext cx="5564631"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8"/>
          <p:cNvSpPr>
            <a:spLocks noGrp="1"/>
          </p:cNvSpPr>
          <p:nvPr>
            <p:ph type="pic" sz="quarter" idx="14"/>
          </p:nvPr>
        </p:nvSpPr>
        <p:spPr>
          <a:xfrm>
            <a:off x="6202278" y="1749634"/>
            <a:ext cx="2624927" cy="3941051"/>
          </a:xfrm>
          <a:prstGeom prst="roundRect">
            <a:avLst>
              <a:gd name="adj" fmla="val 4084"/>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11"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5" name="Rectangle 23"/>
          <p:cNvSpPr>
            <a:spLocks noGrp="1" noChangeArrowheads="1"/>
          </p:cNvSpPr>
          <p:nvPr>
            <p:ph type="sldNum" sz="quarter" idx="19"/>
          </p:nvPr>
        </p:nvSpPr>
        <p:spPr/>
        <p:txBody>
          <a:bodyPr/>
          <a:lstStyle>
            <a:lvl1pPr>
              <a:defRPr/>
            </a:lvl1pPr>
          </a:lstStyle>
          <a:p>
            <a:pPr>
              <a:defRPr/>
            </a:pPr>
            <a:fld id="{E3605471-7F96-4B29-8B3F-4B88843F25B3}" type="slidenum">
              <a:rPr lang="en-GB"/>
              <a:pPr>
                <a:defRPr/>
              </a:pPr>
              <a:t>‹#›</a:t>
            </a:fld>
            <a:endParaRPr lang="en-GB"/>
          </a:p>
        </p:txBody>
      </p:sp>
      <p:sp>
        <p:nvSpPr>
          <p:cNvPr id="7" name="Rectangle 5"/>
          <p:cNvSpPr>
            <a:spLocks noGrp="1" noChangeArrowheads="1"/>
          </p:cNvSpPr>
          <p:nvPr>
            <p:ph type="ftr" sz="quarter" idx="20"/>
          </p:nvPr>
        </p:nvSpPr>
        <p:spPr/>
        <p:txBody>
          <a:bodyPr/>
          <a:lstStyle>
            <a:lvl1pPr fontAlgn="auto">
              <a:spcBef>
                <a:spcPts val="0"/>
              </a:spcBef>
              <a:spcAft>
                <a:spcPts val="0"/>
              </a:spcAft>
              <a:defRPr>
                <a:ea typeface="+mn-ea"/>
              </a:defRPr>
            </a:lvl1pPr>
          </a:lstStyle>
          <a:p>
            <a:pPr>
              <a:defRPr/>
            </a:pPr>
            <a:r>
              <a:rPr lang="en-GB"/>
              <a:t>Presentation title</a:t>
            </a:r>
          </a:p>
        </p:txBody>
      </p:sp>
      <p:sp>
        <p:nvSpPr>
          <p:cNvPr id="8" name="Rectangle 81"/>
          <p:cNvSpPr>
            <a:spLocks noGrp="1" noChangeArrowheads="1"/>
          </p:cNvSpPr>
          <p:nvPr>
            <p:ph type="dt" sz="half" idx="21"/>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2139730778"/>
      </p:ext>
    </p:extLst>
  </p:cSld>
  <p:clrMapOvr>
    <a:masterClrMapping/>
  </p:clrMapOv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mage 1/4 rounded">
    <p:spTree>
      <p:nvGrpSpPr>
        <p:cNvPr id="1" name=""/>
        <p:cNvGrpSpPr/>
        <p:nvPr/>
      </p:nvGrpSpPr>
      <p:grpSpPr>
        <a:xfrm>
          <a:off x="0" y="0"/>
          <a:ext cx="0" cy="0"/>
          <a:chOff x="0" y="0"/>
          <a:chExt cx="0" cy="0"/>
        </a:xfrm>
      </p:grpSpPr>
      <p:sp>
        <p:nvSpPr>
          <p:cNvPr id="12" name="Picture Placeholder 8"/>
          <p:cNvSpPr>
            <a:spLocks noGrp="1"/>
          </p:cNvSpPr>
          <p:nvPr>
            <p:ph type="pic" sz="quarter" idx="27"/>
          </p:nvPr>
        </p:nvSpPr>
        <p:spPr>
          <a:xfrm>
            <a:off x="6937200" y="1749634"/>
            <a:ext cx="1890000" cy="3941051"/>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14" name="Content Placeholder 2"/>
          <p:cNvSpPr>
            <a:spLocks noGrp="1"/>
          </p:cNvSpPr>
          <p:nvPr>
            <p:ph idx="18"/>
          </p:nvPr>
        </p:nvSpPr>
        <p:spPr>
          <a:xfrm>
            <a:off x="318830" y="1749631"/>
            <a:ext cx="6308887"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5" name="Rectangle 23"/>
          <p:cNvSpPr>
            <a:spLocks noGrp="1" noChangeArrowheads="1"/>
          </p:cNvSpPr>
          <p:nvPr>
            <p:ph type="sldNum" sz="quarter" idx="28"/>
          </p:nvPr>
        </p:nvSpPr>
        <p:spPr/>
        <p:txBody>
          <a:bodyPr/>
          <a:lstStyle>
            <a:lvl1pPr>
              <a:defRPr/>
            </a:lvl1pPr>
          </a:lstStyle>
          <a:p>
            <a:pPr>
              <a:defRPr/>
            </a:pPr>
            <a:fld id="{D6ECF135-19D0-4C67-9D8D-68ADA768B481}" type="slidenum">
              <a:rPr lang="en-GB"/>
              <a:pPr>
                <a:defRPr/>
              </a:pPr>
              <a:t>‹#›</a:t>
            </a:fld>
            <a:endParaRPr lang="en-GB"/>
          </a:p>
        </p:txBody>
      </p:sp>
      <p:sp>
        <p:nvSpPr>
          <p:cNvPr id="6" name="Rectangle 7"/>
          <p:cNvSpPr>
            <a:spLocks noGrp="1" noChangeArrowheads="1"/>
          </p:cNvSpPr>
          <p:nvPr>
            <p:ph type="ftr" sz="quarter" idx="29"/>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30"/>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4220795767"/>
      </p:ext>
    </p:extLst>
  </p:cSld>
  <p:clrMapOvr>
    <a:masterClrMapping/>
  </p:clrMapOvr>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 images rounded">
    <p:spTree>
      <p:nvGrpSpPr>
        <p:cNvPr id="1" name=""/>
        <p:cNvGrpSpPr/>
        <p:nvPr/>
      </p:nvGrpSpPr>
      <p:grpSpPr>
        <a:xfrm>
          <a:off x="0" y="0"/>
          <a:ext cx="0" cy="0"/>
          <a:chOff x="0" y="0"/>
          <a:chExt cx="0" cy="0"/>
        </a:xfrm>
      </p:grpSpPr>
      <p:sp>
        <p:nvSpPr>
          <p:cNvPr id="17" name="Content Placeholder 2"/>
          <p:cNvSpPr>
            <a:spLocks noGrp="1"/>
          </p:cNvSpPr>
          <p:nvPr>
            <p:ph idx="18"/>
          </p:nvPr>
        </p:nvSpPr>
        <p:spPr>
          <a:xfrm>
            <a:off x="318833" y="1749631"/>
            <a:ext cx="4099651"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6937200" y="1749634"/>
            <a:ext cx="1890000" cy="3941051"/>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30" name="Picture Placeholder 8"/>
          <p:cNvSpPr>
            <a:spLocks noGrp="1"/>
          </p:cNvSpPr>
          <p:nvPr>
            <p:ph type="pic" sz="quarter" idx="28"/>
          </p:nvPr>
        </p:nvSpPr>
        <p:spPr>
          <a:xfrm>
            <a:off x="4726874" y="1749634"/>
            <a:ext cx="1890000" cy="3941051"/>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6" name="Rectangle 23"/>
          <p:cNvSpPr>
            <a:spLocks noGrp="1" noChangeArrowheads="1"/>
          </p:cNvSpPr>
          <p:nvPr>
            <p:ph type="sldNum" sz="quarter" idx="29"/>
          </p:nvPr>
        </p:nvSpPr>
        <p:spPr/>
        <p:txBody>
          <a:bodyPr/>
          <a:lstStyle>
            <a:lvl1pPr>
              <a:defRPr/>
            </a:lvl1pPr>
          </a:lstStyle>
          <a:p>
            <a:pPr>
              <a:defRPr/>
            </a:pPr>
            <a:fld id="{A3A22789-A1D8-4DAD-8D1B-200D92BCF73F}" type="slidenum">
              <a:rPr lang="en-GB"/>
              <a:pPr>
                <a:defRPr/>
              </a:pPr>
              <a:t>‹#›</a:t>
            </a:fld>
            <a:endParaRPr lang="en-GB"/>
          </a:p>
        </p:txBody>
      </p:sp>
      <p:sp>
        <p:nvSpPr>
          <p:cNvPr id="7" name="Rectangle 5"/>
          <p:cNvSpPr>
            <a:spLocks noGrp="1" noChangeArrowheads="1"/>
          </p:cNvSpPr>
          <p:nvPr>
            <p:ph type="ftr" sz="quarter" idx="30"/>
          </p:nvPr>
        </p:nvSpPr>
        <p:spPr/>
        <p:txBody>
          <a:bodyPr/>
          <a:lstStyle>
            <a:lvl1pPr fontAlgn="auto">
              <a:spcBef>
                <a:spcPts val="0"/>
              </a:spcBef>
              <a:spcAft>
                <a:spcPts val="0"/>
              </a:spcAft>
              <a:defRPr>
                <a:ea typeface="+mn-ea"/>
              </a:defRPr>
            </a:lvl1pPr>
          </a:lstStyle>
          <a:p>
            <a:pPr>
              <a:defRPr/>
            </a:pPr>
            <a:r>
              <a:rPr lang="en-GB"/>
              <a:t>Presentation title</a:t>
            </a:r>
          </a:p>
        </p:txBody>
      </p:sp>
      <p:sp>
        <p:nvSpPr>
          <p:cNvPr id="8" name="Rectangle 81"/>
          <p:cNvSpPr>
            <a:spLocks noGrp="1" noChangeArrowheads="1"/>
          </p:cNvSpPr>
          <p:nvPr>
            <p:ph type="dt" sz="half" idx="31"/>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905120275"/>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10" name="Content Placeholder 2"/>
          <p:cNvSpPr>
            <a:spLocks noGrp="1"/>
          </p:cNvSpPr>
          <p:nvPr>
            <p:ph idx="15" hasCustomPrompt="1"/>
          </p:nvPr>
        </p:nvSpPr>
        <p:spPr>
          <a:xfrm>
            <a:off x="237061" y="1574500"/>
            <a:ext cx="4086000" cy="2160000"/>
          </a:xfrm>
          <a:prstGeom prst="rect">
            <a:avLst/>
          </a:prstGeom>
        </p:spPr>
        <p:txBody>
          <a:bodyPr/>
          <a:lstStyle>
            <a:lvl1pPr marL="180000" indent="-180000">
              <a:lnSpc>
                <a:spcPct val="15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5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4" hasCustomPrompt="1"/>
          </p:nvPr>
        </p:nvSpPr>
        <p:spPr>
          <a:xfrm>
            <a:off x="4680000" y="1574500"/>
            <a:ext cx="4086000" cy="2160000"/>
          </a:xfrm>
          <a:prstGeom prst="rect">
            <a:avLst/>
          </a:prstGeom>
        </p:spPr>
        <p:txBody>
          <a:bodyPr/>
          <a:lstStyle>
            <a:lvl1pPr marL="180000" indent="-180000">
              <a:lnSpc>
                <a:spcPct val="15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5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7"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6"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323015509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4 images rounded">
    <p:spTree>
      <p:nvGrpSpPr>
        <p:cNvPr id="1" name=""/>
        <p:cNvGrpSpPr/>
        <p:nvPr/>
      </p:nvGrpSpPr>
      <p:grpSpPr>
        <a:xfrm>
          <a:off x="0" y="0"/>
          <a:ext cx="0" cy="0"/>
          <a:chOff x="0" y="0"/>
          <a:chExt cx="0" cy="0"/>
        </a:xfrm>
      </p:grpSpPr>
      <p:sp>
        <p:nvSpPr>
          <p:cNvPr id="15"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6937200" y="1749634"/>
            <a:ext cx="1890000" cy="3941051"/>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30" name="Picture Placeholder 8"/>
          <p:cNvSpPr>
            <a:spLocks noGrp="1"/>
          </p:cNvSpPr>
          <p:nvPr>
            <p:ph type="pic" sz="quarter" idx="28"/>
          </p:nvPr>
        </p:nvSpPr>
        <p:spPr>
          <a:xfrm>
            <a:off x="4726874" y="1749634"/>
            <a:ext cx="1890000" cy="3941051"/>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31" name="Picture Placeholder 8"/>
          <p:cNvSpPr>
            <a:spLocks noGrp="1"/>
          </p:cNvSpPr>
          <p:nvPr>
            <p:ph type="pic" sz="quarter" idx="29"/>
          </p:nvPr>
        </p:nvSpPr>
        <p:spPr>
          <a:xfrm>
            <a:off x="2521837" y="1749634"/>
            <a:ext cx="1890000" cy="3941051"/>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32" name="Picture Placeholder 8"/>
          <p:cNvSpPr>
            <a:spLocks noGrp="1"/>
          </p:cNvSpPr>
          <p:nvPr>
            <p:ph type="pic" sz="quarter" idx="30"/>
          </p:nvPr>
        </p:nvSpPr>
        <p:spPr>
          <a:xfrm>
            <a:off x="316800" y="1749634"/>
            <a:ext cx="1890000" cy="3941051"/>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a:t>Click icon to add picture</a:t>
            </a:r>
            <a:endParaRPr lang="en-GB" noProof="0" dirty="0"/>
          </a:p>
        </p:txBody>
      </p:sp>
      <p:sp>
        <p:nvSpPr>
          <p:cNvPr id="7" name="Rectangle 23"/>
          <p:cNvSpPr>
            <a:spLocks noGrp="1" noChangeArrowheads="1"/>
          </p:cNvSpPr>
          <p:nvPr>
            <p:ph type="sldNum" sz="quarter" idx="31"/>
          </p:nvPr>
        </p:nvSpPr>
        <p:spPr/>
        <p:txBody>
          <a:bodyPr/>
          <a:lstStyle>
            <a:lvl1pPr>
              <a:defRPr/>
            </a:lvl1pPr>
          </a:lstStyle>
          <a:p>
            <a:pPr>
              <a:defRPr/>
            </a:pPr>
            <a:fld id="{39E08CDD-9698-4596-A305-500AAB95C71A}" type="slidenum">
              <a:rPr lang="en-GB"/>
              <a:pPr>
                <a:defRPr/>
              </a:pPr>
              <a:t>‹#›</a:t>
            </a:fld>
            <a:endParaRPr lang="en-GB"/>
          </a:p>
        </p:txBody>
      </p:sp>
      <p:sp>
        <p:nvSpPr>
          <p:cNvPr id="8" name="Rectangle 5"/>
          <p:cNvSpPr>
            <a:spLocks noGrp="1" noChangeArrowheads="1"/>
          </p:cNvSpPr>
          <p:nvPr>
            <p:ph type="ftr" sz="quarter" idx="32"/>
          </p:nvPr>
        </p:nvSpPr>
        <p:spPr/>
        <p:txBody>
          <a:bodyPr/>
          <a:lstStyle>
            <a:lvl1pPr fontAlgn="auto">
              <a:spcBef>
                <a:spcPts val="0"/>
              </a:spcBef>
              <a:spcAft>
                <a:spcPts val="0"/>
              </a:spcAft>
              <a:defRPr>
                <a:ea typeface="+mn-ea"/>
              </a:defRPr>
            </a:lvl1pPr>
          </a:lstStyle>
          <a:p>
            <a:pPr>
              <a:defRPr/>
            </a:pPr>
            <a:r>
              <a:rPr lang="en-GB"/>
              <a:t>Presentation title</a:t>
            </a:r>
          </a:p>
        </p:txBody>
      </p:sp>
      <p:sp>
        <p:nvSpPr>
          <p:cNvPr id="9" name="Rectangle 81"/>
          <p:cNvSpPr>
            <a:spLocks noGrp="1" noChangeArrowheads="1"/>
          </p:cNvSpPr>
          <p:nvPr>
            <p:ph type="dt" sz="half" idx="33"/>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3344697674"/>
      </p:ext>
    </p:extLst>
  </p:cSld>
  <p:clrMapOvr>
    <a:masterClrMapping/>
  </p:clrMapOv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6:9 video">
    <p:spTree>
      <p:nvGrpSpPr>
        <p:cNvPr id="1" name=""/>
        <p:cNvGrpSpPr/>
        <p:nvPr/>
      </p:nvGrpSpPr>
      <p:grpSpPr>
        <a:xfrm>
          <a:off x="0" y="0"/>
          <a:ext cx="0" cy="0"/>
          <a:chOff x="0" y="0"/>
          <a:chExt cx="0" cy="0"/>
        </a:xfrm>
      </p:grpSpPr>
      <p:sp>
        <p:nvSpPr>
          <p:cNvPr id="14" name="Content Placeholder 2"/>
          <p:cNvSpPr>
            <a:spLocks noGrp="1"/>
          </p:cNvSpPr>
          <p:nvPr>
            <p:ph idx="23"/>
          </p:nvPr>
        </p:nvSpPr>
        <p:spPr>
          <a:xfrm>
            <a:off x="318827" y="1749631"/>
            <a:ext cx="2923653"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Media Placeholder 8"/>
          <p:cNvSpPr>
            <a:spLocks noGrp="1"/>
          </p:cNvSpPr>
          <p:nvPr>
            <p:ph type="media" sz="quarter" idx="18"/>
          </p:nvPr>
        </p:nvSpPr>
        <p:spPr>
          <a:xfrm>
            <a:off x="3578125" y="1746571"/>
            <a:ext cx="5258820" cy="3944113"/>
          </a:xfrm>
          <a:solidFill>
            <a:schemeClr val="accent6"/>
          </a:solidFill>
          <a:effectLst/>
        </p:spPr>
        <p:txBody>
          <a:bodyPr rtlCol="0" anchor="ctr">
            <a:normAutofit/>
          </a:bodyPr>
          <a:lstStyle>
            <a:lvl1pPr marL="0" indent="0" algn="ctr">
              <a:buNone/>
              <a:defRPr sz="700">
                <a:solidFill>
                  <a:schemeClr val="bg1"/>
                </a:solidFill>
              </a:defRPr>
            </a:lvl1pPr>
          </a:lstStyle>
          <a:p>
            <a:pPr lvl="0"/>
            <a:r>
              <a:rPr lang="en-US" noProof="0" dirty="0"/>
              <a:t>Click icon to add media</a:t>
            </a:r>
            <a:endParaRPr lang="en-GB" noProof="0" dirty="0"/>
          </a:p>
        </p:txBody>
      </p:sp>
      <p:sp>
        <p:nvSpPr>
          <p:cNvPr id="16"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5" name="Rectangle 23"/>
          <p:cNvSpPr>
            <a:spLocks noGrp="1" noChangeArrowheads="1"/>
          </p:cNvSpPr>
          <p:nvPr>
            <p:ph type="sldNum" sz="quarter" idx="24"/>
          </p:nvPr>
        </p:nvSpPr>
        <p:spPr/>
        <p:txBody>
          <a:bodyPr/>
          <a:lstStyle>
            <a:lvl1pPr>
              <a:defRPr/>
            </a:lvl1pPr>
          </a:lstStyle>
          <a:p>
            <a:pPr>
              <a:defRPr/>
            </a:pPr>
            <a:fld id="{C75BB1C1-BF30-4CD1-8917-F3A5101CA591}" type="slidenum">
              <a:rPr lang="en-GB"/>
              <a:pPr>
                <a:defRPr/>
              </a:pPr>
              <a:t>‹#›</a:t>
            </a:fld>
            <a:endParaRPr lang="en-GB"/>
          </a:p>
        </p:txBody>
      </p:sp>
      <p:sp>
        <p:nvSpPr>
          <p:cNvPr id="6" name="Rectangle 7"/>
          <p:cNvSpPr>
            <a:spLocks noGrp="1" noChangeArrowheads="1"/>
          </p:cNvSpPr>
          <p:nvPr>
            <p:ph type="ftr" sz="quarter" idx="25"/>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26"/>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550767713"/>
      </p:ext>
    </p:extLst>
  </p:cSld>
  <p:clrMapOvr>
    <a:masterClrMapping/>
  </p:clrMapOv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3 video">
    <p:spTree>
      <p:nvGrpSpPr>
        <p:cNvPr id="1" name=""/>
        <p:cNvGrpSpPr/>
        <p:nvPr/>
      </p:nvGrpSpPr>
      <p:grpSpPr>
        <a:xfrm>
          <a:off x="0" y="0"/>
          <a:ext cx="0" cy="0"/>
          <a:chOff x="0" y="0"/>
          <a:chExt cx="0" cy="0"/>
        </a:xfrm>
      </p:grpSpPr>
      <p:sp>
        <p:nvSpPr>
          <p:cNvPr id="10" name="Media Placeholder 8"/>
          <p:cNvSpPr>
            <a:spLocks noGrp="1"/>
          </p:cNvSpPr>
          <p:nvPr>
            <p:ph type="media" sz="quarter" idx="15"/>
          </p:nvPr>
        </p:nvSpPr>
        <p:spPr>
          <a:xfrm>
            <a:off x="4891539" y="1746571"/>
            <a:ext cx="3945406" cy="3944113"/>
          </a:xfrm>
          <a:solidFill>
            <a:schemeClr val="accent6"/>
          </a:solidFill>
          <a:effectLst/>
        </p:spPr>
        <p:txBody>
          <a:bodyPr rtlCol="0" anchor="ctr">
            <a:normAutofit/>
          </a:bodyPr>
          <a:lstStyle>
            <a:lvl1pPr marL="0" indent="0" algn="ctr">
              <a:buNone/>
              <a:defRPr sz="700" baseline="0">
                <a:solidFill>
                  <a:schemeClr val="bg1"/>
                </a:solidFill>
              </a:defRPr>
            </a:lvl1pPr>
          </a:lstStyle>
          <a:p>
            <a:pPr lvl="0"/>
            <a:r>
              <a:rPr lang="en-US" noProof="0" dirty="0"/>
              <a:t>Click icon to add media</a:t>
            </a:r>
            <a:endParaRPr lang="en-GB" noProof="0" dirty="0"/>
          </a:p>
        </p:txBody>
      </p:sp>
      <p:sp>
        <p:nvSpPr>
          <p:cNvPr id="17" name="Content Placeholder 2"/>
          <p:cNvSpPr>
            <a:spLocks noGrp="1"/>
          </p:cNvSpPr>
          <p:nvPr>
            <p:ph idx="24"/>
          </p:nvPr>
        </p:nvSpPr>
        <p:spPr>
          <a:xfrm>
            <a:off x="318821" y="1749631"/>
            <a:ext cx="4251592"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5" name="Rectangle 23"/>
          <p:cNvSpPr>
            <a:spLocks noGrp="1" noChangeArrowheads="1"/>
          </p:cNvSpPr>
          <p:nvPr>
            <p:ph type="sldNum" sz="quarter" idx="25"/>
          </p:nvPr>
        </p:nvSpPr>
        <p:spPr/>
        <p:txBody>
          <a:bodyPr/>
          <a:lstStyle>
            <a:lvl1pPr>
              <a:defRPr/>
            </a:lvl1pPr>
          </a:lstStyle>
          <a:p>
            <a:pPr>
              <a:defRPr/>
            </a:pPr>
            <a:fld id="{9A13436D-46BD-4FB0-8E10-FBD010E87D08}" type="slidenum">
              <a:rPr lang="en-GB"/>
              <a:pPr>
                <a:defRPr/>
              </a:pPr>
              <a:t>‹#›</a:t>
            </a:fld>
            <a:endParaRPr lang="en-GB"/>
          </a:p>
        </p:txBody>
      </p:sp>
      <p:sp>
        <p:nvSpPr>
          <p:cNvPr id="6" name="Rectangle 7"/>
          <p:cNvSpPr>
            <a:spLocks noGrp="1" noChangeArrowheads="1"/>
          </p:cNvSpPr>
          <p:nvPr>
            <p:ph type="ftr" sz="quarter" idx="2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2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3253836813"/>
      </p:ext>
    </p:extLst>
  </p:cSld>
  <p:clrMapOvr>
    <a:masterClrMapping/>
  </p:clrMapOv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Video background">
    <p:spTree>
      <p:nvGrpSpPr>
        <p:cNvPr id="1" name=""/>
        <p:cNvGrpSpPr/>
        <p:nvPr/>
      </p:nvGrpSpPr>
      <p:grpSpPr>
        <a:xfrm>
          <a:off x="0" y="0"/>
          <a:ext cx="0" cy="0"/>
          <a:chOff x="0" y="0"/>
          <a:chExt cx="0" cy="0"/>
        </a:xfrm>
      </p:grpSpPr>
      <p:sp>
        <p:nvSpPr>
          <p:cNvPr id="10" name="Media Placeholder 8"/>
          <p:cNvSpPr>
            <a:spLocks noGrp="1"/>
          </p:cNvSpPr>
          <p:nvPr>
            <p:ph type="media" sz="quarter" idx="18"/>
          </p:nvPr>
        </p:nvSpPr>
        <p:spPr>
          <a:xfrm>
            <a:off x="0" y="12"/>
            <a:ext cx="9144000" cy="6857999"/>
          </a:xfrm>
          <a:solidFill>
            <a:schemeClr val="accent6"/>
          </a:solidFill>
          <a:effectLst/>
        </p:spPr>
        <p:txBody>
          <a:bodyPr rtlCol="0" anchor="ctr">
            <a:normAutofit/>
          </a:bodyPr>
          <a:lstStyle>
            <a:lvl1pPr marL="0" indent="0" algn="ctr">
              <a:buNone/>
              <a:defRPr sz="700">
                <a:solidFill>
                  <a:schemeClr val="bg1"/>
                </a:solidFill>
              </a:defRPr>
            </a:lvl1pPr>
          </a:lstStyle>
          <a:p>
            <a:pPr lvl="0"/>
            <a:r>
              <a:rPr lang="en-US" noProof="0" dirty="0"/>
              <a:t>Click icon to add media</a:t>
            </a:r>
            <a:endParaRPr lang="en-GB" noProof="0" dirty="0"/>
          </a:p>
        </p:txBody>
      </p:sp>
      <p:sp>
        <p:nvSpPr>
          <p:cNvPr id="3" name="Rectangle 5"/>
          <p:cNvSpPr>
            <a:spLocks noGrp="1" noChangeArrowheads="1"/>
          </p:cNvSpPr>
          <p:nvPr>
            <p:ph type="ftr" sz="quarter" idx="19"/>
          </p:nvPr>
        </p:nvSpPr>
        <p:spPr/>
        <p:txBody>
          <a:bodyPr/>
          <a:lstStyle>
            <a:lvl1pPr fontAlgn="auto">
              <a:spcBef>
                <a:spcPts val="0"/>
              </a:spcBef>
              <a:spcAft>
                <a:spcPts val="0"/>
              </a:spcAft>
              <a:defRPr>
                <a:solidFill>
                  <a:srgbClr val="FFFFFF"/>
                </a:solidFill>
                <a:ea typeface="+mn-ea"/>
              </a:defRPr>
            </a:lvl1pPr>
          </a:lstStyle>
          <a:p>
            <a:pPr>
              <a:defRPr/>
            </a:pPr>
            <a:r>
              <a:rPr lang="en-GB"/>
              <a:t>Presentation title</a:t>
            </a:r>
          </a:p>
        </p:txBody>
      </p:sp>
      <p:sp>
        <p:nvSpPr>
          <p:cNvPr id="4" name="Rectangle 81"/>
          <p:cNvSpPr>
            <a:spLocks noGrp="1" noChangeArrowheads="1"/>
          </p:cNvSpPr>
          <p:nvPr>
            <p:ph type="dt" sz="half" idx="20"/>
          </p:nvPr>
        </p:nvSpPr>
        <p:spPr/>
        <p:txBody>
          <a:bodyPr/>
          <a:lstStyle>
            <a:lvl1pPr fontAlgn="auto">
              <a:spcBef>
                <a:spcPts val="0"/>
              </a:spcBef>
              <a:spcAft>
                <a:spcPts val="0"/>
              </a:spcAft>
              <a:defRPr>
                <a:solidFill>
                  <a:srgbClr val="FFFFFF"/>
                </a:solidFill>
                <a:ea typeface="+mn-ea"/>
              </a:defRPr>
            </a:lvl1pPr>
          </a:lstStyle>
          <a:p>
            <a:pPr>
              <a:defRPr/>
            </a:pPr>
            <a:r>
              <a:rPr lang="en-GB"/>
              <a:t>Date</a:t>
            </a:r>
          </a:p>
        </p:txBody>
      </p:sp>
      <p:sp>
        <p:nvSpPr>
          <p:cNvPr id="5" name="Slide Number Placeholder 23"/>
          <p:cNvSpPr>
            <a:spLocks noGrp="1" noChangeArrowheads="1"/>
          </p:cNvSpPr>
          <p:nvPr>
            <p:ph type="sldNum" sz="quarter" idx="21"/>
          </p:nvPr>
        </p:nvSpPr>
        <p:spPr/>
        <p:txBody>
          <a:bodyPr/>
          <a:lstStyle>
            <a:lvl1pPr>
              <a:defRPr>
                <a:solidFill>
                  <a:srgbClr val="FFFFFF"/>
                </a:solidFill>
              </a:defRPr>
            </a:lvl1pPr>
          </a:lstStyle>
          <a:p>
            <a:pPr>
              <a:defRPr/>
            </a:pPr>
            <a:fld id="{E760F70F-504E-4D3A-94D2-9382679ABA79}" type="slidenum">
              <a:rPr lang="en-GB"/>
              <a:pPr>
                <a:defRPr/>
              </a:pPr>
              <a:t>‹#›</a:t>
            </a:fld>
            <a:endParaRPr lang="en-GB"/>
          </a:p>
        </p:txBody>
      </p:sp>
    </p:spTree>
    <p:extLst>
      <p:ext uri="{BB962C8B-B14F-4D97-AF65-F5344CB8AC3E}">
        <p14:creationId xmlns:p14="http://schemas.microsoft.com/office/powerpoint/2010/main" val="3108339671"/>
      </p:ext>
    </p:extLst>
  </p:cSld>
  <p:clrMapOvr>
    <a:masterClrMapping/>
  </p:clrMapOv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Margin guide">
    <p:spTree>
      <p:nvGrpSpPr>
        <p:cNvPr id="1" name=""/>
        <p:cNvGrpSpPr/>
        <p:nvPr/>
      </p:nvGrpSpPr>
      <p:grpSpPr>
        <a:xfrm>
          <a:off x="0" y="0"/>
          <a:ext cx="0" cy="0"/>
          <a:chOff x="0" y="0"/>
          <a:chExt cx="0" cy="0"/>
        </a:xfrm>
      </p:grpSpPr>
      <p:sp>
        <p:nvSpPr>
          <p:cNvPr id="2" name="Rectangle 6"/>
          <p:cNvSpPr/>
          <p:nvPr userDrawn="1"/>
        </p:nvSpPr>
        <p:spPr bwMode="auto">
          <a:xfrm>
            <a:off x="317502" y="412760"/>
            <a:ext cx="8509000" cy="5278439"/>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a:extLst/>
        </p:spPr>
        <p:txBody>
          <a:bodyPr wrap="none" lIns="72000" tIns="72000" rIns="72000" bIns="72000" anchor="ctr"/>
          <a:lstStyle/>
          <a:p>
            <a:pPr algn="ctr" defTabSz="1219200">
              <a:spcBef>
                <a:spcPct val="50000"/>
              </a:spcBef>
              <a:defRPr/>
            </a:pPr>
            <a:endParaRPr lang="en-GB" sz="2400" b="1" dirty="0">
              <a:solidFill>
                <a:srgbClr val="001965"/>
              </a:solidFill>
              <a:latin typeface="Verdana"/>
              <a:ea typeface="ＭＳ Ｐゴシック" pitchFamily="34" charset="-128"/>
              <a:cs typeface="Arial" pitchFamily="34" charset="0"/>
            </a:endParaRPr>
          </a:p>
        </p:txBody>
      </p:sp>
      <p:sp>
        <p:nvSpPr>
          <p:cNvPr id="3" name="Title 6"/>
          <p:cNvSpPr txBox="1">
            <a:spLocks/>
          </p:cNvSpPr>
          <p:nvPr userDrawn="1"/>
        </p:nvSpPr>
        <p:spPr bwMode="auto">
          <a:xfrm>
            <a:off x="319091" y="769939"/>
            <a:ext cx="8518525" cy="520700"/>
          </a:xfrm>
          <a:prstGeom prst="rect">
            <a:avLst/>
          </a:prstGeom>
          <a:noFill/>
          <a:ln>
            <a:noFill/>
          </a:ln>
          <a:effectLst/>
          <a:extLst/>
        </p:spPr>
        <p:txBody>
          <a:bodyPr lIns="0" tIns="0" rIns="0" bIns="0"/>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pPr>
              <a:defRPr/>
            </a:pPr>
            <a:r>
              <a:rPr lang="en-GB" dirty="0"/>
              <a:t>Title</a:t>
            </a:r>
          </a:p>
        </p:txBody>
      </p:sp>
      <p:sp>
        <p:nvSpPr>
          <p:cNvPr id="4" name="TextBox 8"/>
          <p:cNvSpPr txBox="1">
            <a:spLocks noChangeArrowheads="1"/>
          </p:cNvSpPr>
          <p:nvPr userDrawn="1"/>
        </p:nvSpPr>
        <p:spPr bwMode="auto">
          <a:xfrm>
            <a:off x="2749551" y="3365529"/>
            <a:ext cx="3632200" cy="276999"/>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a:defRPr/>
            </a:pPr>
            <a:r>
              <a:rPr lang="en-GB" sz="1200" dirty="0">
                <a:solidFill>
                  <a:srgbClr val="E64A0E"/>
                </a:solidFill>
                <a:ea typeface="ＭＳ Ｐゴシック" pitchFamily="34" charset="-128"/>
                <a:cs typeface="Arial" pitchFamily="34" charset="0"/>
              </a:rPr>
              <a:t>Keep all content in this area</a:t>
            </a:r>
          </a:p>
        </p:txBody>
      </p:sp>
      <p:sp>
        <p:nvSpPr>
          <p:cNvPr id="5" name="TextBox 9"/>
          <p:cNvSpPr txBox="1">
            <a:spLocks noChangeArrowheads="1"/>
          </p:cNvSpPr>
          <p:nvPr userDrawn="1"/>
        </p:nvSpPr>
        <p:spPr bwMode="auto">
          <a:xfrm>
            <a:off x="319091" y="1751013"/>
            <a:ext cx="8518525" cy="369332"/>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endParaRPr lang="en-GB" dirty="0">
              <a:solidFill>
                <a:srgbClr val="001965"/>
              </a:solidFill>
              <a:ea typeface="ＭＳ Ｐゴシック" pitchFamily="34" charset="-128"/>
              <a:cs typeface="Arial" pitchFamily="34" charset="0"/>
            </a:endParaRPr>
          </a:p>
        </p:txBody>
      </p:sp>
      <p:sp>
        <p:nvSpPr>
          <p:cNvPr id="6" name="Rectangle 10"/>
          <p:cNvSpPr/>
          <p:nvPr userDrawn="1"/>
        </p:nvSpPr>
        <p:spPr bwMode="auto">
          <a:xfrm>
            <a:off x="317502" y="1751028"/>
            <a:ext cx="8509000" cy="3940175"/>
          </a:xfrm>
          <a:prstGeom prst="rect">
            <a:avLst/>
          </a:prstGeom>
          <a:noFill/>
          <a:ln w="3175" cap="flat" cmpd="sng" algn="ctr">
            <a:solidFill>
              <a:schemeClr val="accent5"/>
            </a:solidFill>
            <a:prstDash val="solid"/>
            <a:round/>
            <a:headEnd type="none" w="med" len="med"/>
            <a:tailEnd type="none" w="med" len="med"/>
          </a:ln>
          <a:effectLst/>
          <a:extLst/>
        </p:spPr>
        <p:txBody>
          <a:bodyPr wrap="none" lIns="0" tIns="0" rIns="0" bIns="0"/>
          <a:lstStyle/>
          <a:p>
            <a:pPr marL="269875" indent="-269875" defTabSz="1219200">
              <a:spcBef>
                <a:spcPct val="50000"/>
              </a:spcBef>
              <a:buClr>
                <a:srgbClr val="009FDA"/>
              </a:buClr>
              <a:buFont typeface="Arial" pitchFamily="34" charset="0"/>
              <a:buChar char="•"/>
              <a:defRPr/>
            </a:pPr>
            <a:r>
              <a:rPr lang="en-GB" dirty="0">
                <a:solidFill>
                  <a:srgbClr val="001965"/>
                </a:solidFill>
                <a:latin typeface="Verdana"/>
                <a:ea typeface="ＭＳ Ｐゴシック" pitchFamily="34" charset="-128"/>
                <a:cs typeface="Arial" pitchFamily="34" charset="0"/>
              </a:rPr>
              <a:t>Content area</a:t>
            </a:r>
          </a:p>
        </p:txBody>
      </p:sp>
      <p:sp>
        <p:nvSpPr>
          <p:cNvPr id="7" name="TextBox 11"/>
          <p:cNvSpPr txBox="1">
            <a:spLocks noChangeArrowheads="1"/>
          </p:cNvSpPr>
          <p:nvPr userDrawn="1"/>
        </p:nvSpPr>
        <p:spPr bwMode="auto">
          <a:xfrm>
            <a:off x="317500" y="1287551"/>
            <a:ext cx="4572000" cy="276999"/>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r>
              <a:rPr lang="en-GB" sz="1200" dirty="0">
                <a:solidFill>
                  <a:srgbClr val="E64A0E"/>
                </a:solidFill>
                <a:ea typeface="ＭＳ Ｐゴシック" pitchFamily="34" charset="-128"/>
                <a:cs typeface="Arial" pitchFamily="34" charset="0"/>
              </a:rPr>
              <a:t>Keep all titles, trompets and subtitles in this area</a:t>
            </a:r>
          </a:p>
        </p:txBody>
      </p:sp>
      <p:sp>
        <p:nvSpPr>
          <p:cNvPr id="8" name="TextBox 15"/>
          <p:cNvSpPr txBox="1">
            <a:spLocks noChangeArrowheads="1"/>
          </p:cNvSpPr>
          <p:nvPr userDrawn="1"/>
        </p:nvSpPr>
        <p:spPr bwMode="auto">
          <a:xfrm>
            <a:off x="4919664" y="439761"/>
            <a:ext cx="3910012" cy="276999"/>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a:defRPr/>
            </a:pPr>
            <a:r>
              <a:rPr lang="en-GB" sz="1200" dirty="0">
                <a:solidFill>
                  <a:srgbClr val="E64A0E"/>
                </a:solidFill>
                <a:ea typeface="ＭＳ Ｐゴシック" pitchFamily="34" charset="-128"/>
                <a:cs typeface="Arial" pitchFamily="34" charset="0"/>
              </a:rPr>
              <a:t>Never move Footer, Date and No placeholders</a:t>
            </a:r>
          </a:p>
        </p:txBody>
      </p:sp>
      <p:sp>
        <p:nvSpPr>
          <p:cNvPr id="9" name="Rectangle 5"/>
          <p:cNvSpPr>
            <a:spLocks noGrp="1" noChangeArrowheads="1"/>
          </p:cNvSpPr>
          <p:nvPr>
            <p:ph type="ftr" sz="quarter" idx="10"/>
          </p:nvPr>
        </p:nvSpPr>
        <p:spPr/>
        <p:txBody>
          <a:bodyPr/>
          <a:lstStyle>
            <a:lvl1pPr fontAlgn="auto">
              <a:spcBef>
                <a:spcPts val="0"/>
              </a:spcBef>
              <a:spcAft>
                <a:spcPts val="0"/>
              </a:spcAft>
              <a:defRPr>
                <a:ea typeface="+mn-ea"/>
              </a:defRPr>
            </a:lvl1pPr>
          </a:lstStyle>
          <a:p>
            <a:pPr>
              <a:defRPr/>
            </a:pPr>
            <a:r>
              <a:rPr lang="en-GB"/>
              <a:t>Presentation title</a:t>
            </a:r>
          </a:p>
        </p:txBody>
      </p:sp>
      <p:sp>
        <p:nvSpPr>
          <p:cNvPr id="10" name="Rectangle 81"/>
          <p:cNvSpPr>
            <a:spLocks noGrp="1" noChangeArrowheads="1"/>
          </p:cNvSpPr>
          <p:nvPr>
            <p:ph type="dt" sz="half" idx="11"/>
          </p:nvPr>
        </p:nvSpPr>
        <p:spPr/>
        <p:txBody>
          <a:bodyPr/>
          <a:lstStyle>
            <a:lvl1pPr fontAlgn="auto">
              <a:spcBef>
                <a:spcPts val="0"/>
              </a:spcBef>
              <a:spcAft>
                <a:spcPts val="0"/>
              </a:spcAft>
              <a:defRPr>
                <a:ea typeface="+mn-ea"/>
              </a:defRPr>
            </a:lvl1pPr>
          </a:lstStyle>
          <a:p>
            <a:pPr>
              <a:defRPr/>
            </a:pPr>
            <a:r>
              <a:rPr lang="en-GB"/>
              <a:t>Date</a:t>
            </a:r>
          </a:p>
        </p:txBody>
      </p:sp>
      <p:sp>
        <p:nvSpPr>
          <p:cNvPr id="11" name="Slide Number Placeholder 23"/>
          <p:cNvSpPr>
            <a:spLocks noGrp="1" noChangeArrowheads="1"/>
          </p:cNvSpPr>
          <p:nvPr>
            <p:ph type="sldNum" sz="quarter" idx="12"/>
          </p:nvPr>
        </p:nvSpPr>
        <p:spPr/>
        <p:txBody>
          <a:bodyPr/>
          <a:lstStyle>
            <a:lvl1pPr>
              <a:defRPr/>
            </a:lvl1pPr>
          </a:lstStyle>
          <a:p>
            <a:pPr>
              <a:defRPr/>
            </a:pPr>
            <a:fld id="{7E0E89EB-6DC5-4C6F-A308-9AE26AE4D91B}" type="slidenum">
              <a:rPr lang="en-GB"/>
              <a:pPr>
                <a:defRPr/>
              </a:pPr>
              <a:t>‹#›</a:t>
            </a:fld>
            <a:endParaRPr lang="en-GB"/>
          </a:p>
        </p:txBody>
      </p:sp>
    </p:spTree>
    <p:extLst>
      <p:ext uri="{BB962C8B-B14F-4D97-AF65-F5344CB8AC3E}">
        <p14:creationId xmlns:p14="http://schemas.microsoft.com/office/powerpoint/2010/main" val="403334865"/>
      </p:ext>
    </p:extLst>
  </p:cSld>
  <p:clrMapOvr>
    <a:masterClrMapping/>
  </p:clrMapOv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Slide 11">
    <p:spTree>
      <p:nvGrpSpPr>
        <p:cNvPr id="1" name=""/>
        <p:cNvGrpSpPr/>
        <p:nvPr/>
      </p:nvGrpSpPr>
      <p:grpSpPr>
        <a:xfrm>
          <a:off x="0" y="0"/>
          <a:ext cx="0" cy="0"/>
          <a:chOff x="0" y="0"/>
          <a:chExt cx="0" cy="0"/>
        </a:xfrm>
      </p:grpSpPr>
      <p:pic>
        <p:nvPicPr>
          <p:cNvPr id="5" name="Picture 8" descr="LEADER_circles"/>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t="32852" r="22656"/>
          <a:stretch>
            <a:fillRect/>
          </a:stretch>
        </p:blipFill>
        <p:spPr bwMode="auto">
          <a:xfrm>
            <a:off x="5724539" y="0"/>
            <a:ext cx="3419475" cy="3778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S:\Customers\Novo Nordisk\Jobs\13371_Victoza - event_visual identity\Account\FINAL PDF\new pictures\LEADER.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113214" y="862020"/>
            <a:ext cx="3759200" cy="5949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10"/>
          <p:cNvSpPr>
            <a:spLocks noGrp="1"/>
          </p:cNvSpPr>
          <p:nvPr>
            <p:ph type="body" sz="quarter" idx="10"/>
          </p:nvPr>
        </p:nvSpPr>
        <p:spPr>
          <a:xfrm>
            <a:off x="6517029" y="836088"/>
            <a:ext cx="2015784" cy="1012763"/>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400">
                <a:solidFill>
                  <a:schemeClr val="accent1"/>
                </a:solidFill>
              </a:defRPr>
            </a:lvl1pPr>
            <a:lvl2pPr marL="468313" indent="0">
              <a:buNone/>
              <a:defRPr/>
            </a:lvl2pPr>
            <a:lvl3pPr marL="952500" indent="0">
              <a:buNone/>
              <a:defRPr/>
            </a:lvl3pPr>
            <a:lvl4pPr marL="1414462" indent="0">
              <a:buNone/>
              <a:defRPr/>
            </a:lvl4pPr>
            <a:lvl5pPr marL="1873250" indent="0">
              <a:buNone/>
              <a:defRPr/>
            </a:lvl5pPr>
          </a:lstStyle>
          <a:p>
            <a:pPr lvl="0"/>
            <a:r>
              <a:rPr lang="en-US" noProof="0"/>
              <a:t>Click to edit Master text styles</a:t>
            </a:r>
          </a:p>
        </p:txBody>
      </p:sp>
      <p:sp>
        <p:nvSpPr>
          <p:cNvPr id="12" name="Title 1"/>
          <p:cNvSpPr>
            <a:spLocks noGrp="1"/>
          </p:cNvSpPr>
          <p:nvPr>
            <p:ph type="ctrTitle"/>
          </p:nvPr>
        </p:nvSpPr>
        <p:spPr>
          <a:xfrm>
            <a:off x="611188" y="3429000"/>
            <a:ext cx="3582194" cy="1440160"/>
          </a:xfrm>
        </p:spPr>
        <p:txBody>
          <a:bodyPr anchor="t">
            <a:noAutofit/>
          </a:bodyPr>
          <a:lstStyle>
            <a:lvl1pPr>
              <a:defRPr>
                <a:solidFill>
                  <a:schemeClr val="accent1"/>
                </a:solidFill>
              </a:defRPr>
            </a:lvl1pPr>
          </a:lstStyle>
          <a:p>
            <a:r>
              <a:rPr lang="en-US" noProof="0"/>
              <a:t>Click to edit Master title style</a:t>
            </a:r>
            <a:endParaRPr lang="en-GB" noProof="0"/>
          </a:p>
        </p:txBody>
      </p:sp>
      <p:sp>
        <p:nvSpPr>
          <p:cNvPr id="13" name="Subtitle 2"/>
          <p:cNvSpPr>
            <a:spLocks noGrp="1"/>
          </p:cNvSpPr>
          <p:nvPr>
            <p:ph type="subTitle" idx="1"/>
          </p:nvPr>
        </p:nvSpPr>
        <p:spPr>
          <a:xfrm>
            <a:off x="611188" y="4965238"/>
            <a:ext cx="3582194" cy="384149"/>
          </a:xfrm>
        </p:spPr>
        <p:txBody>
          <a:bodyPr>
            <a:noAutofit/>
          </a:bodyPr>
          <a:lstStyle>
            <a:lvl1pPr marL="0" indent="0" algn="l">
              <a:buNone/>
              <a:defRPr sz="1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spTree>
    <p:extLst>
      <p:ext uri="{BB962C8B-B14F-4D97-AF65-F5344CB8AC3E}">
        <p14:creationId xmlns:p14="http://schemas.microsoft.com/office/powerpoint/2010/main" val="162772228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4026" y="384552"/>
            <a:ext cx="8232774" cy="975360"/>
          </a:xfrm>
        </p:spPr>
        <p:txBody>
          <a:bodyPr>
            <a:normAutofit/>
          </a:bodyPr>
          <a:lstStyle>
            <a:lvl1pPr algn="ctr">
              <a:defRPr lang="en-US" sz="2800" kern="1200" noProof="0" dirty="0" smtClean="0">
                <a:solidFill>
                  <a:schemeClr val="tx1"/>
                </a:solidFill>
                <a:latin typeface="+mj-lt"/>
                <a:ea typeface="ＭＳ Ｐゴシック" charset="0"/>
                <a:cs typeface="ＭＳ Ｐゴシック" charset="0"/>
              </a:defRPr>
            </a:lvl1pPr>
          </a:lstStyle>
          <a:p>
            <a:pPr lvl="0"/>
            <a:r>
              <a:rPr lang="en-US" noProof="0" dirty="0"/>
              <a:t>Click to edit Master title</a:t>
            </a:r>
            <a:endParaRPr lang="en-GB" noProof="0" dirty="0"/>
          </a:p>
        </p:txBody>
      </p:sp>
      <p:sp>
        <p:nvSpPr>
          <p:cNvPr id="3" name="Slide Number Placeholder 1"/>
          <p:cNvSpPr>
            <a:spLocks noGrp="1"/>
          </p:cNvSpPr>
          <p:nvPr>
            <p:ph type="sldNum" sz="quarter" idx="10"/>
          </p:nvPr>
        </p:nvSpPr>
        <p:spPr>
          <a:xfrm>
            <a:off x="7010400" y="6491288"/>
            <a:ext cx="2133600" cy="366712"/>
          </a:xfrm>
        </p:spPr>
        <p:txBody>
          <a:bodyPr lIns="91440" tIns="45720" rIns="91440" bIns="45720" anchor="b"/>
          <a:lstStyle>
            <a:lvl1pPr>
              <a:defRPr sz="1200">
                <a:solidFill>
                  <a:srgbClr val="898B9F"/>
                </a:solidFill>
              </a:defRPr>
            </a:lvl1pPr>
          </a:lstStyle>
          <a:p>
            <a:pPr>
              <a:defRPr/>
            </a:pPr>
            <a:fld id="{3D65AB57-F0B1-4189-B33C-F3320E4DB6B1}" type="slidenum">
              <a:rPr lang="en-US"/>
              <a:pPr>
                <a:defRPr/>
              </a:pPr>
              <a:t>‹#›</a:t>
            </a:fld>
            <a:endParaRPr lang="en-US"/>
          </a:p>
        </p:txBody>
      </p:sp>
    </p:spTree>
    <p:extLst>
      <p:ext uri="{BB962C8B-B14F-4D97-AF65-F5344CB8AC3E}">
        <p14:creationId xmlns:p14="http://schemas.microsoft.com/office/powerpoint/2010/main" val="623110965"/>
      </p:ext>
    </p:extLst>
  </p:cSld>
  <p:clrMapOvr>
    <a:masterClrMapping/>
  </p:clrMapOvr>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8"/>
          <p:cNvSpPr>
            <a:spLocks noGrp="1" noChangeArrowheads="1"/>
          </p:cNvSpPr>
          <p:nvPr>
            <p:ph type="ftr" sz="quarter" idx="10"/>
          </p:nvPr>
        </p:nvSpPr>
        <p:spPr>
          <a:xfrm>
            <a:off x="469900" y="-127000"/>
            <a:ext cx="5843588" cy="471488"/>
          </a:xfrm>
        </p:spPr>
        <p:txBody>
          <a:bodyPr/>
          <a:lstStyle>
            <a:lvl1pPr fontAlgn="auto">
              <a:spcBef>
                <a:spcPts val="0"/>
              </a:spcBef>
              <a:spcAft>
                <a:spcPts val="0"/>
              </a:spcAft>
              <a:defRPr>
                <a:solidFill>
                  <a:srgbClr val="001965"/>
                </a:solidFill>
                <a:latin typeface="Arial" charset="0"/>
                <a:ea typeface="+mn-ea"/>
                <a:cs typeface="Arial" charset="0"/>
              </a:defRPr>
            </a:lvl1pPr>
          </a:lstStyle>
          <a:p>
            <a:pPr>
              <a:defRPr/>
            </a:pPr>
            <a:endParaRPr lang="en-GB"/>
          </a:p>
        </p:txBody>
      </p:sp>
      <p:sp>
        <p:nvSpPr>
          <p:cNvPr id="4" name="Rectangle 19"/>
          <p:cNvSpPr>
            <a:spLocks noGrp="1" noChangeArrowheads="1"/>
          </p:cNvSpPr>
          <p:nvPr>
            <p:ph type="sldNum" sz="quarter" idx="11"/>
          </p:nvPr>
        </p:nvSpPr>
        <p:spPr>
          <a:xfrm>
            <a:off x="7761289" y="-127000"/>
            <a:ext cx="901700" cy="471488"/>
          </a:xfrm>
        </p:spPr>
        <p:txBody>
          <a:bodyPr/>
          <a:lstStyle>
            <a:lvl1pPr>
              <a:defRPr>
                <a:solidFill>
                  <a:srgbClr val="001965"/>
                </a:solidFill>
                <a:latin typeface="Arial" pitchFamily="34" charset="0"/>
              </a:defRPr>
            </a:lvl1pPr>
          </a:lstStyle>
          <a:p>
            <a:pPr>
              <a:defRPr/>
            </a:pPr>
            <a:r>
              <a:rPr lang="en-GB"/>
              <a:t>Slide No </a:t>
            </a:r>
            <a:fld id="{F62BA59F-A042-49E9-B11E-FDDC762A0AB3}" type="slidenum">
              <a:rPr lang="en-GB"/>
              <a:pPr>
                <a:defRPr/>
              </a:pPr>
              <a:t>‹#›</a:t>
            </a:fld>
            <a:endParaRPr lang="en-GB"/>
          </a:p>
        </p:txBody>
      </p:sp>
    </p:spTree>
    <p:extLst>
      <p:ext uri="{BB962C8B-B14F-4D97-AF65-F5344CB8AC3E}">
        <p14:creationId xmlns:p14="http://schemas.microsoft.com/office/powerpoint/2010/main" val="417995320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Level 1">
    <p:spTree>
      <p:nvGrpSpPr>
        <p:cNvPr id="1" name=""/>
        <p:cNvGrpSpPr/>
        <p:nvPr/>
      </p:nvGrpSpPr>
      <p:grpSpPr>
        <a:xfrm>
          <a:off x="0" y="0"/>
          <a:ext cx="0" cy="0"/>
          <a:chOff x="0" y="0"/>
          <a:chExt cx="0" cy="0"/>
        </a:xfrm>
      </p:grpSpPr>
      <p:graphicFrame>
        <p:nvGraphicFramePr>
          <p:cNvPr id="4" name="Content Placeholder 3"/>
          <p:cNvGraphicFramePr>
            <a:graphicFrameLocks noChangeAspect="1"/>
          </p:cNvGraphicFramePr>
          <p:nvPr userDrawn="1"/>
        </p:nvGraphicFramePr>
        <p:xfrm>
          <a:off x="8454734" y="130972"/>
          <a:ext cx="464211" cy="3570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 Placeholder 11"/>
          <p:cNvSpPr>
            <a:spLocks noGrp="1"/>
          </p:cNvSpPr>
          <p:nvPr>
            <p:ph type="body" sz="quarter" idx="13"/>
          </p:nvPr>
        </p:nvSpPr>
        <p:spPr>
          <a:xfrm>
            <a:off x="468324" y="6622269"/>
            <a:ext cx="8218487" cy="123111"/>
          </a:xfrm>
        </p:spPr>
        <p:txBody>
          <a:bodyPr anchor="b">
            <a:spAutoFit/>
          </a:bodyPr>
          <a:lstStyle>
            <a:lvl1pPr marL="0" indent="0">
              <a:buNone/>
              <a:defRPr sz="800"/>
            </a:lvl1pPr>
          </a:lstStyle>
          <a:p>
            <a:pPr lvl="0"/>
            <a:r>
              <a:rPr lang="en-US"/>
              <a:t>Click to edit Master text styles</a:t>
            </a:r>
          </a:p>
        </p:txBody>
      </p:sp>
      <p:sp>
        <p:nvSpPr>
          <p:cNvPr id="8" name="Title 1"/>
          <p:cNvSpPr>
            <a:spLocks noGrp="1"/>
          </p:cNvSpPr>
          <p:nvPr>
            <p:ph type="title"/>
          </p:nvPr>
        </p:nvSpPr>
        <p:spPr>
          <a:xfrm>
            <a:off x="468011" y="485252"/>
            <a:ext cx="7961625" cy="801688"/>
          </a:xfrm>
        </p:spPr>
        <p:txBody>
          <a:bodyPr/>
          <a:lstStyle/>
          <a:p>
            <a:r>
              <a:rPr lang="en-US" dirty="0"/>
              <a:t>Click to edit Master title style</a:t>
            </a:r>
            <a:endParaRPr lang="en-GB" dirty="0"/>
          </a:p>
        </p:txBody>
      </p:sp>
      <p:sp>
        <p:nvSpPr>
          <p:cNvPr id="5" name="Footer Placeholder 2"/>
          <p:cNvSpPr>
            <a:spLocks noGrp="1"/>
          </p:cNvSpPr>
          <p:nvPr>
            <p:ph type="ftr" sz="quarter" idx="14"/>
          </p:nvPr>
        </p:nvSpPr>
        <p:spPr>
          <a:xfrm>
            <a:off x="468329" y="128588"/>
            <a:ext cx="5595937" cy="228600"/>
          </a:xfrm>
        </p:spPr>
        <p:txBody>
          <a:bodyPr/>
          <a:lstStyle>
            <a:lvl1pPr fontAlgn="auto">
              <a:spcBef>
                <a:spcPts val="0"/>
              </a:spcBef>
              <a:spcAft>
                <a:spcPts val="0"/>
              </a:spcAft>
              <a:defRPr>
                <a:ea typeface="ヒラギノ角ゴ Pro W3"/>
                <a:cs typeface="ヒラギノ角ゴ Pro W3"/>
              </a:defRPr>
            </a:lvl1pPr>
          </a:lstStyle>
          <a:p>
            <a:pPr>
              <a:defRPr/>
            </a:pPr>
            <a:r>
              <a:rPr lang="pt-BR"/>
              <a:t>Diabetes Competition Monitor</a:t>
            </a:r>
            <a:endParaRPr lang="en-GB" dirty="0"/>
          </a:p>
        </p:txBody>
      </p:sp>
      <p:sp>
        <p:nvSpPr>
          <p:cNvPr id="6" name="Slide Number Placeholder 3"/>
          <p:cNvSpPr>
            <a:spLocks noGrp="1"/>
          </p:cNvSpPr>
          <p:nvPr>
            <p:ph type="sldNum" sz="quarter" idx="15"/>
          </p:nvPr>
        </p:nvSpPr>
        <p:spPr>
          <a:xfrm>
            <a:off x="7519990" y="128596"/>
            <a:ext cx="901700" cy="231775"/>
          </a:xfrm>
        </p:spPr>
        <p:txBody>
          <a:bodyPr/>
          <a:lstStyle>
            <a:lvl1pPr>
              <a:defRPr>
                <a:ea typeface="ヒラギノ角ゴ Pro W3"/>
                <a:cs typeface="ヒラギノ角ゴ Pro W3"/>
              </a:defRPr>
            </a:lvl1pPr>
          </a:lstStyle>
          <a:p>
            <a:pPr>
              <a:defRPr/>
            </a:pPr>
            <a:fld id="{1F4B2393-D7D6-40F9-BDBB-F5997BAC1259}" type="slidenum">
              <a:rPr lang="en-GB"/>
              <a:pPr>
                <a:defRPr/>
              </a:pPr>
              <a:t>‹#›</a:t>
            </a:fld>
            <a:endParaRPr lang="en-GB"/>
          </a:p>
        </p:txBody>
      </p:sp>
      <p:sp>
        <p:nvSpPr>
          <p:cNvPr id="7" name="Date Placeholder 4"/>
          <p:cNvSpPr>
            <a:spLocks noGrp="1"/>
          </p:cNvSpPr>
          <p:nvPr>
            <p:ph type="dt" sz="half" idx="16"/>
          </p:nvPr>
        </p:nvSpPr>
        <p:spPr>
          <a:xfrm>
            <a:off x="6064252" y="128588"/>
            <a:ext cx="1454150" cy="228600"/>
          </a:xfrm>
        </p:spPr>
        <p:txBody>
          <a:bodyPr/>
          <a:lstStyle>
            <a:lvl1pPr fontAlgn="auto">
              <a:spcBef>
                <a:spcPts val="0"/>
              </a:spcBef>
              <a:spcAft>
                <a:spcPts val="0"/>
              </a:spcAft>
              <a:defRPr>
                <a:ea typeface="ヒラギノ角ゴ Pro W3"/>
                <a:cs typeface="ヒラギノ角ゴ Pro W3"/>
              </a:defRPr>
            </a:lvl1pPr>
          </a:lstStyle>
          <a:p>
            <a:pPr>
              <a:defRPr/>
            </a:pPr>
            <a:r>
              <a:rPr lang="en-US"/>
              <a:t>Q4 2012</a:t>
            </a:r>
            <a:endParaRPr lang="en-GB"/>
          </a:p>
        </p:txBody>
      </p:sp>
    </p:spTree>
    <p:extLst>
      <p:ext uri="{BB962C8B-B14F-4D97-AF65-F5344CB8AC3E}">
        <p14:creationId xmlns:p14="http://schemas.microsoft.com/office/powerpoint/2010/main" val="77937564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2C655760-C8B2-46D2-AF98-1FFF683BDCA4}" type="slidenum">
              <a:rPr lang="en-GB"/>
              <a:pPr>
                <a:defRPr/>
              </a:pPr>
              <a:t>‹#›</a:t>
            </a:fld>
            <a:endParaRPr lang="en-GB"/>
          </a:p>
        </p:txBody>
      </p:sp>
      <p:sp>
        <p:nvSpPr>
          <p:cNvPr id="3" name="Footer Placeholder 2"/>
          <p:cNvSpPr>
            <a:spLocks noGrp="1"/>
          </p:cNvSpPr>
          <p:nvPr>
            <p:ph type="ftr" sz="quarter" idx="11"/>
          </p:nvPr>
        </p:nvSpPr>
        <p:spPr/>
        <p:txBody>
          <a:bodyPr/>
          <a:lstStyle>
            <a:lvl1pPr fontAlgn="auto">
              <a:spcBef>
                <a:spcPts val="0"/>
              </a:spcBef>
              <a:spcAft>
                <a:spcPts val="0"/>
              </a:spcAft>
              <a:defRPr>
                <a:ea typeface="+mn-ea"/>
              </a:defRPr>
            </a:lvl1pPr>
          </a:lstStyle>
          <a:p>
            <a:pPr>
              <a:defRPr/>
            </a:pPr>
            <a:r>
              <a:rPr lang="en-GB"/>
              <a:t>Presentation title</a:t>
            </a:r>
          </a:p>
        </p:txBody>
      </p:sp>
      <p:sp>
        <p:nvSpPr>
          <p:cNvPr id="4" name="Date Placeholder 3"/>
          <p:cNvSpPr>
            <a:spLocks noGrp="1"/>
          </p:cNvSpPr>
          <p:nvPr>
            <p:ph type="dt" sz="half" idx="12"/>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3588450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756760"/>
            <a:ext cx="2664000" cy="936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GB" noProof="0" dirty="0"/>
              <a:t>Click to edit Master text styles</a:t>
            </a:r>
          </a:p>
        </p:txBody>
      </p:sp>
      <p:sp>
        <p:nvSpPr>
          <p:cNvPr id="8" name="Text Placeholder 3"/>
          <p:cNvSpPr>
            <a:spLocks noGrp="1"/>
          </p:cNvSpPr>
          <p:nvPr>
            <p:ph type="body" sz="quarter" idx="12"/>
          </p:nvPr>
        </p:nvSpPr>
        <p:spPr>
          <a:xfrm>
            <a:off x="6264000" y="1756760"/>
            <a:ext cx="2664000" cy="936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GB" noProof="0"/>
              <a:t>Click to edit Master text styles</a:t>
            </a:r>
          </a:p>
        </p:txBody>
      </p:sp>
      <p:sp>
        <p:nvSpPr>
          <p:cNvPr id="13" name="Text Placeholder 3"/>
          <p:cNvSpPr>
            <a:spLocks noGrp="1"/>
          </p:cNvSpPr>
          <p:nvPr>
            <p:ph type="body" sz="quarter" idx="13"/>
          </p:nvPr>
        </p:nvSpPr>
        <p:spPr>
          <a:xfrm>
            <a:off x="3240000" y="1756760"/>
            <a:ext cx="2664000" cy="936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GB" noProof="0"/>
              <a:t>Click to edit Master text styles</a:t>
            </a:r>
          </a:p>
        </p:txBody>
      </p:sp>
      <p:sp>
        <p:nvSpPr>
          <p:cNvPr id="9" name="Content Placeholder 2"/>
          <p:cNvSpPr>
            <a:spLocks noGrp="1"/>
          </p:cNvSpPr>
          <p:nvPr>
            <p:ph idx="14" hasCustomPrompt="1"/>
          </p:nvPr>
        </p:nvSpPr>
        <p:spPr>
          <a:xfrm>
            <a:off x="237600" y="2674800"/>
            <a:ext cx="2664000" cy="2160000"/>
          </a:xfrm>
          <a:prstGeom prst="rect">
            <a:avLst/>
          </a:prstGeom>
        </p:spPr>
        <p:txBody>
          <a:bodyPr/>
          <a:lstStyle>
            <a:lvl1pPr marL="180000" indent="-180000">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0" name="Content Placeholder 2"/>
          <p:cNvSpPr>
            <a:spLocks noGrp="1"/>
          </p:cNvSpPr>
          <p:nvPr>
            <p:ph idx="15" hasCustomPrompt="1"/>
          </p:nvPr>
        </p:nvSpPr>
        <p:spPr>
          <a:xfrm>
            <a:off x="3250223" y="2674800"/>
            <a:ext cx="2664000" cy="2160000"/>
          </a:xfrm>
          <a:prstGeom prst="rect">
            <a:avLst/>
          </a:prstGeom>
        </p:spPr>
        <p:txBody>
          <a:bodyPr/>
          <a:lstStyle>
            <a:lvl1pPr marL="180000" indent="-180000">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2" name="Content Placeholder 2"/>
          <p:cNvSpPr>
            <a:spLocks noGrp="1"/>
          </p:cNvSpPr>
          <p:nvPr>
            <p:ph idx="16" hasCustomPrompt="1"/>
          </p:nvPr>
        </p:nvSpPr>
        <p:spPr>
          <a:xfrm>
            <a:off x="6274223" y="2674800"/>
            <a:ext cx="2664000" cy="2160000"/>
          </a:xfrm>
          <a:prstGeom prst="rect">
            <a:avLst/>
          </a:prstGeom>
        </p:spPr>
        <p:txBody>
          <a:bodyPr/>
          <a:lstStyle>
            <a:lvl1pPr marL="180000" indent="-180000">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1"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252603122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5949" y="1600212"/>
            <a:ext cx="4008437"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76789" y="1600212"/>
            <a:ext cx="4010025" cy="42878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0"/>
          </p:nvPr>
        </p:nvSpPr>
        <p:spPr>
          <a:xfrm>
            <a:off x="542448" y="6511747"/>
            <a:ext cx="8128487" cy="153888"/>
          </a:xfrm>
        </p:spPr>
        <p:txBody>
          <a:bodyPr rIns="0" anchor="b">
            <a:spAutoFit/>
          </a:bodyPr>
          <a:lstStyle>
            <a:lvl1pPr marL="0" indent="0">
              <a:buFontTx/>
              <a:buNone/>
              <a:defRPr sz="1000">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132124785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15" name="Content Placeholder 2"/>
          <p:cNvSpPr>
            <a:spLocks noGrp="1"/>
          </p:cNvSpPr>
          <p:nvPr>
            <p:ph idx="10"/>
          </p:nvPr>
        </p:nvSpPr>
        <p:spPr>
          <a:xfrm>
            <a:off x="612648" y="6581221"/>
            <a:ext cx="7763256" cy="205184"/>
          </a:xfrm>
        </p:spPr>
        <p:txBody>
          <a:bodyPr anchor="b">
            <a:noAutofit/>
          </a:bodyPr>
          <a:lstStyle>
            <a:lvl1pPr marL="0" indent="0">
              <a:spcBef>
                <a:spcPts val="0"/>
              </a:spcBef>
              <a:spcAft>
                <a:spcPts val="0"/>
              </a:spcAft>
              <a:buNone/>
              <a:defRPr sz="1000"/>
            </a:lvl1pPr>
            <a:lvl2pPr marL="468313" indent="0">
              <a:buNone/>
              <a:defRPr sz="900"/>
            </a:lvl2pPr>
            <a:lvl3pPr marL="952500" indent="0">
              <a:buNone/>
              <a:defRPr sz="900"/>
            </a:lvl3pPr>
            <a:lvl4pPr marL="1414462" indent="0">
              <a:buNone/>
              <a:defRPr sz="900"/>
            </a:lvl4pPr>
            <a:lvl5pPr marL="1873250" indent="0">
              <a:buNone/>
              <a:defRPr sz="900"/>
            </a:lvl5pPr>
          </a:lstStyle>
          <a:p>
            <a:pPr lvl="0"/>
            <a:r>
              <a:rPr lang="en-US" noProof="0" dirty="0"/>
              <a:t>Click to edit Master text styles</a:t>
            </a:r>
          </a:p>
        </p:txBody>
      </p:sp>
      <p:sp>
        <p:nvSpPr>
          <p:cNvPr id="4" name="Text Placeholder 3"/>
          <p:cNvSpPr>
            <a:spLocks noGrp="1"/>
          </p:cNvSpPr>
          <p:nvPr>
            <p:ph type="body" sz="quarter" idx="14"/>
          </p:nvPr>
        </p:nvSpPr>
        <p:spPr>
          <a:xfrm>
            <a:off x="614373" y="6159588"/>
            <a:ext cx="7924799" cy="177799"/>
          </a:xfrm>
        </p:spPr>
        <p:txBody>
          <a:bodyPr/>
          <a:lstStyle>
            <a:lvl1pPr marL="0" indent="0">
              <a:buNone/>
              <a:defRPr sz="900"/>
            </a:lvl1pPr>
          </a:lstStyle>
          <a:p>
            <a:pPr lvl="0"/>
            <a:endParaRPr lang="en-GB" dirty="0"/>
          </a:p>
        </p:txBody>
      </p:sp>
    </p:spTree>
    <p:extLst>
      <p:ext uri="{BB962C8B-B14F-4D97-AF65-F5344CB8AC3E}">
        <p14:creationId xmlns:p14="http://schemas.microsoft.com/office/powerpoint/2010/main" val="18808285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a:ln/>
        </p:spPr>
        <p:txBody>
          <a:bodyPr/>
          <a:lstStyle>
            <a:lvl1pPr>
              <a:defRPr/>
            </a:lvl1pPr>
          </a:lstStyle>
          <a:p>
            <a:pPr>
              <a:defRPr/>
            </a:pPr>
            <a:fld id="{6FFEE096-3253-4A87-BE4E-DBC0CA66398C}" type="slidenum">
              <a:rPr lang="en-GB"/>
              <a:pPr>
                <a:defRPr/>
              </a:pPr>
              <a:t>‹#›</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Presentation title</a:t>
            </a:r>
          </a:p>
        </p:txBody>
      </p:sp>
      <p:sp>
        <p:nvSpPr>
          <p:cNvPr id="7" name="Rectangle 81"/>
          <p:cNvSpPr>
            <a:spLocks noGrp="1" noChangeArrowheads="1"/>
          </p:cNvSpPr>
          <p:nvPr>
            <p:ph type="dt" sz="half" idx="12"/>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3509103158"/>
      </p:ext>
    </p:extLst>
  </p:cSld>
  <p:clrMapOvr>
    <a:masterClrMapping/>
  </p:clrMapOv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91" y="2123"/>
          <a:ext cx="1587" cy="2116"/>
        </p:xfrm>
        <a:graphic>
          <a:graphicData uri="http://schemas.openxmlformats.org/presentationml/2006/ole">
            <mc:AlternateContent xmlns:mc="http://schemas.openxmlformats.org/markup-compatibility/2006">
              <mc:Choice xmlns:v="urn:schemas-microsoft-com:vml" Requires="v">
                <p:oleObj spid="_x0000_s9228" name="think-cell Slide" r:id="rId4" imgW="270" imgH="270" progId="TCLayout.ActiveDocument.1">
                  <p:embed/>
                </p:oleObj>
              </mc:Choice>
              <mc:Fallback>
                <p:oleObj name="think-cell Slide" r:id="rId4" imgW="270" imgH="27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2123"/>
                        <a:ext cx="158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noChangeArrowheads="1"/>
          </p:cNvSpPr>
          <p:nvPr>
            <p:ph type="ftr" sz="quarter" idx="10"/>
          </p:nvPr>
        </p:nvSpPr>
        <p:spPr>
          <a:xfrm>
            <a:off x="4173540" y="137651"/>
            <a:ext cx="2900363" cy="135467"/>
          </a:xfrm>
          <a:prstGeom prst="rect">
            <a:avLst/>
          </a:prstGeom>
        </p:spPr>
        <p:txBody>
          <a:bodyPr/>
          <a:lstStyle>
            <a:lvl1pPr>
              <a:defRPr/>
            </a:lvl1pPr>
          </a:lstStyle>
          <a:p>
            <a:pPr>
              <a:defRPr/>
            </a:pPr>
            <a:r>
              <a:rPr lang="en-GB" dirty="0">
                <a:solidFill>
                  <a:srgbClr val="001965"/>
                </a:solidFill>
              </a:rPr>
              <a:t>Clinical trial design and results template</a:t>
            </a:r>
          </a:p>
        </p:txBody>
      </p:sp>
      <p:sp>
        <p:nvSpPr>
          <p:cNvPr id="6" name="Slide Number Placeholder 5"/>
          <p:cNvSpPr>
            <a:spLocks noGrp="1" noChangeArrowheads="1"/>
          </p:cNvSpPr>
          <p:nvPr>
            <p:ph type="sldNum" sz="quarter" idx="11"/>
          </p:nvPr>
        </p:nvSpPr>
        <p:spPr>
          <a:xfrm>
            <a:off x="8320089" y="139767"/>
            <a:ext cx="506412" cy="135467"/>
          </a:xfrm>
          <a:prstGeom prst="rect">
            <a:avLst/>
          </a:prstGeom>
        </p:spPr>
        <p:txBody>
          <a:bodyPr/>
          <a:lstStyle>
            <a:lvl1pPr>
              <a:defRPr/>
            </a:lvl1pPr>
          </a:lstStyle>
          <a:p>
            <a:pPr>
              <a:defRPr/>
            </a:pPr>
            <a:r>
              <a:rPr lang="en-GB" altLang="en-US" dirty="0">
                <a:solidFill>
                  <a:srgbClr val="001965"/>
                </a:solidFill>
              </a:rPr>
              <a:t>Slide no </a:t>
            </a:r>
            <a:fld id="{E895D752-AFED-4F24-8742-3FA493A83868}" type="slidenum">
              <a:rPr lang="en-GB" altLang="en-US">
                <a:solidFill>
                  <a:srgbClr val="001965"/>
                </a:solidFill>
              </a:rPr>
              <a:pPr>
                <a:defRPr/>
              </a:pPr>
              <a:t>‹#›</a:t>
            </a:fld>
            <a:endParaRPr lang="en-GB" altLang="en-US" dirty="0">
              <a:solidFill>
                <a:srgbClr val="001965"/>
              </a:solidFill>
            </a:endParaRPr>
          </a:p>
        </p:txBody>
      </p:sp>
      <p:sp>
        <p:nvSpPr>
          <p:cNvPr id="7" name="Date Placeholder 6"/>
          <p:cNvSpPr>
            <a:spLocks noGrp="1" noChangeArrowheads="1"/>
          </p:cNvSpPr>
          <p:nvPr>
            <p:ph type="dt" sz="half" idx="12"/>
          </p:nvPr>
        </p:nvSpPr>
        <p:spPr>
          <a:xfrm>
            <a:off x="7240632" y="137651"/>
            <a:ext cx="998537" cy="135467"/>
          </a:xfrm>
          <a:prstGeom prst="rect">
            <a:avLst/>
          </a:prstGeom>
        </p:spPr>
        <p:txBody>
          <a:bodyPr/>
          <a:lstStyle>
            <a:lvl1pPr>
              <a:defRPr/>
            </a:lvl1pPr>
          </a:lstStyle>
          <a:p>
            <a:pPr>
              <a:defRPr/>
            </a:pPr>
            <a:r>
              <a:rPr lang="en-US" dirty="0">
                <a:solidFill>
                  <a:srgbClr val="001965"/>
                </a:solidFill>
              </a:rPr>
              <a:t>Date</a:t>
            </a:r>
            <a:endParaRPr lang="en-GB" dirty="0">
              <a:solidFill>
                <a:srgbClr val="001965"/>
              </a:solidFill>
            </a:endParaRPr>
          </a:p>
        </p:txBody>
      </p:sp>
    </p:spTree>
    <p:extLst>
      <p:ext uri="{BB962C8B-B14F-4D97-AF65-F5344CB8AC3E}">
        <p14:creationId xmlns:p14="http://schemas.microsoft.com/office/powerpoint/2010/main" val="54125156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42004"/>
            <a:ext cx="8510400" cy="4348687"/>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687230"/>
            <a:ext cx="8510400" cy="521883"/>
          </a:xfrm>
        </p:spPr>
        <p:txBody>
          <a:bodyPr/>
          <a:lstStyle>
            <a:lvl1pPr>
              <a:defRPr sz="2100"/>
            </a:lvl1pPr>
          </a:lstStyle>
          <a:p>
            <a:r>
              <a:rPr lang="en-US" noProof="0"/>
              <a:t>Click to edit Master title style</a:t>
            </a:r>
            <a:endParaRPr lang="en-GB" noProof="0" dirty="0"/>
          </a:p>
        </p:txBody>
      </p:sp>
      <p:sp>
        <p:nvSpPr>
          <p:cNvPr id="3" name="Text Placeholder 2"/>
          <p:cNvSpPr>
            <a:spLocks noGrp="1"/>
          </p:cNvSpPr>
          <p:nvPr>
            <p:ph type="body" sz="quarter" idx="10" hasCustomPrompt="1"/>
          </p:nvPr>
        </p:nvSpPr>
        <p:spPr>
          <a:xfrm>
            <a:off x="316800" y="5618565"/>
            <a:ext cx="8509700" cy="1027768"/>
          </a:xfrm>
        </p:spPr>
        <p:txBody>
          <a:bodyPr anchor="b"/>
          <a:lstStyle>
            <a:lvl1pPr marL="0" marR="0" indent="0" algn="l" defTabSz="91440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Please enter footnotes and references here.</a:t>
            </a:r>
          </a:p>
          <a:p>
            <a:r>
              <a:rPr lang="da-DK" dirty="0"/>
              <a:t>[Set to NN Granite grey; Verdana (body) 8pt]</a:t>
            </a:r>
          </a:p>
        </p:txBody>
      </p:sp>
    </p:spTree>
    <p:extLst>
      <p:ext uri="{BB962C8B-B14F-4D97-AF65-F5344CB8AC3E}">
        <p14:creationId xmlns:p14="http://schemas.microsoft.com/office/powerpoint/2010/main" val="3472753264"/>
      </p:ext>
    </p:extLst>
  </p:cSld>
  <p:clrMapOvr>
    <a:masterClrMapping/>
  </p:clrMapOvr>
  <p:transition/>
  <p:extLst mod="1">
    <p:ext uri="{DCECCB84-F9BA-43D5-87BE-67443E8EF086}">
      <p15:sldGuideLst xmlns:p15="http://schemas.microsoft.com/office/powerpoint/2012/main">
        <p15:guide id="1" orient="horz" pos="3140">
          <p15:clr>
            <a:srgbClr val="FBAE40"/>
          </p15:clr>
        </p15:guide>
        <p15:guide id="2" pos="288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E8F2AA6-FA04-46A7-A701-5ECE49FA39DA}"/>
              </a:ext>
            </a:extLst>
          </p:cNvPr>
          <p:cNvSpPr>
            <a:spLocks noGrp="1"/>
          </p:cNvSpPr>
          <p:nvPr>
            <p:ph type="ctrTitle"/>
          </p:nvPr>
        </p:nvSpPr>
        <p:spPr>
          <a:xfrm>
            <a:off x="1143000" y="1122363"/>
            <a:ext cx="6858000" cy="2387600"/>
          </a:xfrm>
        </p:spPr>
        <p:txBody>
          <a:bodyPr anchor="b"/>
          <a:lstStyle>
            <a:lvl1pPr algn="ctr">
              <a:defRPr sz="4500"/>
            </a:lvl1pPr>
          </a:lstStyle>
          <a:p>
            <a:r>
              <a:rPr lang="cs-CZ"/>
              <a:t>Kliknutím lze upravit styl.</a:t>
            </a:r>
          </a:p>
        </p:txBody>
      </p:sp>
      <p:sp>
        <p:nvSpPr>
          <p:cNvPr id="3" name="Podnadpis 2">
            <a:extLst>
              <a:ext uri="{FF2B5EF4-FFF2-40B4-BE49-F238E27FC236}">
                <a16:creationId xmlns:a16="http://schemas.microsoft.com/office/drawing/2014/main" id="{96E00BFA-3173-4399-B041-A837E2DD4C4A}"/>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DB68FE88-CD21-4C0B-8122-5A273AFDB581}"/>
              </a:ext>
            </a:extLst>
          </p:cNvPr>
          <p:cNvSpPr>
            <a:spLocks noGrp="1"/>
          </p:cNvSpPr>
          <p:nvPr>
            <p:ph type="dt" sz="half" idx="10"/>
          </p:nvPr>
        </p:nvSpPr>
        <p:spPr/>
        <p:txBody>
          <a:bodyPr/>
          <a:lstStyle/>
          <a:p>
            <a:fld id="{B0A80564-18DF-44AD-837A-9A1F503F7317}" type="datetimeFigureOut">
              <a:rPr lang="cs-CZ" smtClean="0"/>
              <a:t>29.01.2019</a:t>
            </a:fld>
            <a:endParaRPr lang="cs-CZ"/>
          </a:p>
        </p:txBody>
      </p:sp>
      <p:sp>
        <p:nvSpPr>
          <p:cNvPr id="5" name="Zástupný symbol pro zápatí 4">
            <a:extLst>
              <a:ext uri="{FF2B5EF4-FFF2-40B4-BE49-F238E27FC236}">
                <a16:creationId xmlns:a16="http://schemas.microsoft.com/office/drawing/2014/main" id="{8A39928D-CF00-4DCA-B9D4-AFF30ADF602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B947FF7-58F3-4C0F-8322-01543C73369E}"/>
              </a:ext>
            </a:extLst>
          </p:cNvPr>
          <p:cNvSpPr>
            <a:spLocks noGrp="1"/>
          </p:cNvSpPr>
          <p:nvPr>
            <p:ph type="sldNum" sz="quarter" idx="12"/>
          </p:nvPr>
        </p:nvSpPr>
        <p:spPr/>
        <p:txBody>
          <a:bodyPr/>
          <a:lstStyle/>
          <a:p>
            <a:fld id="{9D86CC54-DAF3-4867-99BE-1974401EAD4A}" type="slidenum">
              <a:rPr lang="cs-CZ" smtClean="0"/>
              <a:t>‹#›</a:t>
            </a:fld>
            <a:endParaRPr lang="cs-CZ"/>
          </a:p>
        </p:txBody>
      </p:sp>
    </p:spTree>
    <p:extLst>
      <p:ext uri="{BB962C8B-B14F-4D97-AF65-F5344CB8AC3E}">
        <p14:creationId xmlns:p14="http://schemas.microsoft.com/office/powerpoint/2010/main" val="200651163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6C337FC-6257-4EDE-9578-17637D8EDB8B}"/>
              </a:ext>
            </a:extLst>
          </p:cNvPr>
          <p:cNvSpPr>
            <a:spLocks noGrp="1"/>
          </p:cNvSpPr>
          <p:nvPr>
            <p:ph type="title"/>
          </p:nvPr>
        </p:nvSpPr>
        <p:spPr/>
        <p:txBody>
          <a:bodyPr/>
          <a:lstStyle/>
          <a:p>
            <a:r>
              <a:rPr lang="cs-CZ"/>
              <a:t>Kliknutím lze upravit styl.</a:t>
            </a:r>
          </a:p>
        </p:txBody>
      </p:sp>
      <p:sp>
        <p:nvSpPr>
          <p:cNvPr id="3" name="Zástupný symbol pro obsah 2">
            <a:extLst>
              <a:ext uri="{FF2B5EF4-FFF2-40B4-BE49-F238E27FC236}">
                <a16:creationId xmlns:a16="http://schemas.microsoft.com/office/drawing/2014/main" id="{63DF33DE-EF0D-4DBA-8E53-B5AE9E3D5A90}"/>
              </a:ext>
            </a:extLst>
          </p:cNvPr>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7224BAF2-0067-4586-9564-4CDEC33555CC}"/>
              </a:ext>
            </a:extLst>
          </p:cNvPr>
          <p:cNvSpPr>
            <a:spLocks noGrp="1"/>
          </p:cNvSpPr>
          <p:nvPr>
            <p:ph type="dt" sz="half" idx="10"/>
          </p:nvPr>
        </p:nvSpPr>
        <p:spPr/>
        <p:txBody>
          <a:bodyPr/>
          <a:lstStyle/>
          <a:p>
            <a:fld id="{B0A80564-18DF-44AD-837A-9A1F503F7317}" type="datetimeFigureOut">
              <a:rPr lang="cs-CZ" smtClean="0"/>
              <a:t>29.01.2019</a:t>
            </a:fld>
            <a:endParaRPr lang="cs-CZ"/>
          </a:p>
        </p:txBody>
      </p:sp>
      <p:sp>
        <p:nvSpPr>
          <p:cNvPr id="5" name="Zástupný symbol pro zápatí 4">
            <a:extLst>
              <a:ext uri="{FF2B5EF4-FFF2-40B4-BE49-F238E27FC236}">
                <a16:creationId xmlns:a16="http://schemas.microsoft.com/office/drawing/2014/main" id="{543678B0-ED84-4A8C-AC57-865038407176}"/>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A00C9616-7070-43C7-861E-BD2F881128F0}"/>
              </a:ext>
            </a:extLst>
          </p:cNvPr>
          <p:cNvSpPr>
            <a:spLocks noGrp="1"/>
          </p:cNvSpPr>
          <p:nvPr>
            <p:ph type="sldNum" sz="quarter" idx="12"/>
          </p:nvPr>
        </p:nvSpPr>
        <p:spPr/>
        <p:txBody>
          <a:bodyPr/>
          <a:lstStyle/>
          <a:p>
            <a:fld id="{9D86CC54-DAF3-4867-99BE-1974401EAD4A}" type="slidenum">
              <a:rPr lang="cs-CZ" smtClean="0"/>
              <a:t>‹#›</a:t>
            </a:fld>
            <a:endParaRPr lang="cs-CZ"/>
          </a:p>
        </p:txBody>
      </p:sp>
    </p:spTree>
    <p:extLst>
      <p:ext uri="{BB962C8B-B14F-4D97-AF65-F5344CB8AC3E}">
        <p14:creationId xmlns:p14="http://schemas.microsoft.com/office/powerpoint/2010/main" val="379173410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C0CCBC2-841D-4CBB-AF6A-287B239A578F}"/>
              </a:ext>
            </a:extLst>
          </p:cNvPr>
          <p:cNvSpPr>
            <a:spLocks noGrp="1"/>
          </p:cNvSpPr>
          <p:nvPr>
            <p:ph type="title"/>
          </p:nvPr>
        </p:nvSpPr>
        <p:spPr>
          <a:xfrm>
            <a:off x="623888" y="1709739"/>
            <a:ext cx="7886700" cy="2852737"/>
          </a:xfrm>
        </p:spPr>
        <p:txBody>
          <a:bodyPr anchor="b"/>
          <a:lstStyle>
            <a:lvl1pPr>
              <a:defRPr sz="4500"/>
            </a:lvl1pPr>
          </a:lstStyle>
          <a:p>
            <a:r>
              <a:rPr lang="cs-CZ"/>
              <a:t>Kliknutím lze upravit styl.</a:t>
            </a:r>
          </a:p>
        </p:txBody>
      </p:sp>
      <p:sp>
        <p:nvSpPr>
          <p:cNvPr id="3" name="Zástupný symbol pro text 2">
            <a:extLst>
              <a:ext uri="{FF2B5EF4-FFF2-40B4-BE49-F238E27FC236}">
                <a16:creationId xmlns:a16="http://schemas.microsoft.com/office/drawing/2014/main" id="{29AF4772-E8F0-4457-A302-FB0865815D70}"/>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cs-CZ"/>
              <a:t>Upravte styly předlohy textu.</a:t>
            </a:r>
          </a:p>
        </p:txBody>
      </p:sp>
      <p:sp>
        <p:nvSpPr>
          <p:cNvPr id="4" name="Zástupný symbol pro datum 3">
            <a:extLst>
              <a:ext uri="{FF2B5EF4-FFF2-40B4-BE49-F238E27FC236}">
                <a16:creationId xmlns:a16="http://schemas.microsoft.com/office/drawing/2014/main" id="{89CAEFFB-E527-4244-8212-4497221233F6}"/>
              </a:ext>
            </a:extLst>
          </p:cNvPr>
          <p:cNvSpPr>
            <a:spLocks noGrp="1"/>
          </p:cNvSpPr>
          <p:nvPr>
            <p:ph type="dt" sz="half" idx="10"/>
          </p:nvPr>
        </p:nvSpPr>
        <p:spPr/>
        <p:txBody>
          <a:bodyPr/>
          <a:lstStyle/>
          <a:p>
            <a:fld id="{B0A80564-18DF-44AD-837A-9A1F503F7317}" type="datetimeFigureOut">
              <a:rPr lang="cs-CZ" smtClean="0"/>
              <a:t>29.01.2019</a:t>
            </a:fld>
            <a:endParaRPr lang="cs-CZ"/>
          </a:p>
        </p:txBody>
      </p:sp>
      <p:sp>
        <p:nvSpPr>
          <p:cNvPr id="5" name="Zástupný symbol pro zápatí 4">
            <a:extLst>
              <a:ext uri="{FF2B5EF4-FFF2-40B4-BE49-F238E27FC236}">
                <a16:creationId xmlns:a16="http://schemas.microsoft.com/office/drawing/2014/main" id="{77FDE2A4-553F-432A-8C1E-8E5091034041}"/>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BF434769-9DD8-4543-9ECE-029070190B70}"/>
              </a:ext>
            </a:extLst>
          </p:cNvPr>
          <p:cNvSpPr>
            <a:spLocks noGrp="1"/>
          </p:cNvSpPr>
          <p:nvPr>
            <p:ph type="sldNum" sz="quarter" idx="12"/>
          </p:nvPr>
        </p:nvSpPr>
        <p:spPr/>
        <p:txBody>
          <a:bodyPr/>
          <a:lstStyle/>
          <a:p>
            <a:fld id="{9D86CC54-DAF3-4867-99BE-1974401EAD4A}" type="slidenum">
              <a:rPr lang="cs-CZ" smtClean="0"/>
              <a:t>‹#›</a:t>
            </a:fld>
            <a:endParaRPr lang="cs-CZ"/>
          </a:p>
        </p:txBody>
      </p:sp>
    </p:spTree>
    <p:extLst>
      <p:ext uri="{BB962C8B-B14F-4D97-AF65-F5344CB8AC3E}">
        <p14:creationId xmlns:p14="http://schemas.microsoft.com/office/powerpoint/2010/main" val="27112095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6CCC3F9-42BF-43DA-9960-54C3376F2C68}"/>
              </a:ext>
            </a:extLst>
          </p:cNvPr>
          <p:cNvSpPr>
            <a:spLocks noGrp="1"/>
          </p:cNvSpPr>
          <p:nvPr>
            <p:ph type="title"/>
          </p:nvPr>
        </p:nvSpPr>
        <p:spPr/>
        <p:txBody>
          <a:bodyPr/>
          <a:lstStyle/>
          <a:p>
            <a:r>
              <a:rPr lang="cs-CZ"/>
              <a:t>Kliknutím lze upravit styl.</a:t>
            </a:r>
          </a:p>
        </p:txBody>
      </p:sp>
      <p:sp>
        <p:nvSpPr>
          <p:cNvPr id="3" name="Zástupný symbol pro obsah 2">
            <a:extLst>
              <a:ext uri="{FF2B5EF4-FFF2-40B4-BE49-F238E27FC236}">
                <a16:creationId xmlns:a16="http://schemas.microsoft.com/office/drawing/2014/main" id="{ADCCB812-39E9-4925-8B9D-578E20CD69A6}"/>
              </a:ext>
            </a:extLst>
          </p:cNvPr>
          <p:cNvSpPr>
            <a:spLocks noGrp="1"/>
          </p:cNvSpPr>
          <p:nvPr>
            <p:ph sz="half" idx="1"/>
          </p:nvPr>
        </p:nvSpPr>
        <p:spPr>
          <a:xfrm>
            <a:off x="628650" y="1825625"/>
            <a:ext cx="38862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a:extLst>
              <a:ext uri="{FF2B5EF4-FFF2-40B4-BE49-F238E27FC236}">
                <a16:creationId xmlns:a16="http://schemas.microsoft.com/office/drawing/2014/main" id="{6ECA7A8B-0973-4CCA-ACFD-D7FAD3F90426}"/>
              </a:ext>
            </a:extLst>
          </p:cNvPr>
          <p:cNvSpPr>
            <a:spLocks noGrp="1"/>
          </p:cNvSpPr>
          <p:nvPr>
            <p:ph sz="half" idx="2"/>
          </p:nvPr>
        </p:nvSpPr>
        <p:spPr>
          <a:xfrm>
            <a:off x="4629150" y="1825625"/>
            <a:ext cx="38862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4BCC7558-69C5-43DD-B8D9-BE0B2E185759}"/>
              </a:ext>
            </a:extLst>
          </p:cNvPr>
          <p:cNvSpPr>
            <a:spLocks noGrp="1"/>
          </p:cNvSpPr>
          <p:nvPr>
            <p:ph type="dt" sz="half" idx="10"/>
          </p:nvPr>
        </p:nvSpPr>
        <p:spPr/>
        <p:txBody>
          <a:bodyPr/>
          <a:lstStyle/>
          <a:p>
            <a:fld id="{B0A80564-18DF-44AD-837A-9A1F503F7317}" type="datetimeFigureOut">
              <a:rPr lang="cs-CZ" smtClean="0"/>
              <a:t>29.01.2019</a:t>
            </a:fld>
            <a:endParaRPr lang="cs-CZ"/>
          </a:p>
        </p:txBody>
      </p:sp>
      <p:sp>
        <p:nvSpPr>
          <p:cNvPr id="6" name="Zástupný symbol pro zápatí 5">
            <a:extLst>
              <a:ext uri="{FF2B5EF4-FFF2-40B4-BE49-F238E27FC236}">
                <a16:creationId xmlns:a16="http://schemas.microsoft.com/office/drawing/2014/main" id="{2C4EEB64-1AC5-428F-8114-73B24CEEB880}"/>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5164E6A4-A082-48AB-9F4A-E36AA7DAA45F}"/>
              </a:ext>
            </a:extLst>
          </p:cNvPr>
          <p:cNvSpPr>
            <a:spLocks noGrp="1"/>
          </p:cNvSpPr>
          <p:nvPr>
            <p:ph type="sldNum" sz="quarter" idx="12"/>
          </p:nvPr>
        </p:nvSpPr>
        <p:spPr/>
        <p:txBody>
          <a:bodyPr/>
          <a:lstStyle/>
          <a:p>
            <a:fld id="{9D86CC54-DAF3-4867-99BE-1974401EAD4A}" type="slidenum">
              <a:rPr lang="cs-CZ" smtClean="0"/>
              <a:t>‹#›</a:t>
            </a:fld>
            <a:endParaRPr lang="cs-CZ"/>
          </a:p>
        </p:txBody>
      </p:sp>
    </p:spTree>
    <p:extLst>
      <p:ext uri="{BB962C8B-B14F-4D97-AF65-F5344CB8AC3E}">
        <p14:creationId xmlns:p14="http://schemas.microsoft.com/office/powerpoint/2010/main" val="428911355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F343FD1-AE35-4F8C-9C53-3BBF2250159B}"/>
              </a:ext>
            </a:extLst>
          </p:cNvPr>
          <p:cNvSpPr>
            <a:spLocks noGrp="1"/>
          </p:cNvSpPr>
          <p:nvPr>
            <p:ph type="title"/>
          </p:nvPr>
        </p:nvSpPr>
        <p:spPr>
          <a:xfrm>
            <a:off x="629841" y="365126"/>
            <a:ext cx="7886700" cy="1325563"/>
          </a:xfrm>
        </p:spPr>
        <p:txBody>
          <a:bodyPr/>
          <a:lstStyle/>
          <a:p>
            <a:r>
              <a:rPr lang="cs-CZ"/>
              <a:t>Kliknutím lze upravit styl.</a:t>
            </a:r>
          </a:p>
        </p:txBody>
      </p:sp>
      <p:sp>
        <p:nvSpPr>
          <p:cNvPr id="3" name="Zástupný symbol pro text 2">
            <a:extLst>
              <a:ext uri="{FF2B5EF4-FFF2-40B4-BE49-F238E27FC236}">
                <a16:creationId xmlns:a16="http://schemas.microsoft.com/office/drawing/2014/main" id="{15D3FBF6-0992-4988-8DBB-DF9D029672DA}"/>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cs-CZ"/>
              <a:t>Upravte styly předlohy textu.</a:t>
            </a:r>
          </a:p>
        </p:txBody>
      </p:sp>
      <p:sp>
        <p:nvSpPr>
          <p:cNvPr id="4" name="Zástupný symbol pro obsah 3">
            <a:extLst>
              <a:ext uri="{FF2B5EF4-FFF2-40B4-BE49-F238E27FC236}">
                <a16:creationId xmlns:a16="http://schemas.microsoft.com/office/drawing/2014/main" id="{84CA9C1D-D467-4AAF-8AFE-506C37086088}"/>
              </a:ext>
            </a:extLst>
          </p:cNvPr>
          <p:cNvSpPr>
            <a:spLocks noGrp="1"/>
          </p:cNvSpPr>
          <p:nvPr>
            <p:ph sz="half" idx="2"/>
          </p:nvPr>
        </p:nvSpPr>
        <p:spPr>
          <a:xfrm>
            <a:off x="629842" y="2505075"/>
            <a:ext cx="3868340"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a:extLst>
              <a:ext uri="{FF2B5EF4-FFF2-40B4-BE49-F238E27FC236}">
                <a16:creationId xmlns:a16="http://schemas.microsoft.com/office/drawing/2014/main" id="{F5293CA9-B773-41A6-BD83-9A2988E1BA4E}"/>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cs-CZ"/>
              <a:t>Upravte styly předlohy textu.</a:t>
            </a:r>
          </a:p>
        </p:txBody>
      </p:sp>
      <p:sp>
        <p:nvSpPr>
          <p:cNvPr id="6" name="Zástupný symbol pro obsah 5">
            <a:extLst>
              <a:ext uri="{FF2B5EF4-FFF2-40B4-BE49-F238E27FC236}">
                <a16:creationId xmlns:a16="http://schemas.microsoft.com/office/drawing/2014/main" id="{2DD2A7A2-2366-49D8-9A82-55F688280CA5}"/>
              </a:ext>
            </a:extLst>
          </p:cNvPr>
          <p:cNvSpPr>
            <a:spLocks noGrp="1"/>
          </p:cNvSpPr>
          <p:nvPr>
            <p:ph sz="quarter" idx="4"/>
          </p:nvPr>
        </p:nvSpPr>
        <p:spPr>
          <a:xfrm>
            <a:off x="4629150" y="2505075"/>
            <a:ext cx="3887391"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C3EBDDBF-1AB5-414D-A940-A6159C8FD954}"/>
              </a:ext>
            </a:extLst>
          </p:cNvPr>
          <p:cNvSpPr>
            <a:spLocks noGrp="1"/>
          </p:cNvSpPr>
          <p:nvPr>
            <p:ph type="dt" sz="half" idx="10"/>
          </p:nvPr>
        </p:nvSpPr>
        <p:spPr/>
        <p:txBody>
          <a:bodyPr/>
          <a:lstStyle/>
          <a:p>
            <a:fld id="{B0A80564-18DF-44AD-837A-9A1F503F7317}" type="datetimeFigureOut">
              <a:rPr lang="cs-CZ" smtClean="0"/>
              <a:t>29.01.2019</a:t>
            </a:fld>
            <a:endParaRPr lang="cs-CZ"/>
          </a:p>
        </p:txBody>
      </p:sp>
      <p:sp>
        <p:nvSpPr>
          <p:cNvPr id="8" name="Zástupný symbol pro zápatí 7">
            <a:extLst>
              <a:ext uri="{FF2B5EF4-FFF2-40B4-BE49-F238E27FC236}">
                <a16:creationId xmlns:a16="http://schemas.microsoft.com/office/drawing/2014/main" id="{BE55D385-ADE0-44C8-BD73-AEC16BE73753}"/>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9F8088C0-6FCF-4FC4-AFF6-242D7C5C564B}"/>
              </a:ext>
            </a:extLst>
          </p:cNvPr>
          <p:cNvSpPr>
            <a:spLocks noGrp="1"/>
          </p:cNvSpPr>
          <p:nvPr>
            <p:ph type="sldNum" sz="quarter" idx="12"/>
          </p:nvPr>
        </p:nvSpPr>
        <p:spPr/>
        <p:txBody>
          <a:bodyPr/>
          <a:lstStyle/>
          <a:p>
            <a:fld id="{9D86CC54-DAF3-4867-99BE-1974401EAD4A}" type="slidenum">
              <a:rPr lang="cs-CZ" smtClean="0"/>
              <a:t>‹#›</a:t>
            </a:fld>
            <a:endParaRPr lang="cs-CZ"/>
          </a:p>
        </p:txBody>
      </p:sp>
    </p:spTree>
    <p:extLst>
      <p:ext uri="{BB962C8B-B14F-4D97-AF65-F5344CB8AC3E}">
        <p14:creationId xmlns:p14="http://schemas.microsoft.com/office/powerpoint/2010/main" val="13073288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685640"/>
            <a:ext cx="4086000" cy="936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670400"/>
            <a:ext cx="4086000" cy="3781317"/>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6"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8"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1096955054"/>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8428AFF-DB14-4BB1-84A8-B2957D869879}"/>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CA714960-3273-4B1D-8A6A-42902163D006}"/>
              </a:ext>
            </a:extLst>
          </p:cNvPr>
          <p:cNvSpPr>
            <a:spLocks noGrp="1"/>
          </p:cNvSpPr>
          <p:nvPr>
            <p:ph type="dt" sz="half" idx="10"/>
          </p:nvPr>
        </p:nvSpPr>
        <p:spPr/>
        <p:txBody>
          <a:bodyPr/>
          <a:lstStyle/>
          <a:p>
            <a:fld id="{B0A80564-18DF-44AD-837A-9A1F503F7317}" type="datetimeFigureOut">
              <a:rPr lang="cs-CZ" smtClean="0"/>
              <a:t>29.01.2019</a:t>
            </a:fld>
            <a:endParaRPr lang="cs-CZ"/>
          </a:p>
        </p:txBody>
      </p:sp>
      <p:sp>
        <p:nvSpPr>
          <p:cNvPr id="4" name="Zástupný symbol pro zápatí 3">
            <a:extLst>
              <a:ext uri="{FF2B5EF4-FFF2-40B4-BE49-F238E27FC236}">
                <a16:creationId xmlns:a16="http://schemas.microsoft.com/office/drawing/2014/main" id="{B542EE79-DE9B-4A99-B09F-6CAE73A704D2}"/>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A9A57C9A-E55B-484C-8B29-395E28B220CC}"/>
              </a:ext>
            </a:extLst>
          </p:cNvPr>
          <p:cNvSpPr>
            <a:spLocks noGrp="1"/>
          </p:cNvSpPr>
          <p:nvPr>
            <p:ph type="sldNum" sz="quarter" idx="12"/>
          </p:nvPr>
        </p:nvSpPr>
        <p:spPr/>
        <p:txBody>
          <a:bodyPr/>
          <a:lstStyle/>
          <a:p>
            <a:fld id="{9D86CC54-DAF3-4867-99BE-1974401EAD4A}" type="slidenum">
              <a:rPr lang="cs-CZ" smtClean="0"/>
              <a:t>‹#›</a:t>
            </a:fld>
            <a:endParaRPr lang="cs-CZ"/>
          </a:p>
        </p:txBody>
      </p:sp>
    </p:spTree>
    <p:extLst>
      <p:ext uri="{BB962C8B-B14F-4D97-AF65-F5344CB8AC3E}">
        <p14:creationId xmlns:p14="http://schemas.microsoft.com/office/powerpoint/2010/main" val="411477539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316DD1C-C9B8-433F-BEA9-B1B24095E5AE}"/>
              </a:ext>
            </a:extLst>
          </p:cNvPr>
          <p:cNvSpPr>
            <a:spLocks noGrp="1"/>
          </p:cNvSpPr>
          <p:nvPr>
            <p:ph type="dt" sz="half" idx="10"/>
          </p:nvPr>
        </p:nvSpPr>
        <p:spPr/>
        <p:txBody>
          <a:bodyPr/>
          <a:lstStyle/>
          <a:p>
            <a:fld id="{B0A80564-18DF-44AD-837A-9A1F503F7317}" type="datetimeFigureOut">
              <a:rPr lang="cs-CZ" smtClean="0"/>
              <a:t>29.01.2019</a:t>
            </a:fld>
            <a:endParaRPr lang="cs-CZ"/>
          </a:p>
        </p:txBody>
      </p:sp>
      <p:sp>
        <p:nvSpPr>
          <p:cNvPr id="3" name="Zástupný symbol pro zápatí 2">
            <a:extLst>
              <a:ext uri="{FF2B5EF4-FFF2-40B4-BE49-F238E27FC236}">
                <a16:creationId xmlns:a16="http://schemas.microsoft.com/office/drawing/2014/main" id="{18860D5B-4516-467E-9E3C-E5446CF2D2F5}"/>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0C57182C-D227-4BF3-AAC3-D6BE0A474DF9}"/>
              </a:ext>
            </a:extLst>
          </p:cNvPr>
          <p:cNvSpPr>
            <a:spLocks noGrp="1"/>
          </p:cNvSpPr>
          <p:nvPr>
            <p:ph type="sldNum" sz="quarter" idx="12"/>
          </p:nvPr>
        </p:nvSpPr>
        <p:spPr/>
        <p:txBody>
          <a:bodyPr/>
          <a:lstStyle/>
          <a:p>
            <a:fld id="{9D86CC54-DAF3-4867-99BE-1974401EAD4A}" type="slidenum">
              <a:rPr lang="cs-CZ" smtClean="0"/>
              <a:t>‹#›</a:t>
            </a:fld>
            <a:endParaRPr lang="cs-CZ"/>
          </a:p>
        </p:txBody>
      </p:sp>
    </p:spTree>
    <p:extLst>
      <p:ext uri="{BB962C8B-B14F-4D97-AF65-F5344CB8AC3E}">
        <p14:creationId xmlns:p14="http://schemas.microsoft.com/office/powerpoint/2010/main" val="55680970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5ECAA9F-CCB4-44A1-AAE5-297E11782F70}"/>
              </a:ext>
            </a:extLst>
          </p:cNvPr>
          <p:cNvSpPr>
            <a:spLocks noGrp="1"/>
          </p:cNvSpPr>
          <p:nvPr>
            <p:ph type="title"/>
          </p:nvPr>
        </p:nvSpPr>
        <p:spPr>
          <a:xfrm>
            <a:off x="629841" y="457200"/>
            <a:ext cx="2949178" cy="1600200"/>
          </a:xfrm>
        </p:spPr>
        <p:txBody>
          <a:bodyPr anchor="b"/>
          <a:lstStyle>
            <a:lvl1pPr>
              <a:defRPr sz="2400"/>
            </a:lvl1pPr>
          </a:lstStyle>
          <a:p>
            <a:r>
              <a:rPr lang="cs-CZ"/>
              <a:t>Kliknutím lze upravit styl.</a:t>
            </a:r>
          </a:p>
        </p:txBody>
      </p:sp>
      <p:sp>
        <p:nvSpPr>
          <p:cNvPr id="3" name="Zástupný symbol pro obsah 2">
            <a:extLst>
              <a:ext uri="{FF2B5EF4-FFF2-40B4-BE49-F238E27FC236}">
                <a16:creationId xmlns:a16="http://schemas.microsoft.com/office/drawing/2014/main" id="{ED41BD64-80AA-4357-84D3-9960D977408D}"/>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a:extLst>
              <a:ext uri="{FF2B5EF4-FFF2-40B4-BE49-F238E27FC236}">
                <a16:creationId xmlns:a16="http://schemas.microsoft.com/office/drawing/2014/main" id="{1B47A769-5812-4066-9006-067B7886D43F}"/>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cs-CZ"/>
              <a:t>Upravte styly předlohy textu.</a:t>
            </a:r>
          </a:p>
        </p:txBody>
      </p:sp>
      <p:sp>
        <p:nvSpPr>
          <p:cNvPr id="5" name="Zástupný symbol pro datum 4">
            <a:extLst>
              <a:ext uri="{FF2B5EF4-FFF2-40B4-BE49-F238E27FC236}">
                <a16:creationId xmlns:a16="http://schemas.microsoft.com/office/drawing/2014/main" id="{81C26B49-8B8E-4DAA-B3F6-1A07FF119747}"/>
              </a:ext>
            </a:extLst>
          </p:cNvPr>
          <p:cNvSpPr>
            <a:spLocks noGrp="1"/>
          </p:cNvSpPr>
          <p:nvPr>
            <p:ph type="dt" sz="half" idx="10"/>
          </p:nvPr>
        </p:nvSpPr>
        <p:spPr/>
        <p:txBody>
          <a:bodyPr/>
          <a:lstStyle/>
          <a:p>
            <a:fld id="{B0A80564-18DF-44AD-837A-9A1F503F7317}" type="datetimeFigureOut">
              <a:rPr lang="cs-CZ" smtClean="0"/>
              <a:t>29.01.2019</a:t>
            </a:fld>
            <a:endParaRPr lang="cs-CZ"/>
          </a:p>
        </p:txBody>
      </p:sp>
      <p:sp>
        <p:nvSpPr>
          <p:cNvPr id="6" name="Zástupný symbol pro zápatí 5">
            <a:extLst>
              <a:ext uri="{FF2B5EF4-FFF2-40B4-BE49-F238E27FC236}">
                <a16:creationId xmlns:a16="http://schemas.microsoft.com/office/drawing/2014/main" id="{2B1F3B88-0D4F-42D4-8FAB-1AA1A53C1CFE}"/>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CD4CB22B-574C-4B07-8CB1-72DFCE441F06}"/>
              </a:ext>
            </a:extLst>
          </p:cNvPr>
          <p:cNvSpPr>
            <a:spLocks noGrp="1"/>
          </p:cNvSpPr>
          <p:nvPr>
            <p:ph type="sldNum" sz="quarter" idx="12"/>
          </p:nvPr>
        </p:nvSpPr>
        <p:spPr/>
        <p:txBody>
          <a:bodyPr/>
          <a:lstStyle/>
          <a:p>
            <a:fld id="{9D86CC54-DAF3-4867-99BE-1974401EAD4A}" type="slidenum">
              <a:rPr lang="cs-CZ" smtClean="0"/>
              <a:t>‹#›</a:t>
            </a:fld>
            <a:endParaRPr lang="cs-CZ"/>
          </a:p>
        </p:txBody>
      </p:sp>
    </p:spTree>
    <p:extLst>
      <p:ext uri="{BB962C8B-B14F-4D97-AF65-F5344CB8AC3E}">
        <p14:creationId xmlns:p14="http://schemas.microsoft.com/office/powerpoint/2010/main" val="381396346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D949A0-DFBB-4762-B1D2-690CC74371C1}"/>
              </a:ext>
            </a:extLst>
          </p:cNvPr>
          <p:cNvSpPr>
            <a:spLocks noGrp="1"/>
          </p:cNvSpPr>
          <p:nvPr>
            <p:ph type="title"/>
          </p:nvPr>
        </p:nvSpPr>
        <p:spPr>
          <a:xfrm>
            <a:off x="629841" y="457200"/>
            <a:ext cx="2949178" cy="1600200"/>
          </a:xfrm>
        </p:spPr>
        <p:txBody>
          <a:bodyPr anchor="b"/>
          <a:lstStyle>
            <a:lvl1pPr>
              <a:defRPr sz="2400"/>
            </a:lvl1pPr>
          </a:lstStyle>
          <a:p>
            <a:r>
              <a:rPr lang="cs-CZ"/>
              <a:t>Kliknutím lze upravit styl.</a:t>
            </a:r>
          </a:p>
        </p:txBody>
      </p:sp>
      <p:sp>
        <p:nvSpPr>
          <p:cNvPr id="3" name="Zástupný symbol obrázku 2">
            <a:extLst>
              <a:ext uri="{FF2B5EF4-FFF2-40B4-BE49-F238E27FC236}">
                <a16:creationId xmlns:a16="http://schemas.microsoft.com/office/drawing/2014/main" id="{B28354F9-9399-4AAC-8826-01A6CA49DB04}"/>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cs-CZ"/>
          </a:p>
        </p:txBody>
      </p:sp>
      <p:sp>
        <p:nvSpPr>
          <p:cNvPr id="4" name="Zástupný symbol pro text 3">
            <a:extLst>
              <a:ext uri="{FF2B5EF4-FFF2-40B4-BE49-F238E27FC236}">
                <a16:creationId xmlns:a16="http://schemas.microsoft.com/office/drawing/2014/main" id="{CCAAAF53-9C51-4FCF-BF17-7721510612E8}"/>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cs-CZ"/>
              <a:t>Upravte styly předlohy textu.</a:t>
            </a:r>
          </a:p>
        </p:txBody>
      </p:sp>
      <p:sp>
        <p:nvSpPr>
          <p:cNvPr id="5" name="Zástupný symbol pro datum 4">
            <a:extLst>
              <a:ext uri="{FF2B5EF4-FFF2-40B4-BE49-F238E27FC236}">
                <a16:creationId xmlns:a16="http://schemas.microsoft.com/office/drawing/2014/main" id="{9C58602C-8670-4128-873C-994E6CD7631F}"/>
              </a:ext>
            </a:extLst>
          </p:cNvPr>
          <p:cNvSpPr>
            <a:spLocks noGrp="1"/>
          </p:cNvSpPr>
          <p:nvPr>
            <p:ph type="dt" sz="half" idx="10"/>
          </p:nvPr>
        </p:nvSpPr>
        <p:spPr/>
        <p:txBody>
          <a:bodyPr/>
          <a:lstStyle/>
          <a:p>
            <a:fld id="{B0A80564-18DF-44AD-837A-9A1F503F7317}" type="datetimeFigureOut">
              <a:rPr lang="cs-CZ" smtClean="0"/>
              <a:t>29.01.2019</a:t>
            </a:fld>
            <a:endParaRPr lang="cs-CZ"/>
          </a:p>
        </p:txBody>
      </p:sp>
      <p:sp>
        <p:nvSpPr>
          <p:cNvPr id="6" name="Zástupný symbol pro zápatí 5">
            <a:extLst>
              <a:ext uri="{FF2B5EF4-FFF2-40B4-BE49-F238E27FC236}">
                <a16:creationId xmlns:a16="http://schemas.microsoft.com/office/drawing/2014/main" id="{9EAFB6C4-CADA-4B7B-BD9A-E4E752E1603E}"/>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E360469-19AB-46D0-8911-F6C95FD4A5BC}"/>
              </a:ext>
            </a:extLst>
          </p:cNvPr>
          <p:cNvSpPr>
            <a:spLocks noGrp="1"/>
          </p:cNvSpPr>
          <p:nvPr>
            <p:ph type="sldNum" sz="quarter" idx="12"/>
          </p:nvPr>
        </p:nvSpPr>
        <p:spPr/>
        <p:txBody>
          <a:bodyPr/>
          <a:lstStyle/>
          <a:p>
            <a:fld id="{9D86CC54-DAF3-4867-99BE-1974401EAD4A}" type="slidenum">
              <a:rPr lang="cs-CZ" smtClean="0"/>
              <a:t>‹#›</a:t>
            </a:fld>
            <a:endParaRPr lang="cs-CZ"/>
          </a:p>
        </p:txBody>
      </p:sp>
    </p:spTree>
    <p:extLst>
      <p:ext uri="{BB962C8B-B14F-4D97-AF65-F5344CB8AC3E}">
        <p14:creationId xmlns:p14="http://schemas.microsoft.com/office/powerpoint/2010/main" val="201928010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5D8C097-AAFF-4BA1-9F0C-FCFCBA4EC0AB}"/>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CC5E37BB-3154-4528-BD78-09D74FAD782D}"/>
              </a:ext>
            </a:extLst>
          </p:cNvPr>
          <p:cNvSpPr>
            <a:spLocks noGrp="1"/>
          </p:cNvSpPr>
          <p:nvPr>
            <p:ph type="body" orient="vert" idx="1"/>
          </p:nvPr>
        </p:nvSpPr>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612A1E9-AB06-4C38-A455-2C4B15ED5BD5}"/>
              </a:ext>
            </a:extLst>
          </p:cNvPr>
          <p:cNvSpPr>
            <a:spLocks noGrp="1"/>
          </p:cNvSpPr>
          <p:nvPr>
            <p:ph type="dt" sz="half" idx="10"/>
          </p:nvPr>
        </p:nvSpPr>
        <p:spPr/>
        <p:txBody>
          <a:bodyPr/>
          <a:lstStyle/>
          <a:p>
            <a:fld id="{B0A80564-18DF-44AD-837A-9A1F503F7317}" type="datetimeFigureOut">
              <a:rPr lang="cs-CZ" smtClean="0"/>
              <a:t>29.01.2019</a:t>
            </a:fld>
            <a:endParaRPr lang="cs-CZ"/>
          </a:p>
        </p:txBody>
      </p:sp>
      <p:sp>
        <p:nvSpPr>
          <p:cNvPr id="5" name="Zástupný symbol pro zápatí 4">
            <a:extLst>
              <a:ext uri="{FF2B5EF4-FFF2-40B4-BE49-F238E27FC236}">
                <a16:creationId xmlns:a16="http://schemas.microsoft.com/office/drawing/2014/main" id="{8C2DAD64-A96D-4FEF-A15C-1AC778F52B25}"/>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13D159E1-6098-49E1-8260-1F46D32BC201}"/>
              </a:ext>
            </a:extLst>
          </p:cNvPr>
          <p:cNvSpPr>
            <a:spLocks noGrp="1"/>
          </p:cNvSpPr>
          <p:nvPr>
            <p:ph type="sldNum" sz="quarter" idx="12"/>
          </p:nvPr>
        </p:nvSpPr>
        <p:spPr/>
        <p:txBody>
          <a:bodyPr/>
          <a:lstStyle/>
          <a:p>
            <a:fld id="{9D86CC54-DAF3-4867-99BE-1974401EAD4A}" type="slidenum">
              <a:rPr lang="cs-CZ" smtClean="0"/>
              <a:t>‹#›</a:t>
            </a:fld>
            <a:endParaRPr lang="cs-CZ"/>
          </a:p>
        </p:txBody>
      </p:sp>
    </p:spTree>
    <p:extLst>
      <p:ext uri="{BB962C8B-B14F-4D97-AF65-F5344CB8AC3E}">
        <p14:creationId xmlns:p14="http://schemas.microsoft.com/office/powerpoint/2010/main" val="63610567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75794264-040B-4803-A48E-1B2666E818C7}"/>
              </a:ext>
            </a:extLst>
          </p:cNvPr>
          <p:cNvSpPr>
            <a:spLocks noGrp="1"/>
          </p:cNvSpPr>
          <p:nvPr>
            <p:ph type="title" orient="vert"/>
          </p:nvPr>
        </p:nvSpPr>
        <p:spPr>
          <a:xfrm>
            <a:off x="6543675" y="365125"/>
            <a:ext cx="1971675"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C1DF0B53-369E-48F0-B12F-8D806BE9251F}"/>
              </a:ext>
            </a:extLst>
          </p:cNvPr>
          <p:cNvSpPr>
            <a:spLocks noGrp="1"/>
          </p:cNvSpPr>
          <p:nvPr>
            <p:ph type="body" orient="vert" idx="1"/>
          </p:nvPr>
        </p:nvSpPr>
        <p:spPr>
          <a:xfrm>
            <a:off x="628650" y="365125"/>
            <a:ext cx="5800725" cy="5811838"/>
          </a:xfrm>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D01D5880-140D-40B4-84BA-2852A66B86FF}"/>
              </a:ext>
            </a:extLst>
          </p:cNvPr>
          <p:cNvSpPr>
            <a:spLocks noGrp="1"/>
          </p:cNvSpPr>
          <p:nvPr>
            <p:ph type="dt" sz="half" idx="10"/>
          </p:nvPr>
        </p:nvSpPr>
        <p:spPr/>
        <p:txBody>
          <a:bodyPr/>
          <a:lstStyle/>
          <a:p>
            <a:fld id="{B0A80564-18DF-44AD-837A-9A1F503F7317}" type="datetimeFigureOut">
              <a:rPr lang="cs-CZ" smtClean="0"/>
              <a:t>29.01.2019</a:t>
            </a:fld>
            <a:endParaRPr lang="cs-CZ"/>
          </a:p>
        </p:txBody>
      </p:sp>
      <p:sp>
        <p:nvSpPr>
          <p:cNvPr id="5" name="Zástupný symbol pro zápatí 4">
            <a:extLst>
              <a:ext uri="{FF2B5EF4-FFF2-40B4-BE49-F238E27FC236}">
                <a16:creationId xmlns:a16="http://schemas.microsoft.com/office/drawing/2014/main" id="{DAE92843-96D4-44FC-9251-DDB7726255A0}"/>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C92730F3-ABBA-4586-BB5B-727797210493}"/>
              </a:ext>
            </a:extLst>
          </p:cNvPr>
          <p:cNvSpPr>
            <a:spLocks noGrp="1"/>
          </p:cNvSpPr>
          <p:nvPr>
            <p:ph type="sldNum" sz="quarter" idx="12"/>
          </p:nvPr>
        </p:nvSpPr>
        <p:spPr/>
        <p:txBody>
          <a:bodyPr/>
          <a:lstStyle/>
          <a:p>
            <a:fld id="{9D86CC54-DAF3-4867-99BE-1974401EAD4A}" type="slidenum">
              <a:rPr lang="cs-CZ" smtClean="0"/>
              <a:t>‹#›</a:t>
            </a:fld>
            <a:endParaRPr lang="cs-CZ"/>
          </a:p>
        </p:txBody>
      </p:sp>
    </p:spTree>
    <p:extLst>
      <p:ext uri="{BB962C8B-B14F-4D97-AF65-F5344CB8AC3E}">
        <p14:creationId xmlns:p14="http://schemas.microsoft.com/office/powerpoint/2010/main" val="9272218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685640"/>
            <a:ext cx="4086000" cy="936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GB" noProof="0"/>
              <a:t>Click to edit Master text styles</a:t>
            </a:r>
          </a:p>
        </p:txBody>
      </p:sp>
      <p:sp>
        <p:nvSpPr>
          <p:cNvPr id="19" name="Picture Placeholder 16"/>
          <p:cNvSpPr>
            <a:spLocks noGrp="1"/>
          </p:cNvSpPr>
          <p:nvPr>
            <p:ph type="pic" sz="quarter" idx="14"/>
          </p:nvPr>
        </p:nvSpPr>
        <p:spPr>
          <a:xfrm>
            <a:off x="4680000" y="1670400"/>
            <a:ext cx="4086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0" name="Picture Placeholder 16"/>
          <p:cNvSpPr>
            <a:spLocks noGrp="1"/>
          </p:cNvSpPr>
          <p:nvPr>
            <p:ph type="pic" sz="quarter" idx="15"/>
          </p:nvPr>
        </p:nvSpPr>
        <p:spPr>
          <a:xfrm>
            <a:off x="4680000" y="3861048"/>
            <a:ext cx="4086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7"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9"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8792264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3682000"/>
            <a:ext cx="414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685640"/>
            <a:ext cx="7056000" cy="1800000"/>
          </a:xfrm>
          <a:prstGeom prst="rect">
            <a:avLst/>
          </a:prstGeom>
        </p:spPr>
        <p:txBody>
          <a:bodyPr vert="horz"/>
          <a:lstStyle>
            <a:lvl1pPr marL="0" marR="0" indent="0" algn="l" defTabSz="9144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265113" marR="0" indent="-263525" algn="l" defTabSz="914400" rtl="0" eaLnBrk="1" fontAlgn="base" latinLnBrk="0" hangingPunct="1">
              <a:lnSpc>
                <a:spcPct val="90000"/>
              </a:lnSpc>
              <a:spcBef>
                <a:spcPct val="0"/>
              </a:spcBef>
              <a:spcAft>
                <a:spcPct val="0"/>
              </a:spcAft>
              <a:buClrTx/>
              <a:buSzTx/>
              <a:buFontTx/>
              <a:buChar char="•"/>
              <a:tabLst/>
              <a:defRPr sz="1800"/>
            </a:lvl2pPr>
            <a:lvl3pPr marL="622300" marR="0" indent="-180975" algn="l" defTabSz="914400" rtl="0" eaLnBrk="1" fontAlgn="base" latinLnBrk="0" hangingPunct="1">
              <a:lnSpc>
                <a:spcPct val="90000"/>
              </a:lnSpc>
              <a:spcBef>
                <a:spcPct val="0"/>
              </a:spcBef>
              <a:spcAft>
                <a:spcPct val="0"/>
              </a:spcAft>
              <a:buClrTx/>
              <a:buSzTx/>
              <a:buFont typeface="Arial" charset="0"/>
              <a:buChar char="-"/>
              <a:tabLst/>
              <a:defRPr sz="1800"/>
            </a:lvl3pPr>
            <a:lvl4pPr marL="1657350" indent="-285750">
              <a:buFont typeface="Arial"/>
              <a:buChar char="•"/>
              <a:defRPr sz="1800"/>
            </a:lvl4pPr>
            <a:lvl5pPr marL="2114550" indent="-285750">
              <a:buFont typeface="Arial"/>
              <a:buChar char="•"/>
              <a:defRPr sz="1800"/>
            </a:lvl5pPr>
          </a:lstStyle>
          <a:p>
            <a:pPr lvl="0"/>
            <a:r>
              <a:rPr lang="en-GB" noProof="0" dirty="0"/>
              <a:t>Click to edit Master text styles</a:t>
            </a:r>
          </a:p>
        </p:txBody>
      </p:sp>
      <p:sp>
        <p:nvSpPr>
          <p:cNvPr id="6"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8"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1673109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Slide Light Blue">
    <p:spTree>
      <p:nvGrpSpPr>
        <p:cNvPr id="1" name=""/>
        <p:cNvGrpSpPr/>
        <p:nvPr/>
      </p:nvGrpSpPr>
      <p:grpSpPr>
        <a:xfrm>
          <a:off x="0" y="0"/>
          <a:ext cx="0" cy="0"/>
          <a:chOff x="0" y="0"/>
          <a:chExt cx="0" cy="0"/>
        </a:xfrm>
      </p:grpSpPr>
      <p:sp>
        <p:nvSpPr>
          <p:cNvPr id="5" name="Rectangle 4"/>
          <p:cNvSpPr/>
          <p:nvPr userDrawn="1"/>
        </p:nvSpPr>
        <p:spPr>
          <a:xfrm>
            <a:off x="144000" y="144000"/>
            <a:ext cx="8856000" cy="658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dirty="0">
              <a:solidFill>
                <a:srgbClr val="FFFFFF"/>
              </a:solidFill>
            </a:endParaRPr>
          </a:p>
        </p:txBody>
      </p:sp>
      <p:sp>
        <p:nvSpPr>
          <p:cNvPr id="13" name="Title 8"/>
          <p:cNvSpPr>
            <a:spLocks noGrp="1"/>
          </p:cNvSpPr>
          <p:nvPr>
            <p:ph type="title" hasCustomPrompt="1"/>
          </p:nvPr>
        </p:nvSpPr>
        <p:spPr>
          <a:xfrm>
            <a:off x="216004" y="193039"/>
            <a:ext cx="8765651" cy="506116"/>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
        <p:nvSpPr>
          <p:cNvPr id="4" name="TextBox 3"/>
          <p:cNvSpPr txBox="1"/>
          <p:nvPr userDrawn="1"/>
        </p:nvSpPr>
        <p:spPr>
          <a:xfrm>
            <a:off x="1300660" y="2671884"/>
            <a:ext cx="6542689" cy="1514261"/>
          </a:xfrm>
          <a:prstGeom prst="rect">
            <a:avLst/>
          </a:prstGeom>
          <a:noFill/>
        </p:spPr>
        <p:txBody>
          <a:bodyPr wrap="square" rtlCol="0">
            <a:spAutoFit/>
          </a:bodyPr>
          <a:lstStyle/>
          <a:p>
            <a:pPr algn="ctr" defTabSz="457200" fontAlgn="auto">
              <a:lnSpc>
                <a:spcPct val="110000"/>
              </a:lnSpc>
              <a:spcBef>
                <a:spcPts val="0"/>
              </a:spcBef>
              <a:spcAft>
                <a:spcPts val="0"/>
              </a:spcAft>
            </a:pPr>
            <a:r>
              <a:rPr lang="en-US" sz="2800" dirty="0">
                <a:solidFill>
                  <a:schemeClr val="bg1">
                    <a:lumMod val="85000"/>
                  </a:schemeClr>
                </a:solidFill>
                <a:latin typeface="Arial"/>
                <a:ea typeface="+mn-ea"/>
                <a:cs typeface="+mn-cs"/>
              </a:rPr>
              <a:t>DRAFT </a:t>
            </a:r>
            <a:br>
              <a:rPr lang="en-US" sz="2800" dirty="0">
                <a:solidFill>
                  <a:schemeClr val="bg1">
                    <a:lumMod val="85000"/>
                  </a:schemeClr>
                </a:solidFill>
                <a:latin typeface="Arial"/>
                <a:ea typeface="+mn-ea"/>
                <a:cs typeface="+mn-cs"/>
              </a:rPr>
            </a:br>
            <a:r>
              <a:rPr lang="en-US" sz="2800" dirty="0">
                <a:solidFill>
                  <a:schemeClr val="bg1">
                    <a:lumMod val="85000"/>
                  </a:schemeClr>
                </a:solidFill>
                <a:latin typeface="Arial"/>
                <a:ea typeface="+mn-ea"/>
                <a:cs typeface="+mn-cs"/>
              </a:rPr>
              <a:t>NOT APPROVED FOR USE IN CURRENT FORM </a:t>
            </a:r>
          </a:p>
        </p:txBody>
      </p:sp>
    </p:spTree>
    <p:extLst>
      <p:ext uri="{BB962C8B-B14F-4D97-AF65-F5344CB8AC3E}">
        <p14:creationId xmlns:p14="http://schemas.microsoft.com/office/powerpoint/2010/main" val="28259701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3682000"/>
            <a:ext cx="414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2" name="Picture Placeholder 16"/>
          <p:cNvSpPr>
            <a:spLocks noGrp="1"/>
          </p:cNvSpPr>
          <p:nvPr>
            <p:ph type="pic" sz="quarter" idx="16"/>
          </p:nvPr>
        </p:nvSpPr>
        <p:spPr>
          <a:xfrm>
            <a:off x="327600" y="3682000"/>
            <a:ext cx="414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685640"/>
            <a:ext cx="7056000" cy="1800000"/>
          </a:xfrm>
          <a:prstGeom prst="rect">
            <a:avLst/>
          </a:prstGeom>
        </p:spPr>
        <p:txBody>
          <a:bodyPr vert="horz"/>
          <a:lstStyle>
            <a:lvl1pPr marL="0" marR="0" indent="0" algn="l" defTabSz="9144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265113" marR="0" indent="-263525" algn="l" defTabSz="914400" rtl="0" eaLnBrk="1" fontAlgn="base" latinLnBrk="0" hangingPunct="1">
              <a:lnSpc>
                <a:spcPct val="90000"/>
              </a:lnSpc>
              <a:spcBef>
                <a:spcPct val="0"/>
              </a:spcBef>
              <a:spcAft>
                <a:spcPct val="0"/>
              </a:spcAft>
              <a:buClrTx/>
              <a:buSzTx/>
              <a:buFontTx/>
              <a:buChar char="•"/>
              <a:tabLst/>
              <a:defRPr sz="1800"/>
            </a:lvl2pPr>
            <a:lvl3pPr marL="622300" marR="0" indent="-180975" algn="l" defTabSz="914400" rtl="0" eaLnBrk="1" fontAlgn="base" latinLnBrk="0" hangingPunct="1">
              <a:lnSpc>
                <a:spcPct val="90000"/>
              </a:lnSpc>
              <a:spcBef>
                <a:spcPct val="0"/>
              </a:spcBef>
              <a:spcAft>
                <a:spcPct val="0"/>
              </a:spcAft>
              <a:buClrTx/>
              <a:buSzTx/>
              <a:buFont typeface="Arial" charset="0"/>
              <a:buChar char="-"/>
              <a:tabLst/>
              <a:defRPr sz="1800"/>
            </a:lvl3pPr>
            <a:lvl4pPr marL="1657350" indent="-285750">
              <a:buFont typeface="Arial"/>
              <a:buChar char="•"/>
              <a:defRPr sz="1800"/>
            </a:lvl4pPr>
            <a:lvl5pPr marL="2114550" indent="-285750">
              <a:buFont typeface="Arial"/>
              <a:buChar char="•"/>
              <a:defRPr sz="1800"/>
            </a:lvl5pPr>
          </a:lstStyle>
          <a:p>
            <a:pPr lvl="0"/>
            <a:r>
              <a:rPr lang="en-GB" noProof="0" dirty="0"/>
              <a:t>Click to edit Master text styles</a:t>
            </a:r>
          </a:p>
        </p:txBody>
      </p:sp>
      <p:sp>
        <p:nvSpPr>
          <p:cNvPr id="7"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9"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2540463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3682000"/>
            <a:ext cx="27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3682000"/>
            <a:ext cx="27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9" name="Picture Placeholder 16"/>
          <p:cNvSpPr>
            <a:spLocks noGrp="1"/>
          </p:cNvSpPr>
          <p:nvPr>
            <p:ph type="pic" sz="quarter" idx="16"/>
          </p:nvPr>
        </p:nvSpPr>
        <p:spPr>
          <a:xfrm>
            <a:off x="6067748" y="3682000"/>
            <a:ext cx="27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1" name="Text Placeholder 2"/>
          <p:cNvSpPr>
            <a:spLocks noGrp="1"/>
          </p:cNvSpPr>
          <p:nvPr>
            <p:ph type="body" sz="quarter" idx="13"/>
          </p:nvPr>
        </p:nvSpPr>
        <p:spPr>
          <a:xfrm>
            <a:off x="236537" y="1685639"/>
            <a:ext cx="7056000" cy="1800000"/>
          </a:xfrm>
          <a:prstGeom prst="rect">
            <a:avLst/>
          </a:prstGeom>
        </p:spPr>
        <p:txBody>
          <a:bodyPr vert="horz"/>
          <a:lstStyle>
            <a:lvl1pPr marL="0" marR="0" indent="0" algn="l" defTabSz="9144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265113" marR="0" indent="-263525" algn="l" defTabSz="914400" rtl="0" eaLnBrk="1" fontAlgn="base" latinLnBrk="0" hangingPunct="1">
              <a:lnSpc>
                <a:spcPct val="90000"/>
              </a:lnSpc>
              <a:spcBef>
                <a:spcPct val="0"/>
              </a:spcBef>
              <a:spcAft>
                <a:spcPct val="0"/>
              </a:spcAft>
              <a:buClrTx/>
              <a:buSzTx/>
              <a:buFontTx/>
              <a:buChar char="•"/>
              <a:tabLst/>
              <a:defRPr sz="1800"/>
            </a:lvl2pPr>
            <a:lvl3pPr marL="622300" marR="0" indent="-180975" algn="l" defTabSz="914400" rtl="0" eaLnBrk="1" fontAlgn="base" latinLnBrk="0" hangingPunct="1">
              <a:lnSpc>
                <a:spcPct val="90000"/>
              </a:lnSpc>
              <a:spcBef>
                <a:spcPct val="0"/>
              </a:spcBef>
              <a:spcAft>
                <a:spcPct val="0"/>
              </a:spcAft>
              <a:buClrTx/>
              <a:buSzTx/>
              <a:buFont typeface="Arial" charset="0"/>
              <a:buChar char="-"/>
              <a:tabLst/>
              <a:defRPr sz="1800"/>
            </a:lvl3pPr>
            <a:lvl4pPr marL="1657350" indent="-285750">
              <a:buFont typeface="Arial"/>
              <a:buChar char="•"/>
              <a:defRPr sz="1800"/>
            </a:lvl4pPr>
            <a:lvl5pPr marL="2114550" indent="-285750">
              <a:buFont typeface="Arial"/>
              <a:buChar char="•"/>
              <a:defRPr sz="1800"/>
            </a:lvl5pPr>
          </a:lstStyle>
          <a:p>
            <a:pPr lvl="0"/>
            <a:r>
              <a:rPr lang="en-GB" noProof="0" dirty="0"/>
              <a:t>Click to edit Master text styles</a:t>
            </a:r>
          </a:p>
        </p:txBody>
      </p:sp>
      <p:sp>
        <p:nvSpPr>
          <p:cNvPr id="9"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0"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6154926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685640"/>
            <a:ext cx="8766174" cy="4230000"/>
          </a:xfrm>
          <a:prstGeom prst="rect">
            <a:avLst/>
          </a:prstGeom>
        </p:spPr>
        <p:txBody>
          <a:bodyPr/>
          <a:lstStyle>
            <a:lvl1pPr marL="266400" indent="-266400">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630000" indent="-180000">
              <a:lnSpc>
                <a:spcPct val="15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6"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content title</a:t>
            </a:r>
          </a:p>
        </p:txBody>
      </p:sp>
    </p:spTree>
    <p:extLst>
      <p:ext uri="{BB962C8B-B14F-4D97-AF65-F5344CB8AC3E}">
        <p14:creationId xmlns:p14="http://schemas.microsoft.com/office/powerpoint/2010/main" val="3005006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6"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Tree>
    <p:extLst>
      <p:ext uri="{BB962C8B-B14F-4D97-AF65-F5344CB8AC3E}">
        <p14:creationId xmlns:p14="http://schemas.microsoft.com/office/powerpoint/2010/main" val="1797402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82526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92000"/>
            <a:ext cx="8280000" cy="672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3" y="1552691"/>
            <a:ext cx="7023713" cy="422952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318375" y="6462339"/>
            <a:ext cx="396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9518280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9563" y="217807"/>
            <a:ext cx="8458200" cy="82042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309563" y="1609344"/>
            <a:ext cx="8348472" cy="4572000"/>
          </a:xfrm>
          <a:prstGeom prst="rect">
            <a:avLst/>
          </a:prstGeo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49046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252248" y="6597352"/>
            <a:ext cx="935376" cy="260648"/>
          </a:xfrm>
          <a:prstGeom prst="rect">
            <a:avLst/>
          </a:prstGeom>
        </p:spPr>
        <p:txBody>
          <a:bodyPr/>
          <a:lstStyle/>
          <a:p>
            <a:pPr fontAlgn="auto">
              <a:spcBef>
                <a:spcPts val="0"/>
              </a:spcBef>
              <a:spcAft>
                <a:spcPts val="0"/>
              </a:spcAft>
            </a:pPr>
            <a:endParaRPr lang="en-GB" sz="1800" b="0">
              <a:solidFill>
                <a:prstClr val="black">
                  <a:tint val="75000"/>
                </a:prstClr>
              </a:solidFill>
              <a:latin typeface="Century Gothic"/>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22" y="6381335"/>
            <a:ext cx="6842125"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39045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Prázdný">
    <p:spTree>
      <p:nvGrpSpPr>
        <p:cNvPr id="1" name=""/>
        <p:cNvGrpSpPr/>
        <p:nvPr/>
      </p:nvGrpSpPr>
      <p:grpSpPr>
        <a:xfrm>
          <a:off x="0" y="0"/>
          <a:ext cx="0" cy="0"/>
          <a:chOff x="0" y="0"/>
          <a:chExt cx="0" cy="0"/>
        </a:xfrm>
      </p:grpSpPr>
      <p:sp>
        <p:nvSpPr>
          <p:cNvPr id="2" name="Zástupný symbol pro datum 1"/>
          <p:cNvSpPr>
            <a:spLocks noGrp="1"/>
          </p:cNvSpPr>
          <p:nvPr>
            <p:ph type="dt" sz="half" idx="10"/>
          </p:nvPr>
        </p:nvSpPr>
        <p:spPr/>
        <p:txBody>
          <a:bodyPr/>
          <a:lstStyle/>
          <a:p>
            <a:fld id="{9894AA5E-32CC-429F-9B56-4FE830FB7A8B}" type="datetimeFigureOut">
              <a:rPr lang="cs-CZ" smtClean="0"/>
              <a:t>29.01.2019</a:t>
            </a:fld>
            <a:endParaRPr lang="cs-CZ"/>
          </a:p>
        </p:txBody>
      </p:sp>
      <p:sp>
        <p:nvSpPr>
          <p:cNvPr id="3" name="Zástupný symbol pro zápatí 2"/>
          <p:cNvSpPr>
            <a:spLocks noGrp="1"/>
          </p:cNvSpPr>
          <p:nvPr>
            <p:ph type="ftr" sz="quarter" idx="11"/>
          </p:nvPr>
        </p:nvSpPr>
        <p:spPr/>
        <p:txBody>
          <a:bodyPr/>
          <a:lstStyle/>
          <a:p>
            <a:endParaRPr lang="cs-CZ"/>
          </a:p>
        </p:txBody>
      </p:sp>
      <p:sp>
        <p:nvSpPr>
          <p:cNvPr id="4" name="Zástupný symbol pro číslo snímku 3"/>
          <p:cNvSpPr>
            <a:spLocks noGrp="1"/>
          </p:cNvSpPr>
          <p:nvPr>
            <p:ph type="sldNum" sz="quarter" idx="12"/>
          </p:nvPr>
        </p:nvSpPr>
        <p:spPr/>
        <p:txBody>
          <a:bodyPr/>
          <a:lstStyle/>
          <a:p>
            <a:fld id="{A1F0A968-7AA9-4699-9413-F1E240B6185E}" type="slidenum">
              <a:rPr lang="cs-CZ" smtClean="0"/>
              <a:t>‹#›</a:t>
            </a:fld>
            <a:endParaRPr lang="cs-CZ"/>
          </a:p>
        </p:txBody>
      </p:sp>
    </p:spTree>
    <p:extLst>
      <p:ext uri="{BB962C8B-B14F-4D97-AF65-F5344CB8AC3E}">
        <p14:creationId xmlns:p14="http://schemas.microsoft.com/office/powerpoint/2010/main" val="23657999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13"/>
          <p:cNvPicPr>
            <a:picLocks noChangeAspect="1"/>
          </p:cNvPicPr>
          <p:nvPr userDrawn="1"/>
        </p:nvPicPr>
        <p:blipFill>
          <a:blip r:embed="rId2" cstate="email">
            <a:extLst>
              <a:ext uri="{28A0092B-C50C-407E-A947-70E740481C1C}">
                <a14:useLocalDpi xmlns:a14="http://schemas.microsoft.com/office/drawing/2010/main" val="0"/>
              </a:ext>
            </a:extLst>
          </a:blip>
          <a:srcRect b="14449"/>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userDrawn="1"/>
        </p:nvSpPr>
        <p:spPr>
          <a:xfrm>
            <a:off x="762831" y="6100763"/>
            <a:ext cx="157094" cy="153888"/>
          </a:xfrm>
          <a:prstGeom prst="rect">
            <a:avLst/>
          </a:prstGeom>
          <a:noFill/>
        </p:spPr>
        <p:txBody>
          <a:bodyPr wrap="non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fontAlgn="auto" hangingPunct="1">
              <a:spcBef>
                <a:spcPts val="0"/>
              </a:spcBef>
              <a:spcAft>
                <a:spcPts val="0"/>
              </a:spcAft>
              <a:defRPr/>
            </a:pPr>
            <a:fld id="{8E42A58A-622E-48F1-93AB-DB2D71A92841}" type="slidenum">
              <a:rPr lang="en-US" sz="1000" b="0">
                <a:solidFill>
                  <a:prstClr val="white"/>
                </a:solidFill>
                <a:cs typeface="Arial" pitchFamily="34" charset="0"/>
              </a:rPr>
              <a:pPr algn="ctr" eaLnBrk="1" fontAlgn="auto" hangingPunct="1">
                <a:spcBef>
                  <a:spcPts val="0"/>
                </a:spcBef>
                <a:spcAft>
                  <a:spcPts val="0"/>
                </a:spcAft>
                <a:defRPr/>
              </a:pPr>
              <a:t>‹#›</a:t>
            </a:fld>
            <a:endParaRPr lang="en-US" sz="1000" b="0">
              <a:solidFill>
                <a:prstClr val="white"/>
              </a:solidFill>
              <a:cs typeface="Arial" pitchFamily="34" charset="0"/>
            </a:endParaRPr>
          </a:p>
        </p:txBody>
      </p:sp>
      <p:pic>
        <p:nvPicPr>
          <p:cNvPr id="8" name="Picture 2" descr="Z:\Clients\AZ-BMS\2014\5. Forxiga-Xigduo\3. Global projects\1. 360\786205172_Forxiga 2014 Speaker Training\4. Templates\Logo_19Aug14.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07975" y="244475"/>
            <a:ext cx="3995738" cy="231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4" descr="C:\Users\inam\Desktop\SF\AZ_DIAB_RGB_H_COL_LG.pn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7704138" y="6210315"/>
            <a:ext cx="1439862" cy="666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6" name="Rectangle 4"/>
          <p:cNvSpPr>
            <a:spLocks noGrp="1" noChangeArrowheads="1"/>
          </p:cNvSpPr>
          <p:nvPr>
            <p:ph type="ctrTitle" sz="quarter"/>
          </p:nvPr>
        </p:nvSpPr>
        <p:spPr bwMode="auto">
          <a:xfrm>
            <a:off x="1236043" y="2708926"/>
            <a:ext cx="6719888" cy="1328637"/>
          </a:xfrm>
          <a:prstGeom prst="rect">
            <a:avLst/>
          </a:prstGeom>
          <a:noFill/>
          <a:extLst/>
        </p:spPr>
        <p:txBody>
          <a:bodyPr lIns="0" rIns="0" anchor="b">
            <a:normAutofit/>
          </a:bodyPr>
          <a:lstStyle>
            <a:lvl1pPr algn="ctr">
              <a:defRPr sz="3600" smtClean="0">
                <a:solidFill>
                  <a:schemeClr val="accent2"/>
                </a:solidFill>
                <a:latin typeface="Arial" pitchFamily="34" charset="0"/>
                <a:ea typeface="ＭＳ Ｐゴシック" pitchFamily="34" charset="-128"/>
                <a:cs typeface="Arial" pitchFamily="34" charset="0"/>
              </a:defRPr>
            </a:lvl1pPr>
          </a:lstStyle>
          <a:p>
            <a:pPr lvl="0"/>
            <a:r>
              <a:rPr lang="en-US" noProof="0"/>
              <a:t>Click to edit Master title style</a:t>
            </a:r>
            <a:endParaRPr lang="en-GB" noProof="0" dirty="0"/>
          </a:p>
        </p:txBody>
      </p:sp>
      <p:sp>
        <p:nvSpPr>
          <p:cNvPr id="23557" name="Rectangle 5"/>
          <p:cNvSpPr>
            <a:spLocks noGrp="1" noChangeArrowheads="1"/>
          </p:cNvSpPr>
          <p:nvPr>
            <p:ph type="subTitle" sz="quarter" idx="1"/>
          </p:nvPr>
        </p:nvSpPr>
        <p:spPr bwMode="auto">
          <a:xfrm>
            <a:off x="1236043" y="4210151"/>
            <a:ext cx="6719888" cy="1068387"/>
          </a:xfrm>
          <a:prstGeom prst="rect">
            <a:avLst/>
          </a:prstGeom>
          <a:noFill/>
          <a:extLst/>
        </p:spPr>
        <p:txBody>
          <a:bodyPr>
            <a:normAutofit/>
          </a:bodyPr>
          <a:lstStyle>
            <a:lvl1pPr marL="0" indent="0" algn="ctr">
              <a:buFont typeface="Arial" pitchFamily="34" charset="0"/>
              <a:buNone/>
              <a:defRPr sz="2500" smtClean="0">
                <a:solidFill>
                  <a:schemeClr val="accent1"/>
                </a:solidFill>
                <a:latin typeface="Arial" pitchFamily="34" charset="0"/>
                <a:ea typeface="ＭＳ Ｐゴシック" pitchFamily="34" charset="-128"/>
                <a:cs typeface="Arial" pitchFamily="34" charset="0"/>
              </a:defRPr>
            </a:lvl1pPr>
          </a:lstStyle>
          <a:p>
            <a:pPr lvl="0"/>
            <a:r>
              <a:rPr lang="en-US" noProof="0"/>
              <a:t>Click to edit Master subtitle style</a:t>
            </a:r>
            <a:endParaRPr lang="en-GB" noProof="0" dirty="0"/>
          </a:p>
        </p:txBody>
      </p:sp>
      <p:sp>
        <p:nvSpPr>
          <p:cNvPr id="5" name="Text Placeholder 5"/>
          <p:cNvSpPr>
            <a:spLocks noGrp="1"/>
          </p:cNvSpPr>
          <p:nvPr>
            <p:ph type="body" sz="quarter" idx="11"/>
          </p:nvPr>
        </p:nvSpPr>
        <p:spPr>
          <a:xfrm>
            <a:off x="1407256" y="5335367"/>
            <a:ext cx="6549122" cy="469900"/>
          </a:xfrm>
          <a:prstGeom prst="rect">
            <a:avLst/>
          </a:prstGeom>
        </p:spPr>
        <p:txBody>
          <a:bodyPr lIns="360000" tIns="0" bIns="0" anchor="b"/>
          <a:lstStyle>
            <a:lvl1pPr marL="0" indent="0" algn="ctr">
              <a:spcBef>
                <a:spcPts val="0"/>
              </a:spcBef>
              <a:buNone/>
              <a:defRPr lang="en-GB" sz="1200" kern="1200" baseline="0" dirty="0" smtClean="0">
                <a:solidFill>
                  <a:srgbClr val="58595B"/>
                </a:solidFill>
                <a:latin typeface="Avenir LT Std 55 Roman"/>
                <a:ea typeface="ＭＳ Ｐゴシック" charset="-128"/>
                <a:cs typeface="+mn-cs"/>
              </a:defRPr>
            </a:lvl1pPr>
            <a:lvl2pPr algn="r">
              <a:defRPr lang="en-GB" sz="1400" kern="1200" dirty="0" smtClean="0">
                <a:solidFill>
                  <a:srgbClr val="58595B"/>
                </a:solidFill>
                <a:latin typeface="Avenir LT Std 55 Roman"/>
                <a:ea typeface="ＭＳ Ｐゴシック" charset="-128"/>
                <a:cs typeface="+mn-cs"/>
              </a:defRPr>
            </a:lvl2pPr>
          </a:lstStyle>
          <a:p>
            <a:pPr lvl="0"/>
            <a:r>
              <a:rPr lang="en-US"/>
              <a:t>Click to edit Master text styles</a:t>
            </a:r>
          </a:p>
        </p:txBody>
      </p:sp>
      <p:sp>
        <p:nvSpPr>
          <p:cNvPr id="10" name="Slide Number Placeholder 5"/>
          <p:cNvSpPr>
            <a:spLocks noGrp="1"/>
          </p:cNvSpPr>
          <p:nvPr>
            <p:ph type="sldNum" sz="quarter" idx="12"/>
          </p:nvPr>
        </p:nvSpPr>
        <p:spPr>
          <a:xfrm>
            <a:off x="4386275" y="6562734"/>
            <a:ext cx="371475"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defRPr>
            </a:lvl1pPr>
          </a:lstStyle>
          <a:p>
            <a:pPr defTabSz="912813">
              <a:defRPr/>
            </a:pPr>
            <a:fld id="{84274FB0-C3B0-411D-B8AB-FD26B4F8F074}" type="slidenum">
              <a:rPr lang="en-GB" b="0">
                <a:latin typeface="Arial" pitchFamily="34" charset="0"/>
                <a:ea typeface="ＭＳ Ｐゴシック" pitchFamily="34" charset="-128"/>
              </a:rPr>
              <a:pPr defTabSz="912813">
                <a:defRPr/>
              </a:pPr>
              <a:t>‹#›</a:t>
            </a:fld>
            <a:endParaRPr lang="en-GB" b="0">
              <a:latin typeface="Arial" pitchFamily="34" charset="0"/>
              <a:ea typeface="ＭＳ Ｐゴシック" pitchFamily="34" charset="-128"/>
            </a:endParaRPr>
          </a:p>
        </p:txBody>
      </p:sp>
    </p:spTree>
    <p:extLst>
      <p:ext uri="{BB962C8B-B14F-4D97-AF65-F5344CB8AC3E}">
        <p14:creationId xmlns:p14="http://schemas.microsoft.com/office/powerpoint/2010/main" val="1507290229"/>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spTree>
      <p:nvGrpSpPr>
        <p:cNvPr id="1" name=""/>
        <p:cNvGrpSpPr/>
        <p:nvPr/>
      </p:nvGrpSpPr>
      <p:grpSpPr>
        <a:xfrm>
          <a:off x="0" y="0"/>
          <a:ext cx="0" cy="0"/>
          <a:chOff x="0" y="0"/>
          <a:chExt cx="0" cy="0"/>
        </a:xfrm>
      </p:grpSpPr>
      <p:sp>
        <p:nvSpPr>
          <p:cNvPr id="5" name="Rectangle 4"/>
          <p:cNvSpPr/>
          <p:nvPr userDrawn="1"/>
        </p:nvSpPr>
        <p:spPr>
          <a:xfrm>
            <a:off x="144000" y="144000"/>
            <a:ext cx="8856000" cy="658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dirty="0">
              <a:solidFill>
                <a:srgbClr val="FFFFFF"/>
              </a:solidFill>
            </a:endParaRPr>
          </a:p>
        </p:txBody>
      </p:sp>
      <p:sp>
        <p:nvSpPr>
          <p:cNvPr id="13" name="Title 8"/>
          <p:cNvSpPr>
            <a:spLocks noGrp="1"/>
          </p:cNvSpPr>
          <p:nvPr>
            <p:ph type="title" hasCustomPrompt="1"/>
          </p:nvPr>
        </p:nvSpPr>
        <p:spPr>
          <a:xfrm>
            <a:off x="216004" y="193039"/>
            <a:ext cx="8765651" cy="506116"/>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
        <p:nvSpPr>
          <p:cNvPr id="6" name="TextBox 5"/>
          <p:cNvSpPr txBox="1"/>
          <p:nvPr userDrawn="1"/>
        </p:nvSpPr>
        <p:spPr>
          <a:xfrm>
            <a:off x="1300660" y="2671884"/>
            <a:ext cx="6542689" cy="1514261"/>
          </a:xfrm>
          <a:prstGeom prst="rect">
            <a:avLst/>
          </a:prstGeom>
          <a:noFill/>
        </p:spPr>
        <p:txBody>
          <a:bodyPr wrap="square" rtlCol="0">
            <a:spAutoFit/>
          </a:bodyPr>
          <a:lstStyle/>
          <a:p>
            <a:pPr algn="ctr" defTabSz="457200" fontAlgn="auto">
              <a:lnSpc>
                <a:spcPct val="110000"/>
              </a:lnSpc>
              <a:spcBef>
                <a:spcPts val="0"/>
              </a:spcBef>
              <a:spcAft>
                <a:spcPts val="0"/>
              </a:spcAft>
            </a:pPr>
            <a:r>
              <a:rPr lang="en-US" sz="2800" dirty="0">
                <a:solidFill>
                  <a:schemeClr val="bg1">
                    <a:lumMod val="85000"/>
                  </a:schemeClr>
                </a:solidFill>
                <a:latin typeface="Arial"/>
                <a:ea typeface="+mn-ea"/>
                <a:cs typeface="+mn-cs"/>
              </a:rPr>
              <a:t>DRAFT </a:t>
            </a:r>
            <a:br>
              <a:rPr lang="en-US" sz="2800" dirty="0">
                <a:solidFill>
                  <a:schemeClr val="bg1">
                    <a:lumMod val="85000"/>
                  </a:schemeClr>
                </a:solidFill>
                <a:latin typeface="Arial"/>
                <a:ea typeface="+mn-ea"/>
                <a:cs typeface="+mn-cs"/>
              </a:rPr>
            </a:br>
            <a:r>
              <a:rPr lang="en-US" sz="2800" dirty="0">
                <a:solidFill>
                  <a:schemeClr val="bg1">
                    <a:lumMod val="85000"/>
                  </a:schemeClr>
                </a:solidFill>
                <a:latin typeface="Arial"/>
                <a:ea typeface="+mn-ea"/>
                <a:cs typeface="+mn-cs"/>
              </a:rPr>
              <a:t>NOT APPROVED FOR USE IN CURRENT FORM </a:t>
            </a:r>
          </a:p>
        </p:txBody>
      </p:sp>
    </p:spTree>
    <p:extLst>
      <p:ext uri="{BB962C8B-B14F-4D97-AF65-F5344CB8AC3E}">
        <p14:creationId xmlns:p14="http://schemas.microsoft.com/office/powerpoint/2010/main" val="15977523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4" name="Picture 13"/>
          <p:cNvPicPr>
            <a:picLocks noChangeAspect="1"/>
          </p:cNvPicPr>
          <p:nvPr userDrawn="1"/>
        </p:nvPicPr>
        <p:blipFill>
          <a:blip r:embed="rId2" cstate="email">
            <a:extLst>
              <a:ext uri="{28A0092B-C50C-407E-A947-70E740481C1C}">
                <a14:useLocalDpi xmlns:a14="http://schemas.microsoft.com/office/drawing/2010/main" val="0"/>
              </a:ext>
            </a:extLst>
          </a:blip>
          <a:srcRect b="1430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C:\Users\inam\Desktop\SF\AZ_DIAB_RGB_H_COL_LG.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704138" y="6210315"/>
            <a:ext cx="1439862" cy="666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Z:\Clients\AZ-BMS\2014\5. Forxiga-Xigduo\3. Global projects\1. 360\786205172_Forxiga 2014 Speaker Training\4. Templates\Logo_19Aug14.pn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30164" y="5578489"/>
            <a:ext cx="2098675" cy="121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827586" y="1599636"/>
            <a:ext cx="7512448" cy="2701925"/>
          </a:xfrm>
          <a:prstGeom prst="rect">
            <a:avLst/>
          </a:prstGeom>
        </p:spPr>
        <p:txBody>
          <a:bodyPr>
            <a:normAutofit/>
          </a:bodyPr>
          <a:lstStyle>
            <a:lvl1pPr algn="ctr">
              <a:defRPr sz="3600"/>
            </a:lvl1pPr>
          </a:lstStyle>
          <a:p>
            <a:r>
              <a:rPr lang="en-US"/>
              <a:t>Click to edit Master title style</a:t>
            </a:r>
            <a:endParaRPr lang="en-GB" dirty="0"/>
          </a:p>
        </p:txBody>
      </p:sp>
      <p:sp>
        <p:nvSpPr>
          <p:cNvPr id="7" name="Text Placeholder 6"/>
          <p:cNvSpPr>
            <a:spLocks noGrp="1"/>
          </p:cNvSpPr>
          <p:nvPr>
            <p:ph type="body" sz="quarter" idx="10"/>
          </p:nvPr>
        </p:nvSpPr>
        <p:spPr>
          <a:xfrm>
            <a:off x="827586" y="4414402"/>
            <a:ext cx="7512448" cy="819377"/>
          </a:xfrm>
        </p:spPr>
        <p:txBody>
          <a:bodyPr>
            <a:normAutofit/>
          </a:bodyPr>
          <a:lstStyle>
            <a:lvl1pPr marL="0" indent="0" algn="ctr">
              <a:buNone/>
              <a:defRPr sz="2500">
                <a:solidFill>
                  <a:schemeClr val="accent2"/>
                </a:solidFill>
              </a:defRPr>
            </a:lvl1pPr>
          </a:lstStyle>
          <a:p>
            <a:pPr lvl="0"/>
            <a:r>
              <a:rPr lang="en-US"/>
              <a:t>Click to edit Master text styles</a:t>
            </a:r>
          </a:p>
        </p:txBody>
      </p:sp>
      <p:sp>
        <p:nvSpPr>
          <p:cNvPr id="8" name="Slide Number Placeholder 5"/>
          <p:cNvSpPr>
            <a:spLocks noGrp="1"/>
          </p:cNvSpPr>
          <p:nvPr>
            <p:ph type="sldNum" sz="quarter" idx="11"/>
          </p:nvPr>
        </p:nvSpPr>
        <p:spPr>
          <a:xfrm>
            <a:off x="4386275" y="6562734"/>
            <a:ext cx="371475"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defRPr>
            </a:lvl1pPr>
          </a:lstStyle>
          <a:p>
            <a:pPr defTabSz="912813">
              <a:defRPr/>
            </a:pPr>
            <a:fld id="{1092B0F2-3FA6-47EB-A7AB-41EC4455EF90}" type="slidenum">
              <a:rPr lang="en-GB" b="0">
                <a:latin typeface="Arial" pitchFamily="34" charset="0"/>
                <a:ea typeface="ＭＳ Ｐゴシック" pitchFamily="34" charset="-128"/>
              </a:rPr>
              <a:pPr defTabSz="912813">
                <a:defRPr/>
              </a:pPr>
              <a:t>‹#›</a:t>
            </a:fld>
            <a:endParaRPr lang="en-GB" b="0">
              <a:latin typeface="Arial" pitchFamily="34" charset="0"/>
              <a:ea typeface="ＭＳ Ｐゴシック" pitchFamily="34" charset="-128"/>
            </a:endParaRPr>
          </a:p>
        </p:txBody>
      </p:sp>
    </p:spTree>
    <p:extLst>
      <p:ext uri="{BB962C8B-B14F-4D97-AF65-F5344CB8AC3E}">
        <p14:creationId xmlns:p14="http://schemas.microsoft.com/office/powerpoint/2010/main" val="26262991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cxnSp>
        <p:nvCxnSpPr>
          <p:cNvPr id="5" name="Straight Connector 4"/>
          <p:cNvCxnSpPr/>
          <p:nvPr userDrawn="1"/>
        </p:nvCxnSpPr>
        <p:spPr>
          <a:xfrm>
            <a:off x="509589"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515942" y="280992"/>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endParaRPr lang="en-US" dirty="0"/>
          </a:p>
        </p:txBody>
      </p:sp>
      <p:sp>
        <p:nvSpPr>
          <p:cNvPr id="3" name="Content Placeholder 2"/>
          <p:cNvSpPr>
            <a:spLocks noGrp="1"/>
          </p:cNvSpPr>
          <p:nvPr>
            <p:ph idx="1"/>
          </p:nvPr>
        </p:nvSpPr>
        <p:spPr>
          <a:xfrm>
            <a:off x="509036" y="1203325"/>
            <a:ext cx="8166652" cy="4601939"/>
          </a:xfrm>
          <a:prstGeom prst="rect">
            <a:avLst/>
          </a:prstGeom>
        </p:spPr>
        <p:txBody>
          <a:bodyPr>
            <a:normAutofit/>
          </a:bodyPr>
          <a:lstStyle>
            <a:lvl1pPr>
              <a:lnSpc>
                <a:spcPct val="100000"/>
              </a:lnSpc>
              <a:spcBef>
                <a:spcPts val="0"/>
              </a:spcBef>
              <a:spcAft>
                <a:spcPts val="600"/>
              </a:spcAft>
              <a:buClr>
                <a:schemeClr val="accent1"/>
              </a:buClr>
              <a:defRPr sz="1800">
                <a:solidFill>
                  <a:schemeClr val="tx1"/>
                </a:solidFill>
                <a:latin typeface="+mj-lt"/>
              </a:defRPr>
            </a:lvl1pPr>
            <a:lvl2pPr>
              <a:lnSpc>
                <a:spcPct val="100000"/>
              </a:lnSpc>
              <a:spcBef>
                <a:spcPts val="0"/>
              </a:spcBef>
              <a:spcAft>
                <a:spcPts val="600"/>
              </a:spcAft>
              <a:buClr>
                <a:schemeClr val="accent2"/>
              </a:buClr>
              <a:buFont typeface="Arial"/>
              <a:buChar char="•"/>
              <a:defRPr sz="1800">
                <a:solidFill>
                  <a:schemeClr val="tx1"/>
                </a:solidFill>
                <a:latin typeface="+mj-lt"/>
              </a:defRPr>
            </a:lvl2pPr>
            <a:lvl3pPr>
              <a:lnSpc>
                <a:spcPct val="100000"/>
              </a:lnSpc>
              <a:spcBef>
                <a:spcPts val="0"/>
              </a:spcBef>
              <a:spcAft>
                <a:spcPts val="600"/>
              </a:spcAft>
              <a:buClr>
                <a:schemeClr val="accent3"/>
              </a:buClr>
              <a:buFont typeface="Wingdings" charset="2"/>
              <a:buChar char="§"/>
              <a:defRPr sz="1800">
                <a:solidFill>
                  <a:schemeClr val="tx1"/>
                </a:solidFill>
                <a:latin typeface="+mj-lt"/>
              </a:defRPr>
            </a:lvl3pPr>
            <a:lvl4pPr>
              <a:lnSpc>
                <a:spcPct val="100000"/>
              </a:lnSpc>
              <a:spcBef>
                <a:spcPts val="0"/>
              </a:spcBef>
              <a:spcAft>
                <a:spcPts val="600"/>
              </a:spcAft>
              <a:buClr>
                <a:schemeClr val="accent1"/>
              </a:buClr>
              <a:buFont typeface="Wingdings" charset="2"/>
              <a:buChar char="§"/>
              <a:defRPr sz="1800">
                <a:solidFill>
                  <a:schemeClr val="tx1"/>
                </a:solidFill>
                <a:latin typeface="+mj-lt"/>
              </a:defRPr>
            </a:lvl4pPr>
            <a:lvl5pPr>
              <a:lnSpc>
                <a:spcPct val="100000"/>
              </a:lnSpc>
              <a:spcBef>
                <a:spcPts val="0"/>
              </a:spcBef>
              <a:spcAft>
                <a:spcPts val="600"/>
              </a:spcAft>
              <a:buClr>
                <a:schemeClr val="accent2"/>
              </a:buClr>
              <a:buFont typeface="Courier New"/>
              <a:buChar char="o"/>
              <a:defRPr sz="1800">
                <a:solidFill>
                  <a:schemeClr val="tx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0"/>
          </p:nvPr>
        </p:nvSpPr>
        <p:spPr>
          <a:xfrm>
            <a:off x="1043608" y="5876931"/>
            <a:ext cx="7632080" cy="504403"/>
          </a:xfrm>
        </p:spPr>
        <p:txBody>
          <a:bodyPr anchor="b">
            <a:normAutofit/>
          </a:bodyPr>
          <a:lstStyle>
            <a:lvl1pPr marL="0" indent="0">
              <a:buNone/>
              <a:defRPr sz="800"/>
            </a:lvl1pPr>
          </a:lstStyle>
          <a:p>
            <a:pPr lvl="0"/>
            <a:r>
              <a:rPr lang="en-US" dirty="0"/>
              <a:t>Click to edit Master text styles</a:t>
            </a:r>
            <a:endParaRPr lang="en-GB" dirty="0"/>
          </a:p>
        </p:txBody>
      </p:sp>
      <p:sp>
        <p:nvSpPr>
          <p:cNvPr id="6" name="Slide Number Placeholder 5"/>
          <p:cNvSpPr>
            <a:spLocks noGrp="1"/>
          </p:cNvSpPr>
          <p:nvPr>
            <p:ph type="sldNum" sz="quarter" idx="11"/>
          </p:nvPr>
        </p:nvSpPr>
        <p:spPr>
          <a:xfrm>
            <a:off x="4386275" y="6562734"/>
            <a:ext cx="371475"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defRPr>
            </a:lvl1pPr>
          </a:lstStyle>
          <a:p>
            <a:pPr defTabSz="912813">
              <a:defRPr/>
            </a:pPr>
            <a:fld id="{9566DB53-56F9-47F3-9478-3CEC8D9D36DC}" type="slidenum">
              <a:rPr lang="en-GB" b="0">
                <a:latin typeface="Arial" pitchFamily="34" charset="0"/>
                <a:ea typeface="ＭＳ Ｐゴシック" pitchFamily="34" charset="-128"/>
              </a:rPr>
              <a:pPr defTabSz="912813">
                <a:defRPr/>
              </a:pPr>
              <a:t>‹#›</a:t>
            </a:fld>
            <a:endParaRPr lang="en-GB" b="0">
              <a:latin typeface="Arial" pitchFamily="34" charset="0"/>
              <a:ea typeface="ＭＳ Ｐゴシック" pitchFamily="34" charset="-128"/>
            </a:endParaRPr>
          </a:p>
        </p:txBody>
      </p:sp>
    </p:spTree>
    <p:extLst>
      <p:ext uri="{BB962C8B-B14F-4D97-AF65-F5344CB8AC3E}">
        <p14:creationId xmlns:p14="http://schemas.microsoft.com/office/powerpoint/2010/main" val="36303727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4" name="TextBox 13"/>
          <p:cNvSpPr txBox="1">
            <a:spLocks noChangeArrowheads="1"/>
          </p:cNvSpPr>
          <p:nvPr userDrawn="1"/>
        </p:nvSpPr>
        <p:spPr bwMode="auto">
          <a:xfrm>
            <a:off x="666528" y="6072203"/>
            <a:ext cx="341760" cy="246221"/>
          </a:xfrm>
          <a:prstGeom prst="rect">
            <a:avLst/>
          </a:prstGeom>
          <a:noFill/>
          <a:ln>
            <a:noFill/>
          </a:ln>
          <a:extLst/>
        </p:spPr>
        <p:txBody>
          <a:bodyPr wrap="none">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algn="ctr">
              <a:buFont typeface="Arial" pitchFamily="34" charset="0"/>
              <a:buNone/>
              <a:defRPr/>
            </a:pPr>
            <a:fld id="{57073D09-DFE3-409A-9791-4946B45DC412}" type="slidenum">
              <a:rPr lang="en-GB" sz="1000" b="0" smtClean="0">
                <a:solidFill>
                  <a:srgbClr val="FFFFFF"/>
                </a:solidFill>
              </a:rPr>
              <a:pPr algn="ctr">
                <a:buFont typeface="Arial" pitchFamily="34" charset="0"/>
                <a:buNone/>
                <a:defRPr/>
              </a:pPr>
              <a:t>‹#›</a:t>
            </a:fld>
            <a:endParaRPr lang="en-GB" sz="1000" b="0">
              <a:solidFill>
                <a:srgbClr val="FFFFFF"/>
              </a:solidFill>
            </a:endParaRPr>
          </a:p>
        </p:txBody>
      </p:sp>
      <p:cxnSp>
        <p:nvCxnSpPr>
          <p:cNvPr id="5" name="Straight Connector 4"/>
          <p:cNvCxnSpPr/>
          <p:nvPr userDrawn="1"/>
        </p:nvCxnSpPr>
        <p:spPr>
          <a:xfrm>
            <a:off x="509589"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Text Placeholder 7"/>
          <p:cNvSpPr>
            <a:spLocks noGrp="1"/>
          </p:cNvSpPr>
          <p:nvPr>
            <p:ph type="body" sz="quarter" idx="10"/>
          </p:nvPr>
        </p:nvSpPr>
        <p:spPr>
          <a:xfrm>
            <a:off x="1043608" y="5876931"/>
            <a:ext cx="7632080" cy="504403"/>
          </a:xfrm>
        </p:spPr>
        <p:txBody>
          <a:bodyPr anchor="b">
            <a:normAutofit/>
          </a:bodyPr>
          <a:lstStyle>
            <a:lvl1pPr marL="0" indent="0">
              <a:buNone/>
              <a:defRPr sz="800"/>
            </a:lvl1pPr>
          </a:lstStyle>
          <a:p>
            <a:pPr lvl="0"/>
            <a:r>
              <a:rPr lang="en-US" dirty="0"/>
              <a:t>Click to edit Master text styles</a:t>
            </a:r>
            <a:endParaRPr lang="en-GB" dirty="0"/>
          </a:p>
        </p:txBody>
      </p:sp>
      <p:sp>
        <p:nvSpPr>
          <p:cNvPr id="8" name="Title 1"/>
          <p:cNvSpPr>
            <a:spLocks noGrp="1"/>
          </p:cNvSpPr>
          <p:nvPr>
            <p:ph type="title"/>
          </p:nvPr>
        </p:nvSpPr>
        <p:spPr>
          <a:xfrm>
            <a:off x="515942" y="280992"/>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r>
              <a:rPr lang="en-US"/>
              <a:t>Click to edit Master title style</a:t>
            </a:r>
            <a:endParaRPr lang="en-US" dirty="0"/>
          </a:p>
        </p:txBody>
      </p:sp>
      <p:sp>
        <p:nvSpPr>
          <p:cNvPr id="7" name="Slide Number Placeholder 5"/>
          <p:cNvSpPr>
            <a:spLocks noGrp="1"/>
          </p:cNvSpPr>
          <p:nvPr>
            <p:ph type="sldNum" sz="quarter" idx="11"/>
          </p:nvPr>
        </p:nvSpPr>
        <p:spPr>
          <a:xfrm>
            <a:off x="4386275" y="6562734"/>
            <a:ext cx="371475"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defRPr>
            </a:lvl1pPr>
          </a:lstStyle>
          <a:p>
            <a:pPr defTabSz="912813">
              <a:defRPr/>
            </a:pPr>
            <a:fld id="{5E33ABD7-0402-4732-A1D5-29F831FDBD3E}" type="slidenum">
              <a:rPr lang="en-GB" b="0">
                <a:latin typeface="Arial" pitchFamily="34" charset="0"/>
                <a:ea typeface="ＭＳ Ｐゴシック" pitchFamily="34" charset="-128"/>
              </a:rPr>
              <a:pPr defTabSz="912813">
                <a:defRPr/>
              </a:pPr>
              <a:t>‹#›</a:t>
            </a:fld>
            <a:endParaRPr lang="en-GB" b="0">
              <a:latin typeface="Arial" pitchFamily="34" charset="0"/>
              <a:ea typeface="ＭＳ Ｐゴシック" pitchFamily="34" charset="-128"/>
            </a:endParaRPr>
          </a:p>
        </p:txBody>
      </p:sp>
    </p:spTree>
    <p:extLst>
      <p:ext uri="{BB962C8B-B14F-4D97-AF65-F5344CB8AC3E}">
        <p14:creationId xmlns:p14="http://schemas.microsoft.com/office/powerpoint/2010/main" val="6680811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b="14449"/>
          <a:stretch/>
        </p:blipFill>
        <p:spPr>
          <a:xfrm>
            <a:off x="0" y="0"/>
            <a:ext cx="9144000" cy="5867083"/>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t="85650"/>
          <a:stretch/>
        </p:blipFill>
        <p:spPr>
          <a:xfrm>
            <a:off x="0" y="5540203"/>
            <a:ext cx="9144000" cy="984143"/>
          </a:xfrm>
          <a:prstGeom prst="rect">
            <a:avLst/>
          </a:prstGeom>
        </p:spPr>
      </p:pic>
      <p:sp>
        <p:nvSpPr>
          <p:cNvPr id="3" name="TextBox 2"/>
          <p:cNvSpPr txBox="1"/>
          <p:nvPr userDrawn="1"/>
        </p:nvSpPr>
        <p:spPr>
          <a:xfrm>
            <a:off x="762831" y="6100763"/>
            <a:ext cx="157094" cy="153888"/>
          </a:xfrm>
          <a:prstGeom prst="rect">
            <a:avLst/>
          </a:prstGeom>
          <a:noFill/>
        </p:spPr>
        <p:txBody>
          <a:bodyPr wrap="non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defTabSz="457200" eaLnBrk="1" hangingPunct="1"/>
            <a:fld id="{4573F7A4-1EE6-48B1-8395-BCCC743DCAE3}" type="slidenum">
              <a:rPr lang="en-US" sz="1000" b="0">
                <a:solidFill>
                  <a:prstClr val="white"/>
                </a:solidFill>
                <a:cs typeface="Arial" pitchFamily="34" charset="0"/>
              </a:rPr>
              <a:pPr algn="ctr" defTabSz="457200" eaLnBrk="1" hangingPunct="1"/>
              <a:t>‹#›</a:t>
            </a:fld>
            <a:endParaRPr lang="en-US" sz="1000" b="0">
              <a:solidFill>
                <a:prstClr val="white"/>
              </a:solidFill>
              <a:cs typeface="Arial" pitchFamily="34" charset="0"/>
            </a:endParaRPr>
          </a:p>
        </p:txBody>
      </p:sp>
      <p:sp>
        <p:nvSpPr>
          <p:cNvPr id="23556" name="Rectangle 4"/>
          <p:cNvSpPr>
            <a:spLocks noGrp="1" noChangeArrowheads="1"/>
          </p:cNvSpPr>
          <p:nvPr>
            <p:ph type="ctrTitle" sz="quarter"/>
          </p:nvPr>
        </p:nvSpPr>
        <p:spPr bwMode="auto">
          <a:xfrm>
            <a:off x="1236043" y="1370110"/>
            <a:ext cx="6719888" cy="2667451"/>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normAutofit/>
          </a:bodyPr>
          <a:lstStyle>
            <a:lvl1pPr algn="ctr">
              <a:defRPr sz="3600" smtClean="0">
                <a:solidFill>
                  <a:schemeClr val="accent2"/>
                </a:solidFill>
                <a:latin typeface="Arial" pitchFamily="34" charset="0"/>
                <a:ea typeface="ＭＳ Ｐゴシック" pitchFamily="34" charset="-128"/>
                <a:cs typeface="Arial" pitchFamily="34" charset="0"/>
              </a:defRPr>
            </a:lvl1pPr>
          </a:lstStyle>
          <a:p>
            <a:pPr lvl="0"/>
            <a:r>
              <a:rPr lang="en-GB" noProof="0" dirty="0"/>
              <a:t>Click to edit Master title style</a:t>
            </a:r>
          </a:p>
        </p:txBody>
      </p:sp>
      <p:sp>
        <p:nvSpPr>
          <p:cNvPr id="23557" name="Rectangle 5"/>
          <p:cNvSpPr>
            <a:spLocks noGrp="1" noChangeArrowheads="1"/>
          </p:cNvSpPr>
          <p:nvPr>
            <p:ph type="subTitle" sz="quarter" idx="1"/>
          </p:nvPr>
        </p:nvSpPr>
        <p:spPr bwMode="auto">
          <a:xfrm>
            <a:off x="1236043" y="4210151"/>
            <a:ext cx="6719888" cy="1068387"/>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normAutofit/>
          </a:bodyPr>
          <a:lstStyle>
            <a:lvl1pPr marL="0" indent="0" algn="ctr">
              <a:buFont typeface="Arial" pitchFamily="34" charset="0"/>
              <a:buNone/>
              <a:defRPr sz="2500" smtClean="0">
                <a:solidFill>
                  <a:schemeClr val="accent1"/>
                </a:solidFill>
                <a:latin typeface="Arial" pitchFamily="34" charset="0"/>
                <a:ea typeface="ＭＳ Ｐゴシック" pitchFamily="34" charset="-128"/>
                <a:cs typeface="Arial" pitchFamily="34" charset="0"/>
              </a:defRPr>
            </a:lvl1pPr>
          </a:lstStyle>
          <a:p>
            <a:pPr lvl="0"/>
            <a:r>
              <a:rPr lang="en-GB" noProof="0" dirty="0"/>
              <a:t>Click to edit Master subtitle style</a:t>
            </a:r>
          </a:p>
        </p:txBody>
      </p:sp>
      <p:sp>
        <p:nvSpPr>
          <p:cNvPr id="5" name="Text Placeholder 5"/>
          <p:cNvSpPr>
            <a:spLocks noGrp="1"/>
          </p:cNvSpPr>
          <p:nvPr>
            <p:ph type="body" sz="quarter" idx="11"/>
          </p:nvPr>
        </p:nvSpPr>
        <p:spPr>
          <a:xfrm>
            <a:off x="1407256" y="5335367"/>
            <a:ext cx="6549122" cy="469900"/>
          </a:xfrm>
          <a:prstGeom prst="rect">
            <a:avLst/>
          </a:prstGeom>
        </p:spPr>
        <p:txBody>
          <a:bodyPr vert="horz" lIns="360000" tIns="0" rIns="0" bIns="0" anchor="b" anchorCtr="0"/>
          <a:lstStyle>
            <a:lvl1pPr marL="0" indent="0" algn="ctr">
              <a:spcBef>
                <a:spcPts val="0"/>
              </a:spcBef>
              <a:buNone/>
              <a:defRPr lang="en-GB" sz="1200" kern="1200" baseline="0" dirty="0" smtClean="0">
                <a:solidFill>
                  <a:srgbClr val="58595B"/>
                </a:solidFill>
                <a:latin typeface="Avenir LT Std 55 Roman"/>
                <a:ea typeface="ＭＳ Ｐゴシック" charset="-128"/>
                <a:cs typeface="+mn-cs"/>
              </a:defRPr>
            </a:lvl1pPr>
            <a:lvl2pPr algn="r">
              <a:defRPr lang="en-GB" sz="1400" kern="1200" dirty="0" smtClean="0">
                <a:solidFill>
                  <a:srgbClr val="58595B"/>
                </a:solidFill>
                <a:latin typeface="Avenir LT Std 55 Roman"/>
                <a:ea typeface="ＭＳ Ｐゴシック" charset="-128"/>
                <a:cs typeface="+mn-cs"/>
              </a:defRPr>
            </a:lvl2pPr>
          </a:lstStyle>
          <a:p>
            <a:pPr lvl="0"/>
            <a:r>
              <a:rPr lang="en-GB" dirty="0"/>
              <a:t>Click to edit Master text styles</a:t>
            </a:r>
          </a:p>
        </p:txBody>
      </p:sp>
      <p:pic>
        <p:nvPicPr>
          <p:cNvPr id="6" name="Picture 5" descr="working together-01.png"/>
          <p:cNvPicPr>
            <a:picLocks noChangeAspect="1"/>
          </p:cNvPicPr>
          <p:nvPr userDrawn="1"/>
        </p:nvPicPr>
        <p:blipFill>
          <a:blip r:embed="rId4" cstate="print"/>
          <a:srcRect l="8889" t="44444" r="14074" b="46667"/>
          <a:stretch>
            <a:fillRect/>
          </a:stretch>
        </p:blipFill>
        <p:spPr>
          <a:xfrm>
            <a:off x="-3370" y="6329672"/>
            <a:ext cx="3434085" cy="528328"/>
          </a:xfrm>
          <a:prstGeom prst="rect">
            <a:avLst/>
          </a:prstGeom>
        </p:spPr>
      </p:pic>
      <p:pic>
        <p:nvPicPr>
          <p:cNvPr id="7" name="Picture 6" descr="forxiga_Global Generic wDose.jpg"/>
          <p:cNvPicPr>
            <a:picLocks noChangeAspect="1"/>
          </p:cNvPicPr>
          <p:nvPr userDrawn="1"/>
        </p:nvPicPr>
        <p:blipFill>
          <a:blip r:embed="rId5" cstate="print"/>
          <a:stretch>
            <a:fillRect/>
          </a:stretch>
        </p:blipFill>
        <p:spPr>
          <a:xfrm>
            <a:off x="8234253" y="6294536"/>
            <a:ext cx="764490" cy="461711"/>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0274" y="-99392"/>
            <a:ext cx="4658219" cy="3429000"/>
          </a:xfrm>
          <a:prstGeom prst="rect">
            <a:avLst/>
          </a:prstGeom>
        </p:spPr>
      </p:pic>
      <p:sp>
        <p:nvSpPr>
          <p:cNvPr id="11" name="TextBox 11"/>
          <p:cNvSpPr txBox="1"/>
          <p:nvPr userDrawn="1"/>
        </p:nvSpPr>
        <p:spPr>
          <a:xfrm>
            <a:off x="8100393" y="6444044"/>
            <a:ext cx="1043608" cy="369332"/>
          </a:xfrm>
          <a:prstGeom prst="rect">
            <a:avLst/>
          </a:prstGeom>
          <a:solidFill>
            <a:schemeClr val="bg1"/>
          </a:solidFill>
        </p:spPr>
        <p:txBody>
          <a:bodyPr wrap="square" rtlCol="0">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a:lstStyle>
          <a:p>
            <a:endParaRPr lang="en-GB" sz="1800" b="0" dirty="0">
              <a:solidFill>
                <a:srgbClr val="58595B"/>
              </a:solidFill>
            </a:endParaRPr>
          </a:p>
        </p:txBody>
      </p:sp>
      <p:pic>
        <p:nvPicPr>
          <p:cNvPr id="12" name="Picture 11" descr="forxiga_Global_Generic.PNG"/>
          <p:cNvPicPr>
            <a:picLocks noChangeAspect="1"/>
          </p:cNvPicPr>
          <p:nvPr userDrawn="1"/>
        </p:nvPicPr>
        <p:blipFill>
          <a:blip r:embed="rId7" cstate="print"/>
          <a:stretch>
            <a:fillRect/>
          </a:stretch>
        </p:blipFill>
        <p:spPr>
          <a:xfrm>
            <a:off x="8100405" y="6237319"/>
            <a:ext cx="883387" cy="506987"/>
          </a:xfrm>
          <a:prstGeom prst="rect">
            <a:avLst/>
          </a:prstGeom>
          <a:solidFill>
            <a:schemeClr val="bg1"/>
          </a:solidFill>
        </p:spPr>
      </p:pic>
    </p:spTree>
    <p:extLst>
      <p:ext uri="{BB962C8B-B14F-4D97-AF65-F5344CB8AC3E}">
        <p14:creationId xmlns:p14="http://schemas.microsoft.com/office/powerpoint/2010/main" val="28065471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b="14449"/>
          <a:stretch/>
        </p:blipFill>
        <p:spPr>
          <a:xfrm>
            <a:off x="0" y="0"/>
            <a:ext cx="9144000" cy="5867083"/>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t="85650"/>
          <a:stretch/>
        </p:blipFill>
        <p:spPr>
          <a:xfrm>
            <a:off x="0" y="5540203"/>
            <a:ext cx="9144000" cy="984143"/>
          </a:xfrm>
          <a:prstGeom prst="rect">
            <a:avLst/>
          </a:prstGeom>
        </p:spPr>
      </p:pic>
      <p:sp>
        <p:nvSpPr>
          <p:cNvPr id="3" name="TextBox 2"/>
          <p:cNvSpPr txBox="1"/>
          <p:nvPr userDrawn="1"/>
        </p:nvSpPr>
        <p:spPr>
          <a:xfrm>
            <a:off x="762831" y="6100763"/>
            <a:ext cx="157094" cy="153888"/>
          </a:xfrm>
          <a:prstGeom prst="rect">
            <a:avLst/>
          </a:prstGeom>
          <a:noFill/>
        </p:spPr>
        <p:txBody>
          <a:bodyPr wrap="non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defTabSz="457200" eaLnBrk="1" hangingPunct="1"/>
            <a:fld id="{4573F7A4-1EE6-48B1-8395-BCCC743DCAE3}" type="slidenum">
              <a:rPr lang="en-US" sz="1000" b="0">
                <a:solidFill>
                  <a:prstClr val="white"/>
                </a:solidFill>
                <a:cs typeface="Arial" pitchFamily="34" charset="0"/>
              </a:rPr>
              <a:pPr algn="ctr" defTabSz="457200" eaLnBrk="1" hangingPunct="1"/>
              <a:t>‹#›</a:t>
            </a:fld>
            <a:endParaRPr lang="en-US" sz="1000" b="0">
              <a:solidFill>
                <a:prstClr val="white"/>
              </a:solidFill>
              <a:cs typeface="Arial" pitchFamily="34" charset="0"/>
            </a:endParaRPr>
          </a:p>
        </p:txBody>
      </p:sp>
      <p:sp>
        <p:nvSpPr>
          <p:cNvPr id="23556" name="Rectangle 4"/>
          <p:cNvSpPr>
            <a:spLocks noGrp="1" noChangeArrowheads="1"/>
          </p:cNvSpPr>
          <p:nvPr>
            <p:ph type="ctrTitle" sz="quarter"/>
          </p:nvPr>
        </p:nvSpPr>
        <p:spPr bwMode="auto">
          <a:xfrm>
            <a:off x="1236043" y="1298101"/>
            <a:ext cx="6719888" cy="2667451"/>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normAutofit/>
          </a:bodyPr>
          <a:lstStyle>
            <a:lvl1pPr algn="ctr">
              <a:defRPr sz="3600" smtClean="0">
                <a:solidFill>
                  <a:schemeClr val="accent2"/>
                </a:solidFill>
                <a:latin typeface="Arial" pitchFamily="34" charset="0"/>
                <a:ea typeface="ＭＳ Ｐゴシック" pitchFamily="34" charset="-128"/>
                <a:cs typeface="Arial" pitchFamily="34" charset="0"/>
              </a:defRPr>
            </a:lvl1pPr>
          </a:lstStyle>
          <a:p>
            <a:pPr lvl="0"/>
            <a:r>
              <a:rPr lang="en-GB" noProof="0" dirty="0"/>
              <a:t>Click to edit Master title style</a:t>
            </a:r>
          </a:p>
        </p:txBody>
      </p:sp>
      <p:sp>
        <p:nvSpPr>
          <p:cNvPr id="23557" name="Rectangle 5"/>
          <p:cNvSpPr>
            <a:spLocks noGrp="1" noChangeArrowheads="1"/>
          </p:cNvSpPr>
          <p:nvPr>
            <p:ph type="subTitle" sz="quarter" idx="1"/>
          </p:nvPr>
        </p:nvSpPr>
        <p:spPr bwMode="auto">
          <a:xfrm>
            <a:off x="1236043" y="4138139"/>
            <a:ext cx="6719888" cy="1068387"/>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normAutofit/>
          </a:bodyPr>
          <a:lstStyle>
            <a:lvl1pPr marL="0" indent="0" algn="ctr">
              <a:buFont typeface="Arial" pitchFamily="34" charset="0"/>
              <a:buNone/>
              <a:defRPr sz="2500" smtClean="0">
                <a:solidFill>
                  <a:schemeClr val="accent1"/>
                </a:solidFill>
                <a:latin typeface="Arial" pitchFamily="34" charset="0"/>
                <a:ea typeface="ＭＳ Ｐゴシック" pitchFamily="34" charset="-128"/>
                <a:cs typeface="Arial" pitchFamily="34" charset="0"/>
              </a:defRPr>
            </a:lvl1pPr>
          </a:lstStyle>
          <a:p>
            <a:pPr lvl="0"/>
            <a:r>
              <a:rPr lang="en-GB" noProof="0" dirty="0"/>
              <a:t>Click to edit Master subtitle style</a:t>
            </a:r>
          </a:p>
        </p:txBody>
      </p:sp>
      <p:sp>
        <p:nvSpPr>
          <p:cNvPr id="5" name="Text Placeholder 5"/>
          <p:cNvSpPr>
            <a:spLocks noGrp="1"/>
          </p:cNvSpPr>
          <p:nvPr>
            <p:ph type="body" sz="quarter" idx="11"/>
          </p:nvPr>
        </p:nvSpPr>
        <p:spPr>
          <a:xfrm>
            <a:off x="1407256" y="5263359"/>
            <a:ext cx="6549122" cy="469900"/>
          </a:xfrm>
          <a:prstGeom prst="rect">
            <a:avLst/>
          </a:prstGeom>
        </p:spPr>
        <p:txBody>
          <a:bodyPr vert="horz" lIns="360000" tIns="0" rIns="0" bIns="0" anchor="b" anchorCtr="0"/>
          <a:lstStyle>
            <a:lvl1pPr marL="0" indent="0" algn="ctr">
              <a:spcBef>
                <a:spcPts val="0"/>
              </a:spcBef>
              <a:buNone/>
              <a:defRPr lang="en-GB" sz="1200" kern="1200" baseline="0" dirty="0" smtClean="0">
                <a:solidFill>
                  <a:srgbClr val="58595B"/>
                </a:solidFill>
                <a:latin typeface="Avenir LT Std 55 Roman"/>
                <a:ea typeface="ＭＳ Ｐゴシック" charset="-128"/>
                <a:cs typeface="+mn-cs"/>
              </a:defRPr>
            </a:lvl1pPr>
            <a:lvl2pPr algn="r">
              <a:defRPr lang="en-GB" sz="1400" kern="1200" dirty="0" smtClean="0">
                <a:solidFill>
                  <a:srgbClr val="58595B"/>
                </a:solidFill>
                <a:latin typeface="Avenir LT Std 55 Roman"/>
                <a:ea typeface="ＭＳ Ｐゴシック" charset="-128"/>
                <a:cs typeface="+mn-cs"/>
              </a:defRPr>
            </a:lvl2pPr>
          </a:lstStyle>
          <a:p>
            <a:pPr lvl="0"/>
            <a:r>
              <a:rPr lang="en-GB" dirty="0"/>
              <a:t>Click to edit Master text styles</a:t>
            </a:r>
          </a:p>
        </p:txBody>
      </p:sp>
      <p:pic>
        <p:nvPicPr>
          <p:cNvPr id="6" name="Picture 5" descr="working together-01.png"/>
          <p:cNvPicPr>
            <a:picLocks noChangeAspect="1"/>
          </p:cNvPicPr>
          <p:nvPr userDrawn="1"/>
        </p:nvPicPr>
        <p:blipFill rotWithShape="1">
          <a:blip r:embed="rId4" cstate="print"/>
          <a:srcRect l="40447" t="44444" r="34482" b="46667"/>
          <a:stretch/>
        </p:blipFill>
        <p:spPr>
          <a:xfrm>
            <a:off x="132904" y="6329672"/>
            <a:ext cx="1117600" cy="528328"/>
          </a:xfrm>
          <a:prstGeom prst="rect">
            <a:avLst/>
          </a:prstGeom>
        </p:spPr>
      </p:pic>
      <p:pic>
        <p:nvPicPr>
          <p:cNvPr id="7" name="Picture 6" descr="forxiga_Global Generic wDose.jpg"/>
          <p:cNvPicPr>
            <a:picLocks noChangeAspect="1"/>
          </p:cNvPicPr>
          <p:nvPr userDrawn="1"/>
        </p:nvPicPr>
        <p:blipFill>
          <a:blip r:embed="rId5" cstate="print"/>
          <a:stretch>
            <a:fillRect/>
          </a:stretch>
        </p:blipFill>
        <p:spPr>
          <a:xfrm>
            <a:off x="8234253" y="6294536"/>
            <a:ext cx="764490" cy="461711"/>
          </a:xfrm>
          <a:prstGeom prst="rect">
            <a:avLst/>
          </a:prstGeom>
        </p:spPr>
      </p:pic>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90274" y="-99392"/>
            <a:ext cx="4658219" cy="3429000"/>
          </a:xfrm>
          <a:prstGeom prst="rect">
            <a:avLst/>
          </a:prstGeom>
        </p:spPr>
      </p:pic>
      <p:sp>
        <p:nvSpPr>
          <p:cNvPr id="11" name="TextBox 11"/>
          <p:cNvSpPr txBox="1"/>
          <p:nvPr userDrawn="1"/>
        </p:nvSpPr>
        <p:spPr>
          <a:xfrm>
            <a:off x="8100393" y="6444044"/>
            <a:ext cx="1043608" cy="369332"/>
          </a:xfrm>
          <a:prstGeom prst="rect">
            <a:avLst/>
          </a:prstGeom>
          <a:solidFill>
            <a:schemeClr val="bg1"/>
          </a:solidFill>
        </p:spPr>
        <p:txBody>
          <a:bodyPr wrap="square" rtlCol="0">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a:lstStyle>
          <a:p>
            <a:endParaRPr lang="en-GB" sz="1800" b="0" dirty="0">
              <a:solidFill>
                <a:srgbClr val="58595B"/>
              </a:solidFill>
            </a:endParaRPr>
          </a:p>
        </p:txBody>
      </p:sp>
      <p:pic>
        <p:nvPicPr>
          <p:cNvPr id="12" name="Picture 11" descr="forxiga_Global_Generic.PNG"/>
          <p:cNvPicPr>
            <a:picLocks noChangeAspect="1"/>
          </p:cNvPicPr>
          <p:nvPr userDrawn="1"/>
        </p:nvPicPr>
        <p:blipFill>
          <a:blip r:embed="rId7" cstate="print"/>
          <a:stretch>
            <a:fillRect/>
          </a:stretch>
        </p:blipFill>
        <p:spPr>
          <a:xfrm>
            <a:off x="8100405" y="6237319"/>
            <a:ext cx="883387" cy="506987"/>
          </a:xfrm>
          <a:prstGeom prst="rect">
            <a:avLst/>
          </a:prstGeom>
          <a:solidFill>
            <a:schemeClr val="bg1"/>
          </a:solidFill>
        </p:spPr>
      </p:pic>
    </p:spTree>
    <p:extLst>
      <p:ext uri="{BB962C8B-B14F-4D97-AF65-F5344CB8AC3E}">
        <p14:creationId xmlns:p14="http://schemas.microsoft.com/office/powerpoint/2010/main" val="3739195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cxnSp>
        <p:nvCxnSpPr>
          <p:cNvPr id="4" name="Straight Connector 3"/>
          <p:cNvCxnSpPr/>
          <p:nvPr userDrawn="1"/>
        </p:nvCxnSpPr>
        <p:spPr>
          <a:xfrm>
            <a:off x="509589" y="1014414"/>
            <a:ext cx="8112125" cy="1587"/>
          </a:xfrm>
          <a:prstGeom prst="line">
            <a:avLst/>
          </a:prstGeom>
          <a:ln w="12700">
            <a:solidFill>
              <a:srgbClr val="E32727"/>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515942" y="280992"/>
            <a:ext cx="8112125" cy="690363"/>
          </a:xfrm>
          <a:prstGeom prst="rect">
            <a:avLst/>
          </a:prstGeom>
        </p:spPr>
        <p:txBody>
          <a:bodyPr lIns="0" tIns="0" rIns="0" bIns="0" anchor="b">
            <a:normAutofit/>
          </a:bodyPr>
          <a:lstStyle>
            <a:lvl1pPr algn="l">
              <a:defRPr sz="2400" baseline="0">
                <a:solidFill>
                  <a:srgbClr val="EF4135"/>
                </a:solidFill>
                <a:latin typeface="+mj-lt"/>
              </a:defRPr>
            </a:lvl1pPr>
          </a:lstStyle>
          <a:p>
            <a:r>
              <a:rPr lang="en-GB" dirty="0"/>
              <a:t>Click to edit Master title style</a:t>
            </a:r>
            <a:endParaRPr lang="en-US" dirty="0"/>
          </a:p>
        </p:txBody>
      </p:sp>
      <p:sp>
        <p:nvSpPr>
          <p:cNvPr id="3" name="Content Placeholder 2"/>
          <p:cNvSpPr>
            <a:spLocks noGrp="1"/>
          </p:cNvSpPr>
          <p:nvPr>
            <p:ph idx="1"/>
          </p:nvPr>
        </p:nvSpPr>
        <p:spPr>
          <a:xfrm>
            <a:off x="509037" y="1203331"/>
            <a:ext cx="8112125" cy="4662361"/>
          </a:xfrm>
          <a:prstGeom prst="rect">
            <a:avLst/>
          </a:prstGeom>
        </p:spPr>
        <p:txBody>
          <a:bodyPr lIns="0" tIns="45720" rIns="0" bIns="45720">
            <a:normAutofit/>
          </a:bodyPr>
          <a:lstStyle>
            <a:lvl1pPr>
              <a:lnSpc>
                <a:spcPct val="100000"/>
              </a:lnSpc>
              <a:spcBef>
                <a:spcPts val="0"/>
              </a:spcBef>
              <a:spcAft>
                <a:spcPts val="600"/>
              </a:spcAft>
              <a:buClr>
                <a:srgbClr val="E32727"/>
              </a:buClr>
              <a:defRPr sz="1800">
                <a:solidFill>
                  <a:srgbClr val="58595B"/>
                </a:solidFill>
                <a:latin typeface="+mj-lt"/>
              </a:defRPr>
            </a:lvl1pPr>
            <a:lvl2pPr>
              <a:lnSpc>
                <a:spcPct val="100000"/>
              </a:lnSpc>
              <a:spcBef>
                <a:spcPts val="0"/>
              </a:spcBef>
              <a:spcAft>
                <a:spcPts val="600"/>
              </a:spcAft>
              <a:buClr>
                <a:srgbClr val="0096DF"/>
              </a:buClr>
              <a:buFont typeface="Arial"/>
              <a:buChar char="•"/>
              <a:defRPr sz="1800">
                <a:solidFill>
                  <a:srgbClr val="58595B"/>
                </a:solidFill>
                <a:latin typeface="+mj-lt"/>
              </a:defRPr>
            </a:lvl2pPr>
            <a:lvl3pPr>
              <a:lnSpc>
                <a:spcPct val="100000"/>
              </a:lnSpc>
              <a:spcBef>
                <a:spcPts val="0"/>
              </a:spcBef>
              <a:spcAft>
                <a:spcPts val="600"/>
              </a:spcAft>
              <a:buClr>
                <a:srgbClr val="E32727"/>
              </a:buClr>
              <a:buFont typeface="Wingdings" charset="2"/>
              <a:buChar char="§"/>
              <a:defRPr sz="1800">
                <a:solidFill>
                  <a:srgbClr val="58595B"/>
                </a:solidFill>
                <a:latin typeface="+mj-lt"/>
              </a:defRPr>
            </a:lvl3pPr>
            <a:lvl4pPr>
              <a:lnSpc>
                <a:spcPct val="100000"/>
              </a:lnSpc>
              <a:spcBef>
                <a:spcPts val="0"/>
              </a:spcBef>
              <a:spcAft>
                <a:spcPts val="600"/>
              </a:spcAft>
              <a:buClr>
                <a:srgbClr val="0096DF"/>
              </a:buClr>
              <a:buFont typeface="Wingdings" charset="2"/>
              <a:buChar char="§"/>
              <a:defRPr sz="1800">
                <a:solidFill>
                  <a:srgbClr val="58595B"/>
                </a:solidFill>
                <a:latin typeface="+mj-lt"/>
              </a:defRPr>
            </a:lvl4pPr>
            <a:lvl5pPr>
              <a:lnSpc>
                <a:spcPct val="100000"/>
              </a:lnSpc>
              <a:spcBef>
                <a:spcPts val="0"/>
              </a:spcBef>
              <a:spcAft>
                <a:spcPts val="600"/>
              </a:spcAft>
              <a:buClrTx/>
              <a:buFont typeface="Courier New"/>
              <a:buChar char="o"/>
              <a:defRPr sz="1800">
                <a:solidFill>
                  <a:srgbClr val="58595B"/>
                </a:solidFill>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1023114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09588" y="274642"/>
            <a:ext cx="8118475" cy="741363"/>
          </a:xfrm>
        </p:spPr>
        <p:txBody>
          <a:bodyPr/>
          <a:lstStyle>
            <a:lvl1pPr algn="l">
              <a:defRPr/>
            </a:lvl1pPr>
          </a:lstStyle>
          <a:p>
            <a:r>
              <a:rPr lang="en-US" dirty="0"/>
              <a:t>Click to edit Master title style</a:t>
            </a:r>
            <a:endParaRPr lang="en-GB" dirty="0"/>
          </a:p>
        </p:txBody>
      </p:sp>
      <p:sp>
        <p:nvSpPr>
          <p:cNvPr id="3" name="TextBox 2"/>
          <p:cNvSpPr txBox="1"/>
          <p:nvPr userDrawn="1"/>
        </p:nvSpPr>
        <p:spPr>
          <a:xfrm>
            <a:off x="666228" y="6071535"/>
            <a:ext cx="341760" cy="246221"/>
          </a:xfrm>
          <a:prstGeom prst="rect">
            <a:avLst/>
          </a:prstGeom>
          <a:noFill/>
        </p:spPr>
        <p:txBody>
          <a:bodyPr wrap="none" rtlCol="0">
            <a:spAutoFit/>
          </a:bodyPr>
          <a:lstStyle/>
          <a:p>
            <a:pPr algn="ctr" defTabSz="457200">
              <a:buFont typeface="Arial" pitchFamily="34" charset="0"/>
              <a:buNone/>
            </a:pPr>
            <a:fld id="{F51042A9-2062-4F46-80DA-7D77685504C2}" type="slidenum">
              <a:rPr lang="en-GB" sz="1000" b="0">
                <a:solidFill>
                  <a:prstClr val="white"/>
                </a:solidFill>
                <a:latin typeface="Arial" pitchFamily="34" charset="0"/>
                <a:ea typeface="ＭＳ Ｐゴシック"/>
              </a:rPr>
              <a:pPr algn="ctr" defTabSz="457200">
                <a:buFont typeface="Arial" pitchFamily="34" charset="0"/>
                <a:buNone/>
              </a:pPr>
              <a:t>‹#›</a:t>
            </a:fld>
            <a:endParaRPr lang="en-GB" sz="1000" b="0" dirty="0">
              <a:solidFill>
                <a:prstClr val="white"/>
              </a:solidFill>
              <a:latin typeface="Arial" pitchFamily="34" charset="0"/>
              <a:ea typeface="ＭＳ Ｐゴシック"/>
            </a:endParaRPr>
          </a:p>
        </p:txBody>
      </p:sp>
    </p:spTree>
    <p:extLst>
      <p:ext uri="{BB962C8B-B14F-4D97-AF65-F5344CB8AC3E}">
        <p14:creationId xmlns:p14="http://schemas.microsoft.com/office/powerpoint/2010/main" val="15996375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b="14306"/>
          <a:stretch/>
        </p:blipFill>
        <p:spPr>
          <a:xfrm>
            <a:off x="0" y="3"/>
            <a:ext cx="9144000" cy="5876925"/>
          </a:xfrm>
          <a:prstGeom prst="rect">
            <a:avLst/>
          </a:prstGeom>
        </p:spPr>
      </p:pic>
      <p:sp>
        <p:nvSpPr>
          <p:cNvPr id="3" name="Title 2"/>
          <p:cNvSpPr>
            <a:spLocks noGrp="1"/>
          </p:cNvSpPr>
          <p:nvPr>
            <p:ph type="title"/>
          </p:nvPr>
        </p:nvSpPr>
        <p:spPr>
          <a:xfrm>
            <a:off x="827586" y="2459171"/>
            <a:ext cx="7512448" cy="2701925"/>
          </a:xfrm>
        </p:spPr>
        <p:txBody>
          <a:bodyPr anchor="ctr" anchorCtr="0">
            <a:normAutofit/>
          </a:bodyPr>
          <a:lstStyle>
            <a:lvl1pPr algn="ctr">
              <a:defRPr sz="3600"/>
            </a:lvl1pPr>
          </a:lstStyle>
          <a:p>
            <a:r>
              <a:rPr lang="en-US" dirty="0"/>
              <a:t>Click to edit Master title style</a:t>
            </a:r>
            <a:endParaRPr lang="en-GB" dirty="0"/>
          </a:p>
        </p:txBody>
      </p:sp>
      <p:sp>
        <p:nvSpPr>
          <p:cNvPr id="7" name="Text Placeholder 6"/>
          <p:cNvSpPr>
            <a:spLocks noGrp="1"/>
          </p:cNvSpPr>
          <p:nvPr>
            <p:ph type="body" sz="quarter" idx="10"/>
          </p:nvPr>
        </p:nvSpPr>
        <p:spPr>
          <a:xfrm>
            <a:off x="827586" y="5273935"/>
            <a:ext cx="7512448" cy="819377"/>
          </a:xfrm>
        </p:spPr>
        <p:txBody>
          <a:bodyPr>
            <a:normAutofit/>
          </a:bodyPr>
          <a:lstStyle>
            <a:lvl1pPr marL="0" indent="0" algn="ctr">
              <a:buNone/>
              <a:defRPr sz="2500"/>
            </a:lvl1pPr>
          </a:lstStyle>
          <a:p>
            <a:pPr lvl="0"/>
            <a:r>
              <a:rPr lang="en-US" dirty="0"/>
              <a:t>Click to edit Master text styles</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0274" y="-99392"/>
            <a:ext cx="4658219" cy="3429000"/>
          </a:xfrm>
          <a:prstGeom prst="rect">
            <a:avLst/>
          </a:prstGeom>
        </p:spPr>
      </p:pic>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t="85695"/>
          <a:stretch/>
        </p:blipFill>
        <p:spPr>
          <a:xfrm>
            <a:off x="0" y="5876931"/>
            <a:ext cx="9144000" cy="981075"/>
          </a:xfrm>
          <a:prstGeom prst="rect">
            <a:avLst/>
          </a:prstGeom>
        </p:spPr>
      </p:pic>
    </p:spTree>
    <p:extLst>
      <p:ext uri="{BB962C8B-B14F-4D97-AF65-F5344CB8AC3E}">
        <p14:creationId xmlns:p14="http://schemas.microsoft.com/office/powerpoint/2010/main" val="11698861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cxnSp>
        <p:nvCxnSpPr>
          <p:cNvPr id="7" name="Straight Connector 6"/>
          <p:cNvCxnSpPr/>
          <p:nvPr userDrawn="1"/>
        </p:nvCxnSpPr>
        <p:spPr>
          <a:xfrm>
            <a:off x="509589" y="1014414"/>
            <a:ext cx="8112125" cy="1587"/>
          </a:xfrm>
          <a:prstGeom prst="line">
            <a:avLst/>
          </a:prstGeom>
          <a:ln w="12700">
            <a:solidFill>
              <a:srgbClr val="E32727"/>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515942" y="280800"/>
            <a:ext cx="8112125" cy="680400"/>
          </a:xfrm>
          <a:noFill/>
          <a:ln w="9525">
            <a:noFill/>
            <a:miter lim="800000"/>
            <a:headEnd/>
            <a:tailEnd/>
          </a:ln>
        </p:spPr>
        <p:txBody>
          <a:bodyPr lIns="0" tIns="0" rIns="0" bIns="0" anchor="b">
            <a:normAutofit/>
          </a:bodyPr>
          <a:lstStyle>
            <a:lvl1pPr algn="l" defTabSz="457200" rtl="0" fontAlgn="base">
              <a:spcBef>
                <a:spcPct val="0"/>
              </a:spcBef>
              <a:spcAft>
                <a:spcPct val="0"/>
              </a:spcAft>
              <a:defRPr lang="en-US" sz="2400" kern="1200" baseline="0">
                <a:solidFill>
                  <a:srgbClr val="E32727"/>
                </a:solidFill>
                <a:latin typeface="Avenir LT Std 85 Heavy"/>
                <a:ea typeface="ＭＳ Ｐゴシック" charset="-128"/>
                <a:cs typeface="ＭＳ Ｐゴシック" charset="-128"/>
              </a:defRPr>
            </a:lvl1pPr>
          </a:lstStyle>
          <a:p>
            <a:r>
              <a:rPr lang="en-GB" dirty="0"/>
              <a:t>Click to edit Master title style</a:t>
            </a:r>
            <a:endParaRPr lang="en-US" dirty="0"/>
          </a:p>
        </p:txBody>
      </p:sp>
      <p:sp>
        <p:nvSpPr>
          <p:cNvPr id="8" name="Content Placeholder 2"/>
          <p:cNvSpPr>
            <a:spLocks noGrp="1"/>
          </p:cNvSpPr>
          <p:nvPr>
            <p:ph idx="1"/>
          </p:nvPr>
        </p:nvSpPr>
        <p:spPr>
          <a:xfrm>
            <a:off x="509042" y="1219208"/>
            <a:ext cx="3956839" cy="4646487"/>
          </a:xfrm>
        </p:spPr>
        <p:txBody>
          <a:bodyPr lIns="0" tIns="0" rIns="0" bIns="0"/>
          <a:lstStyle>
            <a:lvl1pPr>
              <a:lnSpc>
                <a:spcPct val="120000"/>
              </a:lnSpc>
              <a:spcBef>
                <a:spcPts val="0"/>
              </a:spcBef>
              <a:spcAft>
                <a:spcPts val="400"/>
              </a:spcAft>
              <a:buClr>
                <a:srgbClr val="E32727"/>
              </a:buClr>
              <a:defRPr sz="1600">
                <a:solidFill>
                  <a:srgbClr val="58595B"/>
                </a:solidFill>
                <a:latin typeface="Avenir LT Std 55 Roman"/>
              </a:defRPr>
            </a:lvl1pPr>
            <a:lvl2pPr>
              <a:lnSpc>
                <a:spcPct val="120000"/>
              </a:lnSpc>
              <a:spcBef>
                <a:spcPts val="0"/>
              </a:spcBef>
              <a:spcAft>
                <a:spcPts val="400"/>
              </a:spcAft>
              <a:buClr>
                <a:srgbClr val="0096DF"/>
              </a:buClr>
              <a:buFont typeface="Arial"/>
              <a:buChar char="•"/>
              <a:defRPr sz="1600">
                <a:solidFill>
                  <a:srgbClr val="58595B"/>
                </a:solidFill>
                <a:latin typeface="Avenir LT Std 55 Roman"/>
              </a:defRPr>
            </a:lvl2pPr>
            <a:lvl3pPr>
              <a:lnSpc>
                <a:spcPct val="120000"/>
              </a:lnSpc>
              <a:spcBef>
                <a:spcPts val="0"/>
              </a:spcBef>
              <a:spcAft>
                <a:spcPts val="400"/>
              </a:spcAft>
              <a:buClr>
                <a:srgbClr val="E32727"/>
              </a:buClr>
              <a:buFont typeface="Wingdings" charset="2"/>
              <a:buChar char="§"/>
              <a:defRPr sz="1400">
                <a:solidFill>
                  <a:srgbClr val="58595B"/>
                </a:solidFill>
                <a:latin typeface="Avenir LT Std 55 Roman"/>
              </a:defRPr>
            </a:lvl3pPr>
            <a:lvl4pPr>
              <a:lnSpc>
                <a:spcPct val="120000"/>
              </a:lnSpc>
              <a:spcBef>
                <a:spcPts val="0"/>
              </a:spcBef>
              <a:spcAft>
                <a:spcPts val="400"/>
              </a:spcAft>
              <a:buClr>
                <a:srgbClr val="0096DF"/>
              </a:buClr>
              <a:buFont typeface="Wingdings" charset="2"/>
              <a:buChar char="§"/>
              <a:defRPr sz="1400">
                <a:solidFill>
                  <a:srgbClr val="58595B"/>
                </a:solidFill>
                <a:latin typeface="Avenir LT Std 55 Roman"/>
              </a:defRPr>
            </a:lvl4pPr>
            <a:lvl5pPr>
              <a:lnSpc>
                <a:spcPct val="120000"/>
              </a:lnSpc>
              <a:spcBef>
                <a:spcPts val="0"/>
              </a:spcBef>
              <a:spcAft>
                <a:spcPts val="400"/>
              </a:spcAft>
              <a:buClrTx/>
              <a:buFont typeface="Courier New"/>
              <a:buChar char="o"/>
              <a:defRPr sz="1400">
                <a:solidFill>
                  <a:srgbClr val="58595B"/>
                </a:solidFill>
                <a:latin typeface="Avenir LT Std 55 Roman"/>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Content Placeholder 2"/>
          <p:cNvSpPr>
            <a:spLocks noGrp="1"/>
          </p:cNvSpPr>
          <p:nvPr>
            <p:ph idx="13"/>
          </p:nvPr>
        </p:nvSpPr>
        <p:spPr>
          <a:xfrm>
            <a:off x="4671233" y="1219208"/>
            <a:ext cx="3956839" cy="4646487"/>
          </a:xfrm>
        </p:spPr>
        <p:txBody>
          <a:bodyPr lIns="0" tIns="0" rIns="0" bIns="0"/>
          <a:lstStyle>
            <a:lvl1pPr>
              <a:lnSpc>
                <a:spcPct val="120000"/>
              </a:lnSpc>
              <a:spcBef>
                <a:spcPts val="0"/>
              </a:spcBef>
              <a:spcAft>
                <a:spcPts val="400"/>
              </a:spcAft>
              <a:buClr>
                <a:srgbClr val="E32727"/>
              </a:buClr>
              <a:defRPr sz="1600">
                <a:solidFill>
                  <a:srgbClr val="58595B"/>
                </a:solidFill>
                <a:latin typeface="Avenir LT Std 55 Roman"/>
              </a:defRPr>
            </a:lvl1pPr>
            <a:lvl2pPr>
              <a:lnSpc>
                <a:spcPct val="120000"/>
              </a:lnSpc>
              <a:spcBef>
                <a:spcPts val="0"/>
              </a:spcBef>
              <a:spcAft>
                <a:spcPts val="400"/>
              </a:spcAft>
              <a:buClr>
                <a:srgbClr val="0096DF"/>
              </a:buClr>
              <a:buFont typeface="Arial"/>
              <a:buChar char="•"/>
              <a:defRPr sz="1600">
                <a:solidFill>
                  <a:srgbClr val="58595B"/>
                </a:solidFill>
                <a:latin typeface="Avenir LT Std 55 Roman"/>
              </a:defRPr>
            </a:lvl2pPr>
            <a:lvl3pPr>
              <a:lnSpc>
                <a:spcPct val="120000"/>
              </a:lnSpc>
              <a:spcBef>
                <a:spcPts val="0"/>
              </a:spcBef>
              <a:spcAft>
                <a:spcPts val="400"/>
              </a:spcAft>
              <a:buClr>
                <a:srgbClr val="E32727"/>
              </a:buClr>
              <a:buFont typeface="Wingdings" charset="2"/>
              <a:buChar char="§"/>
              <a:defRPr sz="1400">
                <a:solidFill>
                  <a:srgbClr val="58595B"/>
                </a:solidFill>
                <a:latin typeface="Avenir LT Std 55 Roman"/>
              </a:defRPr>
            </a:lvl3pPr>
            <a:lvl4pPr>
              <a:lnSpc>
                <a:spcPct val="120000"/>
              </a:lnSpc>
              <a:spcBef>
                <a:spcPts val="0"/>
              </a:spcBef>
              <a:spcAft>
                <a:spcPts val="400"/>
              </a:spcAft>
              <a:buClr>
                <a:srgbClr val="0096DF"/>
              </a:buClr>
              <a:buFont typeface="Wingdings" charset="2"/>
              <a:buChar char="§"/>
              <a:defRPr sz="1400">
                <a:solidFill>
                  <a:srgbClr val="58595B"/>
                </a:solidFill>
                <a:latin typeface="Avenir LT Std 55 Roman"/>
              </a:defRPr>
            </a:lvl4pPr>
            <a:lvl5pPr>
              <a:lnSpc>
                <a:spcPct val="120000"/>
              </a:lnSpc>
              <a:spcBef>
                <a:spcPts val="0"/>
              </a:spcBef>
              <a:spcAft>
                <a:spcPts val="400"/>
              </a:spcAft>
              <a:buClrTx/>
              <a:buFont typeface="Courier New"/>
              <a:buChar char="o"/>
              <a:defRPr sz="1400">
                <a:solidFill>
                  <a:srgbClr val="58595B"/>
                </a:solidFill>
                <a:latin typeface="Avenir LT Std 55 Roman"/>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003155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a:xfrm>
            <a:off x="76200" y="6400806"/>
            <a:ext cx="381000" cy="365125"/>
          </a:xfrm>
          <a:prstGeom prst="rect">
            <a:avLst/>
          </a:prstGeom>
        </p:spPr>
        <p:txBody>
          <a:bodyPr/>
          <a:lstStyle/>
          <a:p>
            <a:fld id="{49917D44-E8A6-413F-BBF8-51CA61933BC1}" type="slidenum">
              <a:rPr lang="en-US" sz="1800" b="0" smtClean="0">
                <a:solidFill>
                  <a:srgbClr val="58595B"/>
                </a:solidFill>
                <a:ea typeface="ＭＳ Ｐゴシック"/>
              </a:rPr>
              <a:pPr/>
              <a:t>‹#›</a:t>
            </a:fld>
            <a:endParaRPr lang="en-US" sz="1800" b="0" dirty="0">
              <a:solidFill>
                <a:srgbClr val="58595B"/>
              </a:solidFill>
              <a:ea typeface="ＭＳ Ｐゴシック"/>
            </a:endParaRPr>
          </a:p>
        </p:txBody>
      </p:sp>
      <p:sp>
        <p:nvSpPr>
          <p:cNvPr id="7" name="Footer Placeholder 6"/>
          <p:cNvSpPr>
            <a:spLocks noGrp="1"/>
          </p:cNvSpPr>
          <p:nvPr>
            <p:ph type="ftr" sz="quarter" idx="11"/>
          </p:nvPr>
        </p:nvSpPr>
        <p:spPr>
          <a:xfrm>
            <a:off x="838200" y="5791206"/>
            <a:ext cx="7848600" cy="365125"/>
          </a:xfrm>
          <a:prstGeom prst="rect">
            <a:avLst/>
          </a:prstGeom>
        </p:spPr>
        <p:txBody>
          <a:bodyPr/>
          <a:lstStyle/>
          <a:p>
            <a:endParaRPr lang="en-US" sz="1800" b="0" dirty="0">
              <a:solidFill>
                <a:srgbClr val="58595B"/>
              </a:solidFill>
              <a:ea typeface="ＭＳ Ｐゴシック"/>
            </a:endParaRPr>
          </a:p>
        </p:txBody>
      </p:sp>
    </p:spTree>
    <p:extLst>
      <p:ext uri="{BB962C8B-B14F-4D97-AF65-F5344CB8AC3E}">
        <p14:creationId xmlns:p14="http://schemas.microsoft.com/office/powerpoint/2010/main" val="34840818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 Graphite">
    <p:spTree>
      <p:nvGrpSpPr>
        <p:cNvPr id="1" name=""/>
        <p:cNvGrpSpPr/>
        <p:nvPr/>
      </p:nvGrpSpPr>
      <p:grpSpPr>
        <a:xfrm>
          <a:off x="0" y="0"/>
          <a:ext cx="0" cy="0"/>
          <a:chOff x="0" y="0"/>
          <a:chExt cx="0" cy="0"/>
        </a:xfrm>
      </p:grpSpPr>
      <p:sp>
        <p:nvSpPr>
          <p:cNvPr id="5" name="Rectangle 4"/>
          <p:cNvSpPr/>
          <p:nvPr userDrawn="1"/>
        </p:nvSpPr>
        <p:spPr>
          <a:xfrm>
            <a:off x="144000" y="144000"/>
            <a:ext cx="8856000" cy="658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dirty="0">
              <a:solidFill>
                <a:srgbClr val="FFFFFF"/>
              </a:solidFill>
            </a:endParaRPr>
          </a:p>
        </p:txBody>
      </p:sp>
      <p:sp>
        <p:nvSpPr>
          <p:cNvPr id="13" name="Title 8"/>
          <p:cNvSpPr>
            <a:spLocks noGrp="1"/>
          </p:cNvSpPr>
          <p:nvPr>
            <p:ph type="title" hasCustomPrompt="1"/>
          </p:nvPr>
        </p:nvSpPr>
        <p:spPr>
          <a:xfrm>
            <a:off x="216004" y="193039"/>
            <a:ext cx="8765651" cy="506116"/>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4899553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dirty="0"/>
          </a:p>
        </p:txBody>
      </p:sp>
      <p:sp>
        <p:nvSpPr>
          <p:cNvPr id="3" name="Text Placeholder 2"/>
          <p:cNvSpPr>
            <a:spLocks noGrp="1"/>
          </p:cNvSpPr>
          <p:nvPr>
            <p:ph type="body" idx="1"/>
          </p:nvPr>
        </p:nvSpPr>
        <p:spPr>
          <a:xfrm>
            <a:off x="463550" y="1239527"/>
            <a:ext cx="8382000" cy="563563"/>
          </a:xfrm>
        </p:spPr>
        <p:txBody>
          <a:bodyPr>
            <a:normAutofit/>
          </a:bodyPr>
          <a:lstStyle>
            <a:lvl1pPr marL="0" indent="0">
              <a:lnSpc>
                <a:spcPts val="1900"/>
              </a:lnSpc>
              <a:spcAft>
                <a:spcPts val="0"/>
              </a:spcAft>
              <a:buNone/>
              <a:defRPr sz="1600" b="1">
                <a:solidFill>
                  <a:srgbClr val="522E91"/>
                </a:solidFill>
                <a:latin typeface="Arial Black"/>
                <a:cs typeface="Arial Black"/>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533400" y="1846263"/>
            <a:ext cx="8305800" cy="3951288"/>
          </a:xfrm>
        </p:spPr>
        <p:txBody>
          <a:bodyPr>
            <a:normAutofit/>
          </a:bodyPr>
          <a:lstStyle>
            <a:lvl1pPr>
              <a:defRPr sz="1600"/>
            </a:lvl1pPr>
            <a:lvl2pPr>
              <a:defRPr sz="1400"/>
            </a:lvl2pPr>
            <a:lvl3pPr>
              <a:defRPr sz="1400"/>
            </a:lvl3pPr>
            <a:lvl4pPr>
              <a:defRPr sz="1400"/>
            </a:lvl4pPr>
            <a:lvl5pPr>
              <a:defRPr sz="12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6"/>
          <p:cNvSpPr>
            <a:spLocks noGrp="1"/>
          </p:cNvSpPr>
          <p:nvPr>
            <p:ph type="dt" sz="half" idx="10"/>
          </p:nvPr>
        </p:nvSpPr>
        <p:spPr>
          <a:xfrm>
            <a:off x="457200" y="6356358"/>
            <a:ext cx="2133600" cy="365125"/>
          </a:xfrm>
          <a:prstGeom prst="rect">
            <a:avLst/>
          </a:prstGeom>
        </p:spPr>
        <p:txBody>
          <a:bodyPr vert="horz" wrap="square" lIns="91440" tIns="45720" rIns="91440" bIns="45720" numCol="1" anchor="t" anchorCtr="0" compatLnSpc="1">
            <a:prstTxWarp prst="textNoShape">
              <a:avLst/>
            </a:prstTxWarp>
          </a:bodyPr>
          <a:lstStyle>
            <a:lvl1pPr>
              <a:defRPr b="0">
                <a:solidFill>
                  <a:srgbClr val="000000"/>
                </a:solidFill>
                <a:latin typeface="Avenir 55"/>
              </a:defRPr>
            </a:lvl1pPr>
          </a:lstStyle>
          <a:p>
            <a:pPr>
              <a:defRPr/>
            </a:pPr>
            <a:fld id="{0BD09C1E-A2AF-45F8-9ABB-BBBBB84DFE79}" type="datetimeFigureOut">
              <a:rPr lang="en-US" sz="1800">
                <a:ea typeface="ＭＳ Ｐゴシック"/>
                <a:cs typeface="Arial" pitchFamily="34" charset="0"/>
              </a:rPr>
              <a:pPr>
                <a:defRPr/>
              </a:pPr>
              <a:t>1/29/2019</a:t>
            </a:fld>
            <a:endParaRPr lang="en-US" sz="1800">
              <a:ea typeface="ＭＳ Ｐゴシック"/>
              <a:cs typeface="Arial" pitchFamily="34" charset="0"/>
            </a:endParaRPr>
          </a:p>
        </p:txBody>
      </p:sp>
      <p:sp>
        <p:nvSpPr>
          <p:cNvPr id="6" name="Footer Placeholder 7"/>
          <p:cNvSpPr>
            <a:spLocks noGrp="1"/>
          </p:cNvSpPr>
          <p:nvPr>
            <p:ph type="ftr" sz="quarter" idx="11"/>
          </p:nvPr>
        </p:nvSpPr>
        <p:spPr>
          <a:xfrm>
            <a:off x="3124200" y="6356358"/>
            <a:ext cx="2895600" cy="365125"/>
          </a:xfrm>
          <a:prstGeom prst="rect">
            <a:avLst/>
          </a:prstGeom>
        </p:spPr>
        <p:txBody>
          <a:bodyPr rtlCol="0"/>
          <a:lstStyle>
            <a:lvl1pPr fontAlgn="auto">
              <a:spcBef>
                <a:spcPts val="0"/>
              </a:spcBef>
              <a:spcAft>
                <a:spcPts val="0"/>
              </a:spcAft>
              <a:defRPr b="1">
                <a:solidFill>
                  <a:srgbClr val="000000">
                    <a:tint val="75000"/>
                  </a:srgbClr>
                </a:solidFill>
                <a:latin typeface="Arial" charset="0"/>
                <a:cs typeface="+mn-cs"/>
              </a:defRPr>
            </a:lvl1pPr>
          </a:lstStyle>
          <a:p>
            <a:pPr>
              <a:defRPr/>
            </a:pPr>
            <a:endParaRPr lang="en-US" sz="1800">
              <a:ea typeface="ＭＳ Ｐゴシック"/>
            </a:endParaRPr>
          </a:p>
        </p:txBody>
      </p:sp>
      <p:sp>
        <p:nvSpPr>
          <p:cNvPr id="7" name="Slide Number Placeholder 8"/>
          <p:cNvSpPr>
            <a:spLocks noGrp="1"/>
          </p:cNvSpPr>
          <p:nvPr>
            <p:ph type="sldNum" sz="quarter" idx="12"/>
          </p:nvPr>
        </p:nvSpPr>
        <p:spPr>
          <a:xfrm>
            <a:off x="6553200" y="6356358"/>
            <a:ext cx="2133600" cy="365125"/>
          </a:xfrm>
          <a:prstGeom prst="rect">
            <a:avLst/>
          </a:prstGeom>
        </p:spPr>
        <p:txBody>
          <a:bodyPr rtlCol="0"/>
          <a:lstStyle>
            <a:lvl1pPr fontAlgn="auto">
              <a:spcBef>
                <a:spcPts val="0"/>
              </a:spcBef>
              <a:spcAft>
                <a:spcPts val="0"/>
              </a:spcAft>
              <a:defRPr b="0">
                <a:latin typeface="Arial" charset="0"/>
                <a:cs typeface="+mn-cs"/>
              </a:defRPr>
            </a:lvl1pPr>
          </a:lstStyle>
          <a:p>
            <a:pPr>
              <a:defRPr/>
            </a:pPr>
            <a:fld id="{184494E6-5DFD-4744-BE84-CE8259CBE0F4}" type="slidenum">
              <a:rPr lang="en-US" sz="1800">
                <a:solidFill>
                  <a:srgbClr val="58595B"/>
                </a:solidFill>
                <a:ea typeface="ＭＳ Ｐゴシック"/>
              </a:rPr>
              <a:pPr>
                <a:defRPr/>
              </a:pPr>
              <a:t>‹#›</a:t>
            </a:fld>
            <a:endParaRPr lang="en-US" sz="1800" dirty="0">
              <a:solidFill>
                <a:srgbClr val="58595B"/>
              </a:solidFill>
              <a:ea typeface="ＭＳ Ｐゴシック"/>
            </a:endParaRPr>
          </a:p>
        </p:txBody>
      </p:sp>
    </p:spTree>
    <p:extLst>
      <p:ext uri="{BB962C8B-B14F-4D97-AF65-F5344CB8AC3E}">
        <p14:creationId xmlns:p14="http://schemas.microsoft.com/office/powerpoint/2010/main" val="29022529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4" name="Rectangle 3"/>
          <p:cNvSpPr/>
          <p:nvPr userDrawn="1"/>
        </p:nvSpPr>
        <p:spPr>
          <a:xfrm>
            <a:off x="0" y="-12700"/>
            <a:ext cx="9144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US" sz="1800" b="0" dirty="0">
              <a:solidFill>
                <a:prstClr val="white"/>
              </a:solidFill>
            </a:endParaRPr>
          </a:p>
        </p:txBody>
      </p:sp>
      <p:pic>
        <p:nvPicPr>
          <p:cNvPr id="5" name="Picture 2"/>
          <p:cNvPicPr>
            <a:picLocks noChangeAspect="1" noChangeArrowheads="1"/>
          </p:cNvPicPr>
          <p:nvPr userDrawn="1"/>
        </p:nvPicPr>
        <p:blipFill>
          <a:blip r:embed="rId2" cstate="print"/>
          <a:srcRect/>
          <a:stretch>
            <a:fillRect/>
          </a:stretch>
        </p:blipFill>
        <p:spPr bwMode="auto">
          <a:xfrm>
            <a:off x="0" y="-26985"/>
            <a:ext cx="9144000" cy="1514476"/>
          </a:xfrm>
          <a:prstGeom prst="rect">
            <a:avLst/>
          </a:prstGeom>
          <a:noFill/>
          <a:ln w="9525">
            <a:noFill/>
            <a:miter lim="800000"/>
            <a:headEnd/>
            <a:tailEnd/>
          </a:ln>
        </p:spPr>
      </p:pic>
      <p:sp>
        <p:nvSpPr>
          <p:cNvPr id="3" name="Subtitle 2"/>
          <p:cNvSpPr>
            <a:spLocks noGrp="1"/>
          </p:cNvSpPr>
          <p:nvPr>
            <p:ph type="subTitle" idx="1"/>
          </p:nvPr>
        </p:nvSpPr>
        <p:spPr>
          <a:xfrm>
            <a:off x="1408079" y="3352800"/>
            <a:ext cx="6172200" cy="914400"/>
          </a:xfrm>
        </p:spPr>
        <p:txBody>
          <a:bodyPr/>
          <a:lstStyle>
            <a:lvl1pPr marL="0" indent="0" algn="ctr">
              <a:buNone/>
              <a:defRPr>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dirty="0"/>
          </a:p>
        </p:txBody>
      </p:sp>
      <p:sp>
        <p:nvSpPr>
          <p:cNvPr id="17" name="Title 16"/>
          <p:cNvSpPr>
            <a:spLocks noGrp="1"/>
          </p:cNvSpPr>
          <p:nvPr>
            <p:ph type="title"/>
          </p:nvPr>
        </p:nvSpPr>
        <p:spPr>
          <a:xfrm>
            <a:off x="1333500" y="2438400"/>
            <a:ext cx="6457950" cy="685800"/>
          </a:xfrm>
        </p:spPr>
        <p:txBody>
          <a:bodyPr/>
          <a:lstStyle>
            <a:lvl1pPr>
              <a:defRPr sz="3400"/>
            </a:lvl1pPr>
          </a:lstStyle>
          <a:p>
            <a:r>
              <a:rPr lang="en-GB" dirty="0"/>
              <a:t>Click to edit Master title style</a:t>
            </a:r>
            <a:endParaRPr lang="en-US" dirty="0"/>
          </a:p>
        </p:txBody>
      </p:sp>
    </p:spTree>
    <p:extLst>
      <p:ext uri="{BB962C8B-B14F-4D97-AF65-F5344CB8AC3E}">
        <p14:creationId xmlns:p14="http://schemas.microsoft.com/office/powerpoint/2010/main" val="12931817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685800" y="2130443"/>
            <a:ext cx="7772400" cy="1470025"/>
          </a:xfrm>
        </p:spPr>
        <p:txBody>
          <a:bodyPr/>
          <a:lstStyle/>
          <a:p>
            <a:r>
              <a:rPr lang="cs-CZ"/>
              <a:t>Kliknutím lze upravit styl.</a:t>
            </a:r>
          </a:p>
        </p:txBody>
      </p:sp>
      <p:sp>
        <p:nvSpPr>
          <p:cNvPr id="3" name="Podnadpis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cs-CZ"/>
              <a:t>Kliknutím lze upravit styl předlohy.</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625F486-7F62-4F3F-9710-F8EE27860B56}"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41483949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FAD2C7D-71CA-4114-AAD6-4939BB8A5C40}"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6760141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722313" y="4406907"/>
            <a:ext cx="7772400" cy="1362075"/>
          </a:xfrm>
        </p:spPr>
        <p:txBody>
          <a:bodyPr anchor="t"/>
          <a:lstStyle>
            <a:lvl1pPr algn="l">
              <a:defRPr sz="4000" b="1" cap="all"/>
            </a:lvl1pPr>
          </a:lstStyle>
          <a:p>
            <a:r>
              <a:rPr lang="cs-CZ"/>
              <a:t>Kliknutím lze upravit styl.</a:t>
            </a:r>
          </a:p>
        </p:txBody>
      </p:sp>
      <p:sp>
        <p:nvSpPr>
          <p:cNvPr id="3" name="Zástupný symbol pro tex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cs-CZ"/>
              <a:t>Kliknutím lze upravit styly předlohy textu.</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150F977-219D-4697-940A-56B938019CAD}"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2489799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EBC8F263-4355-4E73-A69B-ADB15CD030D9}"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2528175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lvl1pPr>
          </a:lstStyle>
          <a:p>
            <a:r>
              <a:rPr lang="cs-CZ"/>
              <a:t>Kliknutím lze upravit styl.</a:t>
            </a:r>
          </a:p>
        </p:txBody>
      </p:sp>
      <p:sp>
        <p:nvSpPr>
          <p:cNvPr id="3" name="Zástupný symbol pro text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iknutím lze upravit styly předlohy textu.</a:t>
            </a:r>
          </a:p>
        </p:txBody>
      </p:sp>
      <p:sp>
        <p:nvSpPr>
          <p:cNvPr id="4" name="Zástupný symbol pro obsah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p:cNvSpPr>
            <a:spLocks noGrp="1"/>
          </p:cNvSpPr>
          <p:nvPr>
            <p:ph type="body" sz="quarter" idx="3"/>
          </p:nvPr>
        </p:nvSpPr>
        <p:spPr>
          <a:xfrm>
            <a:off x="464503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iknutím lze upravit styly předlohy textu.</a:t>
            </a:r>
          </a:p>
        </p:txBody>
      </p:sp>
      <p:sp>
        <p:nvSpPr>
          <p:cNvPr id="6" name="Zástupný symbol pro obsah 5"/>
          <p:cNvSpPr>
            <a:spLocks noGrp="1"/>
          </p:cNvSpPr>
          <p:nvPr>
            <p:ph sz="quarter" idx="4"/>
          </p:nvPr>
        </p:nvSpPr>
        <p:spPr>
          <a:xfrm>
            <a:off x="464503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C8781AA3-2049-40C8-862B-343F65A0F813}"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8325819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6B48FB5-C141-4C13-A5AB-77F7A32E6D19}"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4680897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02BA0477-7977-477A-AB08-1BF427B15ECF}"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7223496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457202" y="273050"/>
            <a:ext cx="3008313" cy="1162051"/>
          </a:xfrm>
        </p:spPr>
        <p:txBody>
          <a:bodyPr anchor="b"/>
          <a:lstStyle>
            <a:lvl1pPr algn="l">
              <a:defRPr sz="2000" b="1"/>
            </a:lvl1pPr>
          </a:lstStyle>
          <a:p>
            <a:r>
              <a:rPr lang="cs-CZ"/>
              <a:t>Kliknutím lze upravit styl.</a:t>
            </a:r>
          </a:p>
        </p:txBody>
      </p:sp>
      <p:sp>
        <p:nvSpPr>
          <p:cNvPr id="3" name="Zástupný symbol pro obsah 2"/>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A9591D6-8E33-4A07-AC9A-38F371C5CE91}"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251390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1"/>
          <p:cNvSpPr>
            <a:spLocks noGrp="1"/>
          </p:cNvSpPr>
          <p:nvPr>
            <p:ph type="title"/>
          </p:nvPr>
        </p:nvSpPr>
        <p:spPr>
          <a:xfrm>
            <a:off x="571500" y="0"/>
            <a:ext cx="8229600" cy="1199408"/>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7004444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1792288" y="4800607"/>
            <a:ext cx="5486400" cy="566739"/>
          </a:xfrm>
        </p:spPr>
        <p:txBody>
          <a:bodyPr anchor="b"/>
          <a:lstStyle>
            <a:lvl1pPr algn="l">
              <a:defRPr sz="2000" b="1"/>
            </a:lvl1pPr>
          </a:lstStyle>
          <a:p>
            <a:r>
              <a:rPr lang="cs-CZ"/>
              <a:t>Kliknutím lze upravit styl.</a:t>
            </a:r>
          </a:p>
        </p:txBody>
      </p:sp>
      <p:sp>
        <p:nvSpPr>
          <p:cNvPr id="3" name="Zástupný symbol pro obrázek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cs-CZ" noProof="0"/>
          </a:p>
        </p:txBody>
      </p:sp>
      <p:sp>
        <p:nvSpPr>
          <p:cNvPr id="4" name="Zástupný symbol pro text 3"/>
          <p:cNvSpPr>
            <a:spLocks noGrp="1"/>
          </p:cNvSpPr>
          <p:nvPr>
            <p:ph type="body" sz="half" idx="2"/>
          </p:nvPr>
        </p:nvSpPr>
        <p:spPr>
          <a:xfrm>
            <a:off x="1792288" y="5367355"/>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9D31047-DDEE-4737-9BF2-82C3913BCE7E}"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4898197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svislý text 2"/>
          <p:cNvSpPr>
            <a:spLocks noGrp="1"/>
          </p:cNvSpPr>
          <p:nvPr>
            <p:ph type="body" orient="vert" idx="1"/>
          </p:nvPr>
        </p:nvSpPr>
        <p:spPr/>
        <p:txBody>
          <a:bodyPr vert="eaVert"/>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FF858DEC-0946-48AB-9F45-513ADEBE4A23}"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5015603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6629400" y="274639"/>
            <a:ext cx="2057400" cy="5851525"/>
          </a:xfrm>
        </p:spPr>
        <p:txBody>
          <a:bodyPr vert="eaVert"/>
          <a:lstStyle/>
          <a:p>
            <a:r>
              <a:rPr lang="cs-CZ"/>
              <a:t>Kliknutím lze upravit styl.</a:t>
            </a:r>
          </a:p>
        </p:txBody>
      </p:sp>
      <p:sp>
        <p:nvSpPr>
          <p:cNvPr id="3" name="Zástupný symbol pro svislý text 2"/>
          <p:cNvSpPr>
            <a:spLocks noGrp="1"/>
          </p:cNvSpPr>
          <p:nvPr>
            <p:ph type="body" orient="vert" idx="1"/>
          </p:nvPr>
        </p:nvSpPr>
        <p:spPr>
          <a:xfrm>
            <a:off x="457200" y="274639"/>
            <a:ext cx="6019800" cy="5851525"/>
          </a:xfrm>
        </p:spPr>
        <p:txBody>
          <a:bodyPr vert="eaVert"/>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BFF1933-17E4-46C1-A3C8-22F232D4B019}"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9087263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bl" preserve="1">
  <p:cSld name="Nadpis a tabulka">
    <p:spTree>
      <p:nvGrpSpPr>
        <p:cNvPr id="1" name=""/>
        <p:cNvGrpSpPr/>
        <p:nvPr/>
      </p:nvGrpSpPr>
      <p:grpSpPr>
        <a:xfrm>
          <a:off x="0" y="0"/>
          <a:ext cx="0" cy="0"/>
          <a:chOff x="0" y="0"/>
          <a:chExt cx="0" cy="0"/>
        </a:xfrm>
      </p:grpSpPr>
      <p:sp>
        <p:nvSpPr>
          <p:cNvPr id="2" name="Nadpis 1"/>
          <p:cNvSpPr>
            <a:spLocks noGrp="1"/>
          </p:cNvSpPr>
          <p:nvPr>
            <p:ph type="title"/>
          </p:nvPr>
        </p:nvSpPr>
        <p:spPr>
          <a:xfrm>
            <a:off x="457200" y="274637"/>
            <a:ext cx="8229600" cy="1143000"/>
          </a:xfrm>
        </p:spPr>
        <p:txBody>
          <a:bodyPr/>
          <a:lstStyle/>
          <a:p>
            <a:r>
              <a:rPr lang="cs-CZ"/>
              <a:t>Kliknutím lze upravit styl.</a:t>
            </a:r>
          </a:p>
        </p:txBody>
      </p:sp>
      <p:sp>
        <p:nvSpPr>
          <p:cNvPr id="3" name="Zástupný symbol pro tabulku 2"/>
          <p:cNvSpPr>
            <a:spLocks noGrp="1"/>
          </p:cNvSpPr>
          <p:nvPr>
            <p:ph type="tbl" idx="1"/>
          </p:nvPr>
        </p:nvSpPr>
        <p:spPr>
          <a:xfrm>
            <a:off x="457200" y="1600204"/>
            <a:ext cx="8229600" cy="4525963"/>
          </a:xfrm>
        </p:spPr>
        <p:txBody>
          <a:bodyPr/>
          <a:lstStyle/>
          <a:p>
            <a:pPr lvl="0"/>
            <a:endParaRPr lang="cs-CZ" noProof="0"/>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7BD58CB-7928-4FC2-AFF7-9C498E06CE17}"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3566752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AndTwoObj" preserve="1">
  <p:cSld name="Nadpis, 1 velký a 2 malé obsahy">
    <p:spTree>
      <p:nvGrpSpPr>
        <p:cNvPr id="1" name=""/>
        <p:cNvGrpSpPr/>
        <p:nvPr/>
      </p:nvGrpSpPr>
      <p:grpSpPr>
        <a:xfrm>
          <a:off x="0" y="0"/>
          <a:ext cx="0" cy="0"/>
          <a:chOff x="0" y="0"/>
          <a:chExt cx="0" cy="0"/>
        </a:xfrm>
      </p:grpSpPr>
      <p:sp>
        <p:nvSpPr>
          <p:cNvPr id="2" name="Nadpis 1"/>
          <p:cNvSpPr>
            <a:spLocks noGrp="1"/>
          </p:cNvSpPr>
          <p:nvPr>
            <p:ph type="title"/>
          </p:nvPr>
        </p:nvSpPr>
        <p:spPr>
          <a:xfrm>
            <a:off x="457200" y="274637"/>
            <a:ext cx="8229600" cy="1143000"/>
          </a:xfrm>
        </p:spPr>
        <p:txBody>
          <a:bodyPr/>
          <a:lstStyle/>
          <a:p>
            <a:r>
              <a:rPr lang="cs-CZ"/>
              <a:t>Kliknutím lze upravit styl.</a:t>
            </a:r>
          </a:p>
        </p:txBody>
      </p:sp>
      <p:sp>
        <p:nvSpPr>
          <p:cNvPr id="3" name="Zástupný symbol pro obsah 2"/>
          <p:cNvSpPr>
            <a:spLocks noGrp="1"/>
          </p:cNvSpPr>
          <p:nvPr>
            <p:ph sz="half" idx="1"/>
          </p:nvPr>
        </p:nvSpPr>
        <p:spPr>
          <a:xfrm>
            <a:off x="457200" y="1600204"/>
            <a:ext cx="4038600" cy="4525963"/>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quarter" idx="2"/>
          </p:nvPr>
        </p:nvSpPr>
        <p:spPr>
          <a:xfrm>
            <a:off x="4648200" y="1600203"/>
            <a:ext cx="4038600" cy="2185988"/>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obsah 4"/>
          <p:cNvSpPr>
            <a:spLocks noGrp="1"/>
          </p:cNvSpPr>
          <p:nvPr>
            <p:ph sz="quarter" idx="3"/>
          </p:nvPr>
        </p:nvSpPr>
        <p:spPr>
          <a:xfrm>
            <a:off x="4648200" y="3938600"/>
            <a:ext cx="4038600" cy="2187575"/>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6"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DC82B879-BC32-4B78-9161-959DCE2A5848}"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1040296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687230"/>
            <a:ext cx="8510400" cy="521883"/>
          </a:xfrm>
        </p:spPr>
        <p:txBody>
          <a:bodyPr/>
          <a:lstStyle>
            <a:lvl1pPr>
              <a:defRPr sz="24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p:txBody>
          <a:bodyPr/>
          <a:lstStyle>
            <a:lvl1pPr>
              <a:defRPr/>
            </a:lvl1pPr>
          </a:lstStyle>
          <a:p>
            <a:pPr>
              <a:defRPr/>
            </a:pPr>
            <a:fld id="{D222F372-0C37-4AA6-9DE0-A3A564158E23}" type="slidenum">
              <a:rPr lang="en-GB" altLang="cs-CZ">
                <a:solidFill>
                  <a:srgbClr val="000000"/>
                </a:solidFill>
              </a:rPr>
              <a:pPr>
                <a:defRPr/>
              </a:pPr>
              <a:t>‹#›</a:t>
            </a:fld>
            <a:endParaRPr lang="en-GB" altLang="cs-CZ">
              <a:solidFill>
                <a:srgbClr val="000000"/>
              </a:solidFill>
            </a:endParaRPr>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solidFill>
                  <a:srgbClr val="000000"/>
                </a:solidFill>
              </a:rPr>
              <a:t>Presentation title</a:t>
            </a:r>
          </a:p>
        </p:txBody>
      </p:sp>
      <p:sp>
        <p:nvSpPr>
          <p:cNvPr id="7"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solidFill>
                  <a:srgbClr val="000000"/>
                </a:solidFill>
              </a:rPr>
              <a:t>Date</a:t>
            </a:r>
          </a:p>
        </p:txBody>
      </p:sp>
    </p:spTree>
    <p:extLst>
      <p:ext uri="{BB962C8B-B14F-4D97-AF65-F5344CB8AC3E}">
        <p14:creationId xmlns:p14="http://schemas.microsoft.com/office/powerpoint/2010/main" val="2711060877"/>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13"/>
          <p:cNvPicPr>
            <a:picLocks noChangeAspect="1"/>
          </p:cNvPicPr>
          <p:nvPr userDrawn="1"/>
        </p:nvPicPr>
        <p:blipFill>
          <a:blip r:embed="rId2" cstate="email">
            <a:extLst>
              <a:ext uri="{28A0092B-C50C-407E-A947-70E740481C1C}">
                <a14:useLocalDpi xmlns:a14="http://schemas.microsoft.com/office/drawing/2010/main" val="0"/>
              </a:ext>
            </a:extLst>
          </a:blip>
          <a:srcRect b="14449"/>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userDrawn="1"/>
        </p:nvSpPr>
        <p:spPr>
          <a:xfrm>
            <a:off x="762831" y="6100763"/>
            <a:ext cx="157094" cy="153888"/>
          </a:xfrm>
          <a:prstGeom prst="rect">
            <a:avLst/>
          </a:prstGeom>
          <a:noFill/>
        </p:spPr>
        <p:txBody>
          <a:bodyPr wrap="non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fontAlgn="auto" hangingPunct="1">
              <a:spcBef>
                <a:spcPts val="0"/>
              </a:spcBef>
              <a:spcAft>
                <a:spcPts val="0"/>
              </a:spcAft>
              <a:defRPr/>
            </a:pPr>
            <a:fld id="{E8FB8C9A-8267-4457-AD0B-E3DCACC4CA15}" type="slidenum">
              <a:rPr lang="en-US" sz="1000" b="0">
                <a:solidFill>
                  <a:prstClr val="white"/>
                </a:solidFill>
                <a:cs typeface="Arial" pitchFamily="34" charset="0"/>
              </a:rPr>
              <a:pPr algn="ctr" eaLnBrk="1" fontAlgn="auto" hangingPunct="1">
                <a:spcBef>
                  <a:spcPts val="0"/>
                </a:spcBef>
                <a:spcAft>
                  <a:spcPts val="0"/>
                </a:spcAft>
                <a:defRPr/>
              </a:pPr>
              <a:t>‹#›</a:t>
            </a:fld>
            <a:endParaRPr lang="en-US" sz="1000" b="0">
              <a:solidFill>
                <a:prstClr val="white"/>
              </a:solidFill>
              <a:cs typeface="Arial" pitchFamily="34" charset="0"/>
            </a:endParaRPr>
          </a:p>
        </p:txBody>
      </p:sp>
      <p:pic>
        <p:nvPicPr>
          <p:cNvPr id="8" name="Picture 2" descr="Z:\Clients\AZ-BMS\2014\5. Forxiga-Xigduo\3. Global projects\1. 360\786205172_Forxiga 2014 Speaker Training\4. Templates\Logo_19Aug14.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07975" y="244475"/>
            <a:ext cx="3995738" cy="231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4" descr="C:\Users\inam\Desktop\SF\AZ_DIAB_RGB_H_COL_LG.pn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7704138" y="6210315"/>
            <a:ext cx="1439862" cy="666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6" name="Rectangle 4"/>
          <p:cNvSpPr>
            <a:spLocks noGrp="1" noChangeArrowheads="1"/>
          </p:cNvSpPr>
          <p:nvPr>
            <p:ph type="ctrTitle" sz="quarter"/>
          </p:nvPr>
        </p:nvSpPr>
        <p:spPr bwMode="auto">
          <a:xfrm>
            <a:off x="1236043" y="2708974"/>
            <a:ext cx="6719888" cy="1328637"/>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normAutofit/>
          </a:bodyPr>
          <a:lstStyle>
            <a:lvl1pPr algn="ctr">
              <a:defRPr sz="3600" smtClean="0">
                <a:solidFill>
                  <a:schemeClr val="accent2"/>
                </a:solidFill>
                <a:latin typeface="Arial" pitchFamily="34" charset="0"/>
                <a:ea typeface="ＭＳ Ｐゴシック" pitchFamily="34" charset="-128"/>
                <a:cs typeface="Arial" pitchFamily="34" charset="0"/>
              </a:defRPr>
            </a:lvl1pPr>
          </a:lstStyle>
          <a:p>
            <a:pPr lvl="0"/>
            <a:r>
              <a:rPr lang="en-US" noProof="0"/>
              <a:t>Click to edit Master title style</a:t>
            </a:r>
            <a:endParaRPr lang="en-GB" noProof="0" dirty="0"/>
          </a:p>
        </p:txBody>
      </p:sp>
      <p:sp>
        <p:nvSpPr>
          <p:cNvPr id="23557" name="Rectangle 5"/>
          <p:cNvSpPr>
            <a:spLocks noGrp="1" noChangeArrowheads="1"/>
          </p:cNvSpPr>
          <p:nvPr>
            <p:ph type="subTitle" sz="quarter" idx="1"/>
          </p:nvPr>
        </p:nvSpPr>
        <p:spPr bwMode="auto">
          <a:xfrm>
            <a:off x="1236043" y="4210199"/>
            <a:ext cx="6719888" cy="1068387"/>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a:bodyPr>
          <a:lstStyle>
            <a:lvl1pPr marL="0" indent="0" algn="ctr">
              <a:buFont typeface="Arial" pitchFamily="34" charset="0"/>
              <a:buNone/>
              <a:defRPr sz="2500" smtClean="0">
                <a:solidFill>
                  <a:schemeClr val="accent1"/>
                </a:solidFill>
                <a:latin typeface="Arial" pitchFamily="34" charset="0"/>
                <a:ea typeface="ＭＳ Ｐゴシック" pitchFamily="34" charset="-128"/>
                <a:cs typeface="Arial" pitchFamily="34" charset="0"/>
              </a:defRPr>
            </a:lvl1pPr>
          </a:lstStyle>
          <a:p>
            <a:pPr lvl="0"/>
            <a:r>
              <a:rPr lang="en-US" noProof="0"/>
              <a:t>Click to edit Master subtitle style</a:t>
            </a:r>
            <a:endParaRPr lang="en-GB" noProof="0" dirty="0"/>
          </a:p>
        </p:txBody>
      </p:sp>
      <p:sp>
        <p:nvSpPr>
          <p:cNvPr id="5" name="Text Placeholder 5"/>
          <p:cNvSpPr>
            <a:spLocks noGrp="1"/>
          </p:cNvSpPr>
          <p:nvPr>
            <p:ph type="body" sz="quarter" idx="11"/>
          </p:nvPr>
        </p:nvSpPr>
        <p:spPr>
          <a:xfrm>
            <a:off x="1407256" y="5335367"/>
            <a:ext cx="6549122" cy="469900"/>
          </a:xfrm>
          <a:prstGeom prst="rect">
            <a:avLst/>
          </a:prstGeom>
        </p:spPr>
        <p:txBody>
          <a:bodyPr lIns="360000" tIns="0" bIns="0" anchor="b"/>
          <a:lstStyle>
            <a:lvl1pPr marL="0" indent="0" algn="ctr">
              <a:spcBef>
                <a:spcPts val="0"/>
              </a:spcBef>
              <a:buNone/>
              <a:defRPr lang="en-GB" sz="1200" kern="1200" baseline="0" dirty="0" smtClean="0">
                <a:solidFill>
                  <a:srgbClr val="58595B"/>
                </a:solidFill>
                <a:latin typeface="Avenir LT Std 55 Roman"/>
                <a:ea typeface="ＭＳ Ｐゴシック" charset="-128"/>
                <a:cs typeface="+mn-cs"/>
              </a:defRPr>
            </a:lvl1pPr>
            <a:lvl2pPr algn="r">
              <a:defRPr lang="en-GB" sz="1400" kern="1200" dirty="0" smtClean="0">
                <a:solidFill>
                  <a:srgbClr val="58595B"/>
                </a:solidFill>
                <a:latin typeface="Avenir LT Std 55 Roman"/>
                <a:ea typeface="ＭＳ Ｐゴシック" charset="-128"/>
                <a:cs typeface="+mn-cs"/>
              </a:defRPr>
            </a:lvl2pPr>
          </a:lstStyle>
          <a:p>
            <a:pPr lvl="0"/>
            <a:r>
              <a:rPr lang="en-US"/>
              <a:t>Click to edit Master text styles</a:t>
            </a:r>
          </a:p>
        </p:txBody>
      </p:sp>
      <p:sp>
        <p:nvSpPr>
          <p:cNvPr id="10" name="Slide Number Placeholder 5"/>
          <p:cNvSpPr>
            <a:spLocks noGrp="1"/>
          </p:cNvSpPr>
          <p:nvPr>
            <p:ph type="sldNum" sz="quarter" idx="12"/>
          </p:nvPr>
        </p:nvSpPr>
        <p:spPr>
          <a:xfrm>
            <a:off x="4386301" y="6562782"/>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FE62C718-35D5-4353-8346-71F0365BB025}" type="slidenum">
              <a:rPr lang="en-GB" b="0"/>
              <a:pPr>
                <a:defRPr/>
              </a:pPr>
              <a:t>‹#›</a:t>
            </a:fld>
            <a:endParaRPr lang="en-GB" b="0"/>
          </a:p>
        </p:txBody>
      </p:sp>
    </p:spTree>
    <p:extLst>
      <p:ext uri="{BB962C8B-B14F-4D97-AF65-F5344CB8AC3E}">
        <p14:creationId xmlns:p14="http://schemas.microsoft.com/office/powerpoint/2010/main" val="836698878"/>
      </p:ext>
    </p:extLst>
  </p:cSld>
  <p:clrMapOvr>
    <a:masterClrMapping/>
  </p:clrMapOvr>
  <p:transition spd="slow"/>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4" name="Picture 13"/>
          <p:cNvPicPr>
            <a:picLocks noChangeAspect="1"/>
          </p:cNvPicPr>
          <p:nvPr userDrawn="1"/>
        </p:nvPicPr>
        <p:blipFill>
          <a:blip r:embed="rId2" cstate="email">
            <a:extLst>
              <a:ext uri="{28A0092B-C50C-407E-A947-70E740481C1C}">
                <a14:useLocalDpi xmlns:a14="http://schemas.microsoft.com/office/drawing/2010/main" val="0"/>
              </a:ext>
            </a:extLst>
          </a:blip>
          <a:srcRect b="1430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C:\Users\inam\Desktop\SF\AZ_DIAB_RGB_H_COL_LG.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704138" y="6210315"/>
            <a:ext cx="1439862" cy="666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Z:\Clients\AZ-BMS\2014\5. Forxiga-Xigduo\3. Global projects\1. 360\786205172_Forxiga 2014 Speaker Training\4. Templates\Logo_19Aug14.pn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30185" y="5578489"/>
            <a:ext cx="2098675" cy="121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827586" y="1599676"/>
            <a:ext cx="7512448" cy="2701925"/>
          </a:xfrm>
          <a:prstGeom prst="rect">
            <a:avLst/>
          </a:prstGeom>
        </p:spPr>
        <p:txBody>
          <a:bodyPr anchor="ctr" anchorCtr="0">
            <a:normAutofit/>
          </a:bodyPr>
          <a:lstStyle>
            <a:lvl1pPr algn="ctr">
              <a:defRPr sz="3600"/>
            </a:lvl1pPr>
          </a:lstStyle>
          <a:p>
            <a:r>
              <a:rPr lang="en-US"/>
              <a:t>Click to edit Master title style</a:t>
            </a:r>
            <a:endParaRPr lang="en-GB" dirty="0"/>
          </a:p>
        </p:txBody>
      </p:sp>
      <p:sp>
        <p:nvSpPr>
          <p:cNvPr id="7" name="Text Placeholder 6"/>
          <p:cNvSpPr>
            <a:spLocks noGrp="1"/>
          </p:cNvSpPr>
          <p:nvPr>
            <p:ph type="body" sz="quarter" idx="10"/>
          </p:nvPr>
        </p:nvSpPr>
        <p:spPr>
          <a:xfrm>
            <a:off x="827586" y="4414450"/>
            <a:ext cx="7512448" cy="819377"/>
          </a:xfrm>
        </p:spPr>
        <p:txBody>
          <a:bodyPr>
            <a:normAutofit/>
          </a:bodyPr>
          <a:lstStyle>
            <a:lvl1pPr marL="0" indent="0" algn="ctr">
              <a:buNone/>
              <a:defRPr sz="2500">
                <a:solidFill>
                  <a:schemeClr val="accent2"/>
                </a:solidFill>
              </a:defRPr>
            </a:lvl1pPr>
          </a:lstStyle>
          <a:p>
            <a:pPr lvl="0"/>
            <a:r>
              <a:rPr lang="en-US"/>
              <a:t>Click to edit Master text styles</a:t>
            </a:r>
          </a:p>
        </p:txBody>
      </p:sp>
      <p:sp>
        <p:nvSpPr>
          <p:cNvPr id="8" name="Slide Number Placeholder 5"/>
          <p:cNvSpPr>
            <a:spLocks noGrp="1"/>
          </p:cNvSpPr>
          <p:nvPr>
            <p:ph type="sldNum" sz="quarter" idx="11"/>
          </p:nvPr>
        </p:nvSpPr>
        <p:spPr>
          <a:xfrm>
            <a:off x="4386301" y="6562782"/>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FF31889C-5E2E-498D-805C-C19B8162000D}" type="slidenum">
              <a:rPr lang="en-GB" b="0"/>
              <a:pPr>
                <a:defRPr/>
              </a:pPr>
              <a:t>‹#›</a:t>
            </a:fld>
            <a:endParaRPr lang="en-GB" b="0"/>
          </a:p>
        </p:txBody>
      </p:sp>
    </p:spTree>
    <p:extLst>
      <p:ext uri="{BB962C8B-B14F-4D97-AF65-F5344CB8AC3E}">
        <p14:creationId xmlns:p14="http://schemas.microsoft.com/office/powerpoint/2010/main" val="436312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cxnSp>
        <p:nvCxnSpPr>
          <p:cNvPr id="5" name="Straight Connector 4"/>
          <p:cNvCxnSpPr/>
          <p:nvPr userDrawn="1"/>
        </p:nvCxnSpPr>
        <p:spPr>
          <a:xfrm>
            <a:off x="509616"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515958" y="281024"/>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endParaRPr lang="en-US" dirty="0"/>
          </a:p>
        </p:txBody>
      </p:sp>
      <p:sp>
        <p:nvSpPr>
          <p:cNvPr id="3" name="Content Placeholder 2"/>
          <p:cNvSpPr>
            <a:spLocks noGrp="1"/>
          </p:cNvSpPr>
          <p:nvPr>
            <p:ph idx="1"/>
          </p:nvPr>
        </p:nvSpPr>
        <p:spPr>
          <a:xfrm>
            <a:off x="509036" y="1203325"/>
            <a:ext cx="8166652" cy="4601939"/>
          </a:xfrm>
          <a:prstGeom prst="rect">
            <a:avLst/>
          </a:prstGeom>
        </p:spPr>
        <p:txBody>
          <a:bodyPr>
            <a:normAutofit/>
          </a:bodyPr>
          <a:lstStyle>
            <a:lvl1pPr>
              <a:lnSpc>
                <a:spcPct val="100000"/>
              </a:lnSpc>
              <a:spcBef>
                <a:spcPts val="0"/>
              </a:spcBef>
              <a:spcAft>
                <a:spcPts val="600"/>
              </a:spcAft>
              <a:buClr>
                <a:schemeClr val="accent1"/>
              </a:buClr>
              <a:defRPr sz="1800">
                <a:solidFill>
                  <a:schemeClr val="tx1"/>
                </a:solidFill>
                <a:latin typeface="+mj-lt"/>
              </a:defRPr>
            </a:lvl1pPr>
            <a:lvl2pPr>
              <a:lnSpc>
                <a:spcPct val="100000"/>
              </a:lnSpc>
              <a:spcBef>
                <a:spcPts val="0"/>
              </a:spcBef>
              <a:spcAft>
                <a:spcPts val="600"/>
              </a:spcAft>
              <a:buClr>
                <a:schemeClr val="accent2"/>
              </a:buClr>
              <a:buFont typeface="Arial"/>
              <a:buChar char="•"/>
              <a:defRPr sz="1800">
                <a:solidFill>
                  <a:schemeClr val="tx1"/>
                </a:solidFill>
                <a:latin typeface="+mj-lt"/>
              </a:defRPr>
            </a:lvl2pPr>
            <a:lvl3pPr>
              <a:lnSpc>
                <a:spcPct val="100000"/>
              </a:lnSpc>
              <a:spcBef>
                <a:spcPts val="0"/>
              </a:spcBef>
              <a:spcAft>
                <a:spcPts val="600"/>
              </a:spcAft>
              <a:buClr>
                <a:schemeClr val="accent3"/>
              </a:buClr>
              <a:buFont typeface="Wingdings" charset="2"/>
              <a:buChar char="§"/>
              <a:defRPr sz="1800">
                <a:solidFill>
                  <a:schemeClr val="tx1"/>
                </a:solidFill>
                <a:latin typeface="+mj-lt"/>
              </a:defRPr>
            </a:lvl3pPr>
            <a:lvl4pPr>
              <a:lnSpc>
                <a:spcPct val="100000"/>
              </a:lnSpc>
              <a:spcBef>
                <a:spcPts val="0"/>
              </a:spcBef>
              <a:spcAft>
                <a:spcPts val="600"/>
              </a:spcAft>
              <a:buClr>
                <a:schemeClr val="accent1"/>
              </a:buClr>
              <a:buFont typeface="Wingdings" charset="2"/>
              <a:buChar char="§"/>
              <a:defRPr sz="1800">
                <a:solidFill>
                  <a:schemeClr val="tx1"/>
                </a:solidFill>
                <a:latin typeface="+mj-lt"/>
              </a:defRPr>
            </a:lvl4pPr>
            <a:lvl5pPr>
              <a:lnSpc>
                <a:spcPct val="100000"/>
              </a:lnSpc>
              <a:spcBef>
                <a:spcPts val="0"/>
              </a:spcBef>
              <a:spcAft>
                <a:spcPts val="600"/>
              </a:spcAft>
              <a:buClr>
                <a:schemeClr val="accent2"/>
              </a:buClr>
              <a:buFont typeface="Courier New"/>
              <a:buChar char="o"/>
              <a:defRPr sz="1800">
                <a:solidFill>
                  <a:schemeClr val="tx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0"/>
          </p:nvPr>
        </p:nvSpPr>
        <p:spPr>
          <a:xfrm>
            <a:off x="1043608" y="5876979"/>
            <a:ext cx="7632080" cy="504403"/>
          </a:xfrm>
        </p:spPr>
        <p:txBody>
          <a:bodyPr anchor="b">
            <a:noAutofit/>
          </a:bodyPr>
          <a:lstStyle>
            <a:lvl1pPr marL="0" indent="0">
              <a:spcAft>
                <a:spcPts val="0"/>
              </a:spcAft>
              <a:buNone/>
              <a:defRPr sz="800"/>
            </a:lvl1pPr>
          </a:lstStyle>
          <a:p>
            <a:pPr lvl="0"/>
            <a:r>
              <a:rPr lang="en-US" dirty="0"/>
              <a:t>Click to edit Master text styles</a:t>
            </a:r>
            <a:endParaRPr lang="en-GB" dirty="0"/>
          </a:p>
        </p:txBody>
      </p:sp>
      <p:sp>
        <p:nvSpPr>
          <p:cNvPr id="6" name="Slide Number Placeholder 5"/>
          <p:cNvSpPr>
            <a:spLocks noGrp="1"/>
          </p:cNvSpPr>
          <p:nvPr>
            <p:ph type="sldNum" sz="quarter" idx="11"/>
          </p:nvPr>
        </p:nvSpPr>
        <p:spPr>
          <a:xfrm>
            <a:off x="4386301" y="6562782"/>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C1CFBA41-3699-43E0-B235-264530B6FCAB}" type="slidenum">
              <a:rPr lang="en-GB" b="0"/>
              <a:pPr>
                <a:defRPr/>
              </a:pPr>
              <a:t>‹#›</a:t>
            </a:fld>
            <a:endParaRPr lang="en-GB" b="0"/>
          </a:p>
        </p:txBody>
      </p:sp>
    </p:spTree>
    <p:extLst>
      <p:ext uri="{BB962C8B-B14F-4D97-AF65-F5344CB8AC3E}">
        <p14:creationId xmlns:p14="http://schemas.microsoft.com/office/powerpoint/2010/main" val="5836466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4" name="TextBox 13"/>
          <p:cNvSpPr txBox="1">
            <a:spLocks noChangeArrowheads="1"/>
          </p:cNvSpPr>
          <p:nvPr userDrawn="1"/>
        </p:nvSpPr>
        <p:spPr bwMode="auto">
          <a:xfrm>
            <a:off x="666527" y="6072251"/>
            <a:ext cx="3417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buFont typeface="Arial" pitchFamily="34" charset="0"/>
              <a:buNone/>
              <a:defRPr/>
            </a:pPr>
            <a:fld id="{BF336DA0-FE85-4765-BE65-671C08D95488}" type="slidenum">
              <a:rPr lang="en-GB" sz="1000" b="0" smtClean="0">
                <a:solidFill>
                  <a:srgbClr val="FFFFFF"/>
                </a:solidFill>
              </a:rPr>
              <a:pPr algn="ctr" eaLnBrk="1" hangingPunct="1">
                <a:buFont typeface="Arial" pitchFamily="34" charset="0"/>
                <a:buNone/>
                <a:defRPr/>
              </a:pPr>
              <a:t>‹#›</a:t>
            </a:fld>
            <a:endParaRPr lang="en-GB" sz="1000" b="0">
              <a:solidFill>
                <a:srgbClr val="FFFFFF"/>
              </a:solidFill>
            </a:endParaRPr>
          </a:p>
        </p:txBody>
      </p:sp>
      <p:cxnSp>
        <p:nvCxnSpPr>
          <p:cNvPr id="5" name="Straight Connector 4"/>
          <p:cNvCxnSpPr/>
          <p:nvPr userDrawn="1"/>
        </p:nvCxnSpPr>
        <p:spPr>
          <a:xfrm>
            <a:off x="509616"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Text Placeholder 7"/>
          <p:cNvSpPr>
            <a:spLocks noGrp="1"/>
          </p:cNvSpPr>
          <p:nvPr>
            <p:ph type="body" sz="quarter" idx="10"/>
          </p:nvPr>
        </p:nvSpPr>
        <p:spPr>
          <a:xfrm>
            <a:off x="1043608" y="5876979"/>
            <a:ext cx="7632080" cy="504403"/>
          </a:xfrm>
        </p:spPr>
        <p:txBody>
          <a:bodyPr anchor="b">
            <a:noAutofit/>
          </a:bodyPr>
          <a:lstStyle>
            <a:lvl1pPr marL="0" indent="0">
              <a:buNone/>
              <a:defRPr sz="800"/>
            </a:lvl1pPr>
          </a:lstStyle>
          <a:p>
            <a:pPr lvl="0"/>
            <a:r>
              <a:rPr lang="en-US" dirty="0"/>
              <a:t>Click to edit Master text styles</a:t>
            </a:r>
            <a:endParaRPr lang="en-GB" dirty="0"/>
          </a:p>
        </p:txBody>
      </p:sp>
      <p:sp>
        <p:nvSpPr>
          <p:cNvPr id="8" name="Title 1"/>
          <p:cNvSpPr>
            <a:spLocks noGrp="1"/>
          </p:cNvSpPr>
          <p:nvPr>
            <p:ph type="title"/>
          </p:nvPr>
        </p:nvSpPr>
        <p:spPr>
          <a:xfrm>
            <a:off x="515958" y="281024"/>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r>
              <a:rPr lang="en-US"/>
              <a:t>Click to edit Master title style</a:t>
            </a:r>
            <a:endParaRPr lang="en-US" dirty="0"/>
          </a:p>
        </p:txBody>
      </p:sp>
      <p:sp>
        <p:nvSpPr>
          <p:cNvPr id="7" name="Slide Number Placeholder 5"/>
          <p:cNvSpPr>
            <a:spLocks noGrp="1"/>
          </p:cNvSpPr>
          <p:nvPr>
            <p:ph type="sldNum" sz="quarter" idx="11"/>
          </p:nvPr>
        </p:nvSpPr>
        <p:spPr>
          <a:xfrm>
            <a:off x="4386301" y="6562782"/>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8B7EC8E1-EB56-47E1-9DEF-6EEF1287415E}" type="slidenum">
              <a:rPr lang="en-GB" b="0"/>
              <a:pPr>
                <a:defRPr/>
              </a:pPr>
              <a:t>‹#›</a:t>
            </a:fld>
            <a:endParaRPr lang="en-GB" b="0"/>
          </a:p>
        </p:txBody>
      </p:sp>
    </p:spTree>
    <p:extLst>
      <p:ext uri="{BB962C8B-B14F-4D97-AF65-F5344CB8AC3E}">
        <p14:creationId xmlns:p14="http://schemas.microsoft.com/office/powerpoint/2010/main" val="3249614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cSld name="2_Title and Content">
    <p:spTree>
      <p:nvGrpSpPr>
        <p:cNvPr id="1" name=""/>
        <p:cNvGrpSpPr/>
        <p:nvPr/>
      </p:nvGrpSpPr>
      <p:grpSpPr>
        <a:xfrm>
          <a:off x="0" y="0"/>
          <a:ext cx="0" cy="0"/>
          <a:chOff x="0" y="0"/>
          <a:chExt cx="0" cy="0"/>
        </a:xfrm>
      </p:grpSpPr>
      <p:cxnSp>
        <p:nvCxnSpPr>
          <p:cNvPr id="4" name="Straight Connector 3"/>
          <p:cNvCxnSpPr/>
          <p:nvPr userDrawn="1"/>
        </p:nvCxnSpPr>
        <p:spPr>
          <a:xfrm>
            <a:off x="509588" y="1014413"/>
            <a:ext cx="8112125" cy="1587"/>
          </a:xfrm>
          <a:prstGeom prst="line">
            <a:avLst/>
          </a:prstGeom>
          <a:ln w="12700">
            <a:solidFill>
              <a:srgbClr val="E32727"/>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515938" y="280988"/>
            <a:ext cx="8112125" cy="690363"/>
          </a:xfrm>
          <a:prstGeom prst="rect">
            <a:avLst/>
          </a:prstGeom>
        </p:spPr>
        <p:txBody>
          <a:bodyPr lIns="0" tIns="0" rIns="0" bIns="0" anchor="b">
            <a:normAutofit/>
          </a:bodyPr>
          <a:lstStyle>
            <a:lvl1pPr algn="l">
              <a:defRPr sz="2400" baseline="0">
                <a:solidFill>
                  <a:srgbClr val="EF4135"/>
                </a:solidFill>
                <a:latin typeface="+mj-lt"/>
              </a:defRPr>
            </a:lvl1pPr>
          </a:lstStyle>
          <a:p>
            <a:r>
              <a:rPr lang="en-GB" dirty="0"/>
              <a:t>Click to edit Master title style</a:t>
            </a:r>
            <a:endParaRPr lang="en-US" dirty="0"/>
          </a:p>
        </p:txBody>
      </p:sp>
      <p:sp>
        <p:nvSpPr>
          <p:cNvPr id="3" name="Content Placeholder 2"/>
          <p:cNvSpPr>
            <a:spLocks noGrp="1"/>
          </p:cNvSpPr>
          <p:nvPr>
            <p:ph idx="1"/>
          </p:nvPr>
        </p:nvSpPr>
        <p:spPr>
          <a:xfrm>
            <a:off x="509036" y="1203325"/>
            <a:ext cx="8112125" cy="4662361"/>
          </a:xfrm>
          <a:prstGeom prst="rect">
            <a:avLst/>
          </a:prstGeom>
        </p:spPr>
        <p:txBody>
          <a:bodyPr lIns="0" tIns="45720" rIns="0" bIns="45720">
            <a:normAutofit/>
          </a:bodyPr>
          <a:lstStyle>
            <a:lvl1pPr>
              <a:lnSpc>
                <a:spcPct val="100000"/>
              </a:lnSpc>
              <a:spcBef>
                <a:spcPts val="0"/>
              </a:spcBef>
              <a:spcAft>
                <a:spcPts val="600"/>
              </a:spcAft>
              <a:buClr>
                <a:srgbClr val="E32727"/>
              </a:buClr>
              <a:defRPr sz="1800">
                <a:solidFill>
                  <a:srgbClr val="58595B"/>
                </a:solidFill>
                <a:latin typeface="+mj-lt"/>
              </a:defRPr>
            </a:lvl1pPr>
            <a:lvl2pPr>
              <a:lnSpc>
                <a:spcPct val="100000"/>
              </a:lnSpc>
              <a:spcBef>
                <a:spcPts val="0"/>
              </a:spcBef>
              <a:spcAft>
                <a:spcPts val="600"/>
              </a:spcAft>
              <a:buClr>
                <a:srgbClr val="0096DF"/>
              </a:buClr>
              <a:buFont typeface="Arial"/>
              <a:buChar char="•"/>
              <a:defRPr sz="1800">
                <a:solidFill>
                  <a:srgbClr val="58595B"/>
                </a:solidFill>
                <a:latin typeface="+mj-lt"/>
              </a:defRPr>
            </a:lvl2pPr>
            <a:lvl3pPr>
              <a:lnSpc>
                <a:spcPct val="100000"/>
              </a:lnSpc>
              <a:spcBef>
                <a:spcPts val="0"/>
              </a:spcBef>
              <a:spcAft>
                <a:spcPts val="600"/>
              </a:spcAft>
              <a:buClr>
                <a:srgbClr val="E32727"/>
              </a:buClr>
              <a:buFont typeface="Wingdings" charset="2"/>
              <a:buChar char="§"/>
              <a:defRPr sz="1800">
                <a:solidFill>
                  <a:srgbClr val="58595B"/>
                </a:solidFill>
                <a:latin typeface="+mj-lt"/>
              </a:defRPr>
            </a:lvl3pPr>
            <a:lvl4pPr>
              <a:lnSpc>
                <a:spcPct val="100000"/>
              </a:lnSpc>
              <a:spcBef>
                <a:spcPts val="0"/>
              </a:spcBef>
              <a:spcAft>
                <a:spcPts val="600"/>
              </a:spcAft>
              <a:buClr>
                <a:srgbClr val="0096DF"/>
              </a:buClr>
              <a:buFont typeface="Wingdings" charset="2"/>
              <a:buChar char="§"/>
              <a:defRPr sz="1800">
                <a:solidFill>
                  <a:srgbClr val="58595B"/>
                </a:solidFill>
                <a:latin typeface="+mj-lt"/>
              </a:defRPr>
            </a:lvl4pPr>
            <a:lvl5pPr>
              <a:lnSpc>
                <a:spcPct val="100000"/>
              </a:lnSpc>
              <a:spcBef>
                <a:spcPts val="0"/>
              </a:spcBef>
              <a:spcAft>
                <a:spcPts val="600"/>
              </a:spcAft>
              <a:buClrTx/>
              <a:buFont typeface="Courier New"/>
              <a:buChar char="o"/>
              <a:defRPr sz="1800">
                <a:solidFill>
                  <a:srgbClr val="58595B"/>
                </a:solidFill>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9301083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cxnSp>
        <p:nvCxnSpPr>
          <p:cNvPr id="6" name="Straight Connector 5"/>
          <p:cNvCxnSpPr/>
          <p:nvPr userDrawn="1"/>
        </p:nvCxnSpPr>
        <p:spPr>
          <a:xfrm>
            <a:off x="509616"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509616"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 name="Content Placeholder 2"/>
          <p:cNvSpPr>
            <a:spLocks noGrp="1"/>
          </p:cNvSpPr>
          <p:nvPr>
            <p:ph idx="1"/>
          </p:nvPr>
        </p:nvSpPr>
        <p:spPr>
          <a:xfrm>
            <a:off x="509042" y="1219200"/>
            <a:ext cx="3956839" cy="4586064"/>
          </a:xfrm>
        </p:spPr>
        <p:txBody>
          <a:bodyPr tIns="0" bIns="0"/>
          <a:lstStyle>
            <a:lvl1pPr>
              <a:lnSpc>
                <a:spcPct val="120000"/>
              </a:lnSpc>
              <a:spcBef>
                <a:spcPts val="0"/>
              </a:spcBef>
              <a:spcAft>
                <a:spcPts val="400"/>
              </a:spcAft>
              <a:buClr>
                <a:schemeClr val="accent1"/>
              </a:buClr>
              <a:defRPr sz="1600">
                <a:solidFill>
                  <a:schemeClr val="tx1"/>
                </a:solidFill>
                <a:latin typeface="Avenir LT Std 55 Roman"/>
              </a:defRPr>
            </a:lvl1pPr>
            <a:lvl2pPr>
              <a:lnSpc>
                <a:spcPct val="120000"/>
              </a:lnSpc>
              <a:spcBef>
                <a:spcPts val="0"/>
              </a:spcBef>
              <a:spcAft>
                <a:spcPts val="400"/>
              </a:spcAft>
              <a:buClr>
                <a:schemeClr val="accent2"/>
              </a:buClr>
              <a:buFont typeface="Arial"/>
              <a:buChar char="•"/>
              <a:defRPr sz="1600">
                <a:solidFill>
                  <a:schemeClr val="tx1"/>
                </a:solidFill>
                <a:latin typeface="Avenir LT Std 55 Roman"/>
              </a:defRPr>
            </a:lvl2pPr>
            <a:lvl3pPr>
              <a:lnSpc>
                <a:spcPct val="120000"/>
              </a:lnSpc>
              <a:spcBef>
                <a:spcPts val="0"/>
              </a:spcBef>
              <a:spcAft>
                <a:spcPts val="400"/>
              </a:spcAft>
              <a:buClr>
                <a:schemeClr val="accent3"/>
              </a:buClr>
              <a:buFont typeface="Wingdings" charset="2"/>
              <a:buChar char="§"/>
              <a:defRPr sz="1400">
                <a:solidFill>
                  <a:schemeClr val="tx1"/>
                </a:solidFill>
                <a:latin typeface="Avenir LT Std 55 Roman"/>
              </a:defRPr>
            </a:lvl3pPr>
            <a:lvl4pPr>
              <a:lnSpc>
                <a:spcPct val="120000"/>
              </a:lnSpc>
              <a:spcBef>
                <a:spcPts val="0"/>
              </a:spcBef>
              <a:spcAft>
                <a:spcPts val="400"/>
              </a:spcAft>
              <a:buClr>
                <a:schemeClr val="accent1"/>
              </a:buClr>
              <a:buFont typeface="Wingdings" charset="2"/>
              <a:buChar char="§"/>
              <a:defRPr sz="1400">
                <a:solidFill>
                  <a:schemeClr val="tx1"/>
                </a:solidFill>
                <a:latin typeface="Avenir LT Std 55 Roman"/>
              </a:defRPr>
            </a:lvl4pPr>
            <a:lvl5pPr>
              <a:lnSpc>
                <a:spcPct val="120000"/>
              </a:lnSpc>
              <a:spcBef>
                <a:spcPts val="0"/>
              </a:spcBef>
              <a:spcAft>
                <a:spcPts val="400"/>
              </a:spcAft>
              <a:buClr>
                <a:schemeClr val="accent2"/>
              </a:buClr>
              <a:buFont typeface="Courier New"/>
              <a:buChar char="o"/>
              <a:defRPr sz="1400">
                <a:solidFill>
                  <a:schemeClr val="tx1"/>
                </a:solidFill>
                <a:latin typeface="Avenir LT Std 55 Roman"/>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3"/>
          </p:nvPr>
        </p:nvSpPr>
        <p:spPr>
          <a:xfrm>
            <a:off x="4671233" y="1219200"/>
            <a:ext cx="3956839" cy="4586064"/>
          </a:xfrm>
        </p:spPr>
        <p:txBody>
          <a:bodyPr tIns="0" bIns="0"/>
          <a:lstStyle>
            <a:lvl1pPr>
              <a:lnSpc>
                <a:spcPct val="120000"/>
              </a:lnSpc>
              <a:spcBef>
                <a:spcPts val="0"/>
              </a:spcBef>
              <a:spcAft>
                <a:spcPts val="400"/>
              </a:spcAft>
              <a:buClr>
                <a:schemeClr val="accent1"/>
              </a:buClr>
              <a:defRPr sz="1600">
                <a:solidFill>
                  <a:schemeClr val="tx1"/>
                </a:solidFill>
                <a:latin typeface="Avenir LT Std 55 Roman"/>
              </a:defRPr>
            </a:lvl1pPr>
            <a:lvl2pPr>
              <a:lnSpc>
                <a:spcPct val="120000"/>
              </a:lnSpc>
              <a:spcBef>
                <a:spcPts val="0"/>
              </a:spcBef>
              <a:spcAft>
                <a:spcPts val="400"/>
              </a:spcAft>
              <a:buClr>
                <a:schemeClr val="accent2"/>
              </a:buClr>
              <a:buFont typeface="Arial"/>
              <a:buChar char="•"/>
              <a:defRPr sz="1600">
                <a:solidFill>
                  <a:schemeClr val="tx1"/>
                </a:solidFill>
                <a:latin typeface="Avenir LT Std 55 Roman"/>
              </a:defRPr>
            </a:lvl2pPr>
            <a:lvl3pPr>
              <a:lnSpc>
                <a:spcPct val="120000"/>
              </a:lnSpc>
              <a:spcBef>
                <a:spcPts val="0"/>
              </a:spcBef>
              <a:spcAft>
                <a:spcPts val="400"/>
              </a:spcAft>
              <a:buClr>
                <a:schemeClr val="accent3"/>
              </a:buClr>
              <a:buFont typeface="Wingdings" charset="2"/>
              <a:buChar char="§"/>
              <a:defRPr sz="1400">
                <a:solidFill>
                  <a:schemeClr val="tx1"/>
                </a:solidFill>
                <a:latin typeface="Avenir LT Std 55 Roman"/>
              </a:defRPr>
            </a:lvl3pPr>
            <a:lvl4pPr>
              <a:lnSpc>
                <a:spcPct val="120000"/>
              </a:lnSpc>
              <a:spcBef>
                <a:spcPts val="0"/>
              </a:spcBef>
              <a:spcAft>
                <a:spcPts val="400"/>
              </a:spcAft>
              <a:buClr>
                <a:schemeClr val="accent1"/>
              </a:buClr>
              <a:buFont typeface="Wingdings" charset="2"/>
              <a:buChar char="§"/>
              <a:defRPr sz="1400">
                <a:solidFill>
                  <a:schemeClr val="tx1"/>
                </a:solidFill>
                <a:latin typeface="Avenir LT Std 55 Roman"/>
              </a:defRPr>
            </a:lvl4pPr>
            <a:lvl5pPr>
              <a:lnSpc>
                <a:spcPct val="120000"/>
              </a:lnSpc>
              <a:spcBef>
                <a:spcPts val="0"/>
              </a:spcBef>
              <a:spcAft>
                <a:spcPts val="400"/>
              </a:spcAft>
              <a:buClr>
                <a:schemeClr val="accent2"/>
              </a:buClr>
              <a:buFont typeface="Courier New"/>
              <a:buChar char="o"/>
              <a:defRPr sz="1400">
                <a:solidFill>
                  <a:schemeClr val="tx1"/>
                </a:solidFill>
                <a:latin typeface="Avenir LT Std 55 Roman"/>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0"/>
          </p:nvPr>
        </p:nvSpPr>
        <p:spPr>
          <a:xfrm>
            <a:off x="1043612" y="5876979"/>
            <a:ext cx="7578105" cy="504403"/>
          </a:xfrm>
        </p:spPr>
        <p:txBody>
          <a:bodyPr anchor="b">
            <a:noAutofit/>
          </a:bodyPr>
          <a:lstStyle>
            <a:lvl1pPr marL="0" indent="0">
              <a:buNone/>
              <a:defRPr sz="800"/>
            </a:lvl1pPr>
          </a:lstStyle>
          <a:p>
            <a:pPr lvl="0"/>
            <a:r>
              <a:rPr lang="en-US" dirty="0"/>
              <a:t>Click to edit Master text styles</a:t>
            </a:r>
            <a:endParaRPr lang="en-GB" dirty="0"/>
          </a:p>
        </p:txBody>
      </p:sp>
      <p:sp>
        <p:nvSpPr>
          <p:cNvPr id="13" name="Title 1"/>
          <p:cNvSpPr>
            <a:spLocks noGrp="1"/>
          </p:cNvSpPr>
          <p:nvPr>
            <p:ph type="title"/>
          </p:nvPr>
        </p:nvSpPr>
        <p:spPr>
          <a:xfrm>
            <a:off x="515958" y="281024"/>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r>
              <a:rPr lang="en-US"/>
              <a:t>Click to edit Master title style</a:t>
            </a:r>
            <a:endParaRPr lang="en-US" dirty="0"/>
          </a:p>
        </p:txBody>
      </p:sp>
      <p:sp>
        <p:nvSpPr>
          <p:cNvPr id="10" name="Slide Number Placeholder 5"/>
          <p:cNvSpPr>
            <a:spLocks noGrp="1"/>
          </p:cNvSpPr>
          <p:nvPr>
            <p:ph type="sldNum" sz="quarter" idx="14"/>
          </p:nvPr>
        </p:nvSpPr>
        <p:spPr>
          <a:xfrm>
            <a:off x="4386301" y="6562782"/>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724B9A12-1DC8-49C5-A0AB-A3CE154710FA}" type="slidenum">
              <a:rPr lang="en-GB" b="0"/>
              <a:pPr>
                <a:defRPr/>
              </a:pPr>
              <a:t>‹#›</a:t>
            </a:fld>
            <a:endParaRPr lang="en-GB" b="0"/>
          </a:p>
        </p:txBody>
      </p:sp>
    </p:spTree>
    <p:extLst>
      <p:ext uri="{BB962C8B-B14F-4D97-AF65-F5344CB8AC3E}">
        <p14:creationId xmlns:p14="http://schemas.microsoft.com/office/powerpoint/2010/main" val="9429127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cxnSp>
        <p:nvCxnSpPr>
          <p:cNvPr id="10" name="Straight Connector 9"/>
          <p:cNvCxnSpPr/>
          <p:nvPr userDrawn="1"/>
        </p:nvCxnSpPr>
        <p:spPr>
          <a:xfrm>
            <a:off x="509616"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509616"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 name="Content Placeholder 2"/>
          <p:cNvSpPr>
            <a:spLocks noGrp="1"/>
          </p:cNvSpPr>
          <p:nvPr>
            <p:ph idx="1"/>
          </p:nvPr>
        </p:nvSpPr>
        <p:spPr>
          <a:xfrm>
            <a:off x="509042" y="1844824"/>
            <a:ext cx="3956839" cy="3960440"/>
          </a:xfrm>
        </p:spPr>
        <p:txBody>
          <a:bodyPr tIns="0" bIns="0"/>
          <a:lstStyle>
            <a:lvl1pPr>
              <a:lnSpc>
                <a:spcPct val="120000"/>
              </a:lnSpc>
              <a:spcBef>
                <a:spcPts val="0"/>
              </a:spcBef>
              <a:spcAft>
                <a:spcPts val="400"/>
              </a:spcAft>
              <a:buClr>
                <a:schemeClr val="accent1"/>
              </a:buClr>
              <a:defRPr sz="1600">
                <a:solidFill>
                  <a:schemeClr val="tx1"/>
                </a:solidFill>
                <a:latin typeface="Avenir LT Std 55 Roman"/>
              </a:defRPr>
            </a:lvl1pPr>
            <a:lvl2pPr>
              <a:lnSpc>
                <a:spcPct val="120000"/>
              </a:lnSpc>
              <a:spcBef>
                <a:spcPts val="0"/>
              </a:spcBef>
              <a:spcAft>
                <a:spcPts val="400"/>
              </a:spcAft>
              <a:buClr>
                <a:schemeClr val="accent2"/>
              </a:buClr>
              <a:buFont typeface="Arial"/>
              <a:buChar char="•"/>
              <a:defRPr sz="1600">
                <a:solidFill>
                  <a:schemeClr val="tx1"/>
                </a:solidFill>
                <a:latin typeface="Avenir LT Std 55 Roman"/>
              </a:defRPr>
            </a:lvl2pPr>
            <a:lvl3pPr>
              <a:lnSpc>
                <a:spcPct val="120000"/>
              </a:lnSpc>
              <a:spcBef>
                <a:spcPts val="0"/>
              </a:spcBef>
              <a:spcAft>
                <a:spcPts val="400"/>
              </a:spcAft>
              <a:buClr>
                <a:schemeClr val="accent3"/>
              </a:buClr>
              <a:buFont typeface="Wingdings" charset="2"/>
              <a:buChar char="§"/>
              <a:defRPr sz="1400">
                <a:solidFill>
                  <a:schemeClr val="tx1"/>
                </a:solidFill>
                <a:latin typeface="Avenir LT Std 55 Roman"/>
              </a:defRPr>
            </a:lvl3pPr>
            <a:lvl4pPr>
              <a:lnSpc>
                <a:spcPct val="120000"/>
              </a:lnSpc>
              <a:spcBef>
                <a:spcPts val="0"/>
              </a:spcBef>
              <a:spcAft>
                <a:spcPts val="400"/>
              </a:spcAft>
              <a:buClr>
                <a:schemeClr val="accent1"/>
              </a:buClr>
              <a:buFont typeface="Wingdings" charset="2"/>
              <a:buChar char="§"/>
              <a:defRPr sz="1400">
                <a:solidFill>
                  <a:schemeClr val="tx1"/>
                </a:solidFill>
                <a:latin typeface="Avenir LT Std 55 Roman"/>
              </a:defRPr>
            </a:lvl4pPr>
            <a:lvl5pPr>
              <a:lnSpc>
                <a:spcPct val="120000"/>
              </a:lnSpc>
              <a:spcBef>
                <a:spcPts val="0"/>
              </a:spcBef>
              <a:spcAft>
                <a:spcPts val="400"/>
              </a:spcAft>
              <a:buClr>
                <a:schemeClr val="accent2"/>
              </a:buClr>
              <a:buFont typeface="Courier New"/>
              <a:buChar char="o"/>
              <a:defRPr sz="1400">
                <a:solidFill>
                  <a:schemeClr val="tx1"/>
                </a:solidFill>
                <a:latin typeface="Avenir LT Std 55 Roman"/>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3"/>
          </p:nvPr>
        </p:nvSpPr>
        <p:spPr>
          <a:xfrm>
            <a:off x="4671233" y="1844824"/>
            <a:ext cx="3956839" cy="3960440"/>
          </a:xfrm>
        </p:spPr>
        <p:txBody>
          <a:bodyPr tIns="0" bIns="0"/>
          <a:lstStyle>
            <a:lvl1pPr>
              <a:lnSpc>
                <a:spcPct val="120000"/>
              </a:lnSpc>
              <a:spcBef>
                <a:spcPts val="0"/>
              </a:spcBef>
              <a:spcAft>
                <a:spcPts val="400"/>
              </a:spcAft>
              <a:buClr>
                <a:schemeClr val="accent1"/>
              </a:buClr>
              <a:defRPr sz="1600">
                <a:solidFill>
                  <a:schemeClr val="tx1"/>
                </a:solidFill>
                <a:latin typeface="Avenir LT Std 55 Roman"/>
              </a:defRPr>
            </a:lvl1pPr>
            <a:lvl2pPr>
              <a:lnSpc>
                <a:spcPct val="120000"/>
              </a:lnSpc>
              <a:spcBef>
                <a:spcPts val="0"/>
              </a:spcBef>
              <a:spcAft>
                <a:spcPts val="400"/>
              </a:spcAft>
              <a:buClr>
                <a:schemeClr val="accent2"/>
              </a:buClr>
              <a:buFont typeface="Arial"/>
              <a:buChar char="•"/>
              <a:defRPr sz="1600">
                <a:solidFill>
                  <a:schemeClr val="tx1"/>
                </a:solidFill>
                <a:latin typeface="Avenir LT Std 55 Roman"/>
              </a:defRPr>
            </a:lvl2pPr>
            <a:lvl3pPr>
              <a:lnSpc>
                <a:spcPct val="120000"/>
              </a:lnSpc>
              <a:spcBef>
                <a:spcPts val="0"/>
              </a:spcBef>
              <a:spcAft>
                <a:spcPts val="400"/>
              </a:spcAft>
              <a:buClr>
                <a:schemeClr val="accent3"/>
              </a:buClr>
              <a:buFont typeface="Wingdings" charset="2"/>
              <a:buChar char="§"/>
              <a:defRPr sz="1400">
                <a:solidFill>
                  <a:schemeClr val="tx1"/>
                </a:solidFill>
                <a:latin typeface="Avenir LT Std 55 Roman"/>
              </a:defRPr>
            </a:lvl3pPr>
            <a:lvl4pPr>
              <a:lnSpc>
                <a:spcPct val="120000"/>
              </a:lnSpc>
              <a:spcBef>
                <a:spcPts val="0"/>
              </a:spcBef>
              <a:spcAft>
                <a:spcPts val="400"/>
              </a:spcAft>
              <a:buClr>
                <a:schemeClr val="accent1"/>
              </a:buClr>
              <a:buFont typeface="Wingdings" charset="2"/>
              <a:buChar char="§"/>
              <a:defRPr sz="1400">
                <a:solidFill>
                  <a:schemeClr val="tx1"/>
                </a:solidFill>
                <a:latin typeface="Avenir LT Std 55 Roman"/>
              </a:defRPr>
            </a:lvl4pPr>
            <a:lvl5pPr>
              <a:lnSpc>
                <a:spcPct val="120000"/>
              </a:lnSpc>
              <a:spcBef>
                <a:spcPts val="0"/>
              </a:spcBef>
              <a:spcAft>
                <a:spcPts val="400"/>
              </a:spcAft>
              <a:buClr>
                <a:schemeClr val="accent2"/>
              </a:buClr>
              <a:buFont typeface="Courier New"/>
              <a:buChar char="o"/>
              <a:defRPr sz="1400">
                <a:solidFill>
                  <a:schemeClr val="tx1"/>
                </a:solidFill>
                <a:latin typeface="Avenir LT Std 55 Roman"/>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4"/>
          </p:nvPr>
        </p:nvSpPr>
        <p:spPr>
          <a:xfrm>
            <a:off x="509588" y="1196989"/>
            <a:ext cx="3956400" cy="503239"/>
          </a:xfrm>
        </p:spPr>
        <p:txBody>
          <a:bodyPr/>
          <a:lstStyle>
            <a:lvl1pPr marL="0" indent="0">
              <a:buNone/>
              <a:defRPr b="1">
                <a:solidFill>
                  <a:schemeClr val="accent2"/>
                </a:solidFill>
              </a:defRPr>
            </a:lvl1pPr>
          </a:lstStyle>
          <a:p>
            <a:pPr lvl="0"/>
            <a:r>
              <a:rPr lang="en-US"/>
              <a:t>Click to edit Master text styles</a:t>
            </a:r>
          </a:p>
        </p:txBody>
      </p:sp>
      <p:sp>
        <p:nvSpPr>
          <p:cNvPr id="11" name="Text Placeholder 3"/>
          <p:cNvSpPr>
            <a:spLocks noGrp="1"/>
          </p:cNvSpPr>
          <p:nvPr>
            <p:ph type="body" sz="quarter" idx="15"/>
          </p:nvPr>
        </p:nvSpPr>
        <p:spPr>
          <a:xfrm>
            <a:off x="4671901" y="1196767"/>
            <a:ext cx="3956400" cy="503239"/>
          </a:xfrm>
        </p:spPr>
        <p:txBody>
          <a:bodyPr/>
          <a:lstStyle>
            <a:lvl1pPr marL="0" indent="0">
              <a:buNone/>
              <a:defRPr b="1">
                <a:solidFill>
                  <a:schemeClr val="accent2"/>
                </a:solidFill>
              </a:defRPr>
            </a:lvl1pPr>
          </a:lstStyle>
          <a:p>
            <a:pPr lvl="0"/>
            <a:r>
              <a:rPr lang="en-US"/>
              <a:t>Click to edit Master text styles</a:t>
            </a:r>
          </a:p>
        </p:txBody>
      </p:sp>
      <p:sp>
        <p:nvSpPr>
          <p:cNvPr id="12" name="Text Placeholder 7"/>
          <p:cNvSpPr>
            <a:spLocks noGrp="1"/>
          </p:cNvSpPr>
          <p:nvPr>
            <p:ph type="body" sz="quarter" idx="10"/>
          </p:nvPr>
        </p:nvSpPr>
        <p:spPr>
          <a:xfrm>
            <a:off x="1043612" y="5876979"/>
            <a:ext cx="7578105" cy="504403"/>
          </a:xfrm>
        </p:spPr>
        <p:txBody>
          <a:bodyPr anchor="b">
            <a:noAutofit/>
          </a:bodyPr>
          <a:lstStyle>
            <a:lvl1pPr marL="0" indent="0">
              <a:buNone/>
              <a:defRPr sz="800"/>
            </a:lvl1pPr>
          </a:lstStyle>
          <a:p>
            <a:pPr lvl="0"/>
            <a:r>
              <a:rPr lang="en-US" dirty="0"/>
              <a:t>Click to edit Master text styles</a:t>
            </a:r>
            <a:endParaRPr lang="en-GB" dirty="0"/>
          </a:p>
        </p:txBody>
      </p:sp>
      <p:sp>
        <p:nvSpPr>
          <p:cNvPr id="14" name="Title 1"/>
          <p:cNvSpPr>
            <a:spLocks noGrp="1"/>
          </p:cNvSpPr>
          <p:nvPr>
            <p:ph type="title"/>
          </p:nvPr>
        </p:nvSpPr>
        <p:spPr>
          <a:xfrm>
            <a:off x="515958" y="281024"/>
            <a:ext cx="8112125" cy="690363"/>
          </a:xfrm>
          <a:prstGeom prst="rect">
            <a:avLst/>
          </a:prstGeom>
        </p:spPr>
        <p:txBody>
          <a:bodyPr lIns="0" tIns="0" rIns="0" bIns="0" anchor="b">
            <a:normAutofit/>
          </a:bodyPr>
          <a:lstStyle>
            <a:lvl1pPr algn="l">
              <a:defRPr sz="2400" baseline="0">
                <a:solidFill>
                  <a:schemeClr val="accent1"/>
                </a:solidFill>
                <a:latin typeface="+mj-lt"/>
              </a:defRPr>
            </a:lvl1pPr>
          </a:lstStyle>
          <a:p>
            <a:r>
              <a:rPr lang="en-US"/>
              <a:t>Click to edit Master title style</a:t>
            </a:r>
            <a:endParaRPr lang="en-US" dirty="0"/>
          </a:p>
        </p:txBody>
      </p:sp>
      <p:sp>
        <p:nvSpPr>
          <p:cNvPr id="15" name="Slide Number Placeholder 5"/>
          <p:cNvSpPr>
            <a:spLocks noGrp="1"/>
          </p:cNvSpPr>
          <p:nvPr>
            <p:ph type="sldNum" sz="quarter" idx="16"/>
          </p:nvPr>
        </p:nvSpPr>
        <p:spPr>
          <a:xfrm>
            <a:off x="4386301" y="6562782"/>
            <a:ext cx="371475" cy="365125"/>
          </a:xfrm>
          <a:prstGeom prst="rect">
            <a:avLst/>
          </a:prstGeom>
        </p:spPr>
        <p:txBody>
          <a:bodyPr vert="horz" lIns="91440" tIns="45720" rIns="91440" bIns="45720" rtlCol="0" anchor="ctr"/>
          <a:lstStyle>
            <a:lvl1pPr algn="r" defTabSz="914400" fontAlgn="auto">
              <a:spcBef>
                <a:spcPts val="0"/>
              </a:spcBef>
              <a:spcAft>
                <a:spcPts val="0"/>
              </a:spcAft>
              <a:defRPr sz="1050">
                <a:solidFill>
                  <a:prstClr val="black">
                    <a:tint val="75000"/>
                  </a:prstClr>
                </a:solidFill>
                <a:latin typeface=""/>
                <a:ea typeface="ＭＳ Ｐゴシック"/>
              </a:defRPr>
            </a:lvl1pPr>
          </a:lstStyle>
          <a:p>
            <a:pPr>
              <a:defRPr/>
            </a:pPr>
            <a:fld id="{145B9D23-82D9-416B-B1DD-D9229E22BF5A}" type="slidenum">
              <a:rPr lang="en-GB" b="0"/>
              <a:pPr>
                <a:defRPr/>
              </a:pPr>
              <a:t>‹#›</a:t>
            </a:fld>
            <a:endParaRPr lang="en-GB" b="0"/>
          </a:p>
        </p:txBody>
      </p:sp>
    </p:spTree>
    <p:extLst>
      <p:ext uri="{BB962C8B-B14F-4D97-AF65-F5344CB8AC3E}">
        <p14:creationId xmlns:p14="http://schemas.microsoft.com/office/powerpoint/2010/main" val="1365204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Introduction">
    <p:spTree>
      <p:nvGrpSpPr>
        <p:cNvPr id="1" name=""/>
        <p:cNvGrpSpPr/>
        <p:nvPr/>
      </p:nvGrpSpPr>
      <p:grpSpPr>
        <a:xfrm>
          <a:off x="0" y="0"/>
          <a:ext cx="0" cy="0"/>
          <a:chOff x="0" y="0"/>
          <a:chExt cx="0" cy="0"/>
        </a:xfrm>
      </p:grpSpPr>
      <p:sp>
        <p:nvSpPr>
          <p:cNvPr id="2" name="Title 1"/>
          <p:cNvSpPr>
            <a:spLocks noGrp="1"/>
          </p:cNvSpPr>
          <p:nvPr>
            <p:ph type="title"/>
          </p:nvPr>
        </p:nvSpPr>
        <p:spPr>
          <a:xfrm>
            <a:off x="309566" y="274648"/>
            <a:ext cx="8415337" cy="511175"/>
          </a:xfrm>
          <a:prstGeom prst="rect">
            <a:avLst/>
          </a:prstGeom>
        </p:spPr>
        <p:txBody>
          <a:bodyPr/>
          <a:lstStyle/>
          <a:p>
            <a:r>
              <a:rPr lang="en-US"/>
              <a:t>Click to edit Master title style</a:t>
            </a:r>
            <a:endParaRPr lang="en-GB" dirty="0"/>
          </a:p>
        </p:txBody>
      </p:sp>
      <p:sp>
        <p:nvSpPr>
          <p:cNvPr id="7" name="Text Placeholder 6"/>
          <p:cNvSpPr>
            <a:spLocks noGrp="1"/>
          </p:cNvSpPr>
          <p:nvPr>
            <p:ph type="body" sz="quarter" idx="12"/>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a:t>Click to edit Master text styles</a:t>
            </a:r>
          </a:p>
        </p:txBody>
      </p:sp>
      <p:sp>
        <p:nvSpPr>
          <p:cNvPr id="9" name="Text Placeholder 8"/>
          <p:cNvSpPr>
            <a:spLocks noGrp="1"/>
          </p:cNvSpPr>
          <p:nvPr>
            <p:ph type="body" sz="quarter" idx="13"/>
          </p:nvPr>
        </p:nvSpPr>
        <p:spPr>
          <a:xfrm>
            <a:off x="309599" y="1536703"/>
            <a:ext cx="8439114" cy="4330700"/>
          </a:xfrm>
        </p:spPr>
        <p:txBody>
          <a:bodyPr/>
          <a:lstStyle>
            <a:lvl1pPr marL="342900" indent="-342900">
              <a:spcBef>
                <a:spcPts val="1200"/>
              </a:spcBef>
              <a:buFont typeface="Arial" panose="020B0604020202020204" pitchFamily="34" charset="0"/>
              <a:buChar char="•"/>
              <a:defRPr sz="2400" b="0">
                <a:solidFill>
                  <a:schemeClr val="accent2"/>
                </a:solidFill>
                <a:latin typeface="Arial" pitchFamily="34" charset="0"/>
                <a:cs typeface="Arial" pitchFamily="34" charset="0"/>
              </a:defRPr>
            </a:lvl1pPr>
            <a:lvl2pPr marL="622300" indent="-266700">
              <a:defRPr sz="2000">
                <a:solidFill>
                  <a:schemeClr val="accent2"/>
                </a:solidFill>
              </a:defRPr>
            </a:lvl2pPr>
            <a:lvl3pPr marL="901700" indent="-177800">
              <a:defRPr sz="1800">
                <a:solidFill>
                  <a:schemeClr val="accent2"/>
                </a:solidFill>
              </a:defRPr>
            </a:lvl3pPr>
            <a:lvl4pPr marL="901700" indent="-177800">
              <a:defRPr sz="1800">
                <a:solidFill>
                  <a:schemeClr val="accent2"/>
                </a:solidFill>
              </a:defRPr>
            </a:lvl4pPr>
            <a:lvl5pPr marL="901700" indent="-177800">
              <a:defRPr sz="1800">
                <a:solidFill>
                  <a:schemeClr val="accent2"/>
                </a:solidFill>
              </a:defRPr>
            </a:lvl5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dirty="0"/>
          </a:p>
        </p:txBody>
      </p:sp>
      <p:sp>
        <p:nvSpPr>
          <p:cNvPr id="5" name="Rectangle 6"/>
          <p:cNvSpPr>
            <a:spLocks noGrp="1" noChangeArrowheads="1"/>
          </p:cNvSpPr>
          <p:nvPr>
            <p:ph type="sldNum" sz="quarter" idx="14"/>
          </p:nvPr>
        </p:nvSpPr>
        <p:spPr>
          <a:xfrm>
            <a:off x="107953" y="6354784"/>
            <a:ext cx="466725" cy="358775"/>
          </a:xfrm>
          <a:prstGeom prst="rect">
            <a:avLst/>
          </a:prstGeom>
          <a:ln/>
        </p:spPr>
        <p:txBody>
          <a:bodyPr/>
          <a:lstStyle>
            <a:lvl1pPr>
              <a:defRPr/>
            </a:lvl1pPr>
          </a:lstStyle>
          <a:p>
            <a:pPr defTabSz="457200">
              <a:defRPr/>
            </a:pPr>
            <a:fld id="{C8687D6F-1A8A-4BBD-9042-932E2EE4EC0A}" type="slidenum">
              <a:rPr lang="en-GB" sz="1800" b="0">
                <a:solidFill>
                  <a:prstClr val="black"/>
                </a:solidFill>
                <a:latin typeface="Arial" pitchFamily="34" charset="0"/>
                <a:ea typeface="ＭＳ Ｐゴシック" pitchFamily="34" charset="-128"/>
              </a:rPr>
              <a:pPr defTabSz="457200">
                <a:defRPr/>
              </a:pPr>
              <a:t>‹#›</a:t>
            </a:fld>
            <a:endParaRPr lang="en-GB" sz="1800" b="0" dirty="0">
              <a:solidFill>
                <a:prstClr val="black"/>
              </a:solidFill>
              <a:latin typeface="Arial" pitchFamily="34" charset="0"/>
              <a:ea typeface="ＭＳ Ｐゴシック" pitchFamily="34" charset="-128"/>
            </a:endParaRPr>
          </a:p>
        </p:txBody>
      </p:sp>
    </p:spTree>
    <p:extLst>
      <p:ext uri="{BB962C8B-B14F-4D97-AF65-F5344CB8AC3E}">
        <p14:creationId xmlns:p14="http://schemas.microsoft.com/office/powerpoint/2010/main" val="41303267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7"/>
          <p:cNvSpPr>
            <a:spLocks noGrp="1" noChangeArrowheads="1"/>
          </p:cNvSpPr>
          <p:nvPr>
            <p:ph type="ftr" sz="quarter" idx="10"/>
          </p:nvPr>
        </p:nvSpPr>
        <p:spPr>
          <a:xfrm>
            <a:off x="609600" y="6624643"/>
            <a:ext cx="7924800" cy="476251"/>
          </a:xfrm>
          <a:prstGeom prst="rect">
            <a:avLst/>
          </a:prstGeom>
        </p:spPr>
        <p:txBody>
          <a:bodyPr/>
          <a:lstStyle>
            <a:lvl1pPr>
              <a:defRPr/>
            </a:lvl1pPr>
          </a:lstStyle>
          <a:p>
            <a:pPr>
              <a:defRPr/>
            </a:pPr>
            <a:r>
              <a:rPr lang="en-US" sz="1800" b="0">
                <a:solidFill>
                  <a:prstClr val="black"/>
                </a:solidFill>
                <a:ea typeface="ＭＳ Ｐゴシック"/>
              </a:rPr>
              <a:t>Strictly Confidential. Proprietary information of Novartis. For internal use ONLY. March 2010. GAL10.497. Novartis. </a:t>
            </a:r>
          </a:p>
        </p:txBody>
      </p:sp>
      <p:sp>
        <p:nvSpPr>
          <p:cNvPr id="3" name="Rectangle 8"/>
          <p:cNvSpPr>
            <a:spLocks noGrp="1" noChangeArrowheads="1"/>
          </p:cNvSpPr>
          <p:nvPr>
            <p:ph type="sldNum" sz="quarter" idx="11"/>
          </p:nvPr>
        </p:nvSpPr>
        <p:spPr>
          <a:xfrm>
            <a:off x="6831013" y="6624643"/>
            <a:ext cx="2133600" cy="476251"/>
          </a:xfrm>
          <a:prstGeom prst="rect">
            <a:avLst/>
          </a:prstGeom>
        </p:spPr>
        <p:txBody>
          <a:bodyPr/>
          <a:lstStyle>
            <a:lvl1pPr>
              <a:defRPr/>
            </a:lvl1pPr>
          </a:lstStyle>
          <a:p>
            <a:pPr>
              <a:defRPr/>
            </a:pPr>
            <a:fld id="{8C3F1263-DEC1-4161-86E1-A95D4281C91F}" type="slidenum">
              <a:rPr lang="en-US" sz="1800" b="0">
                <a:solidFill>
                  <a:prstClr val="black"/>
                </a:solidFill>
                <a:ea typeface="ＭＳ Ｐゴシック"/>
              </a:rPr>
              <a:pPr>
                <a:defRPr/>
              </a:pPr>
              <a:t>‹#›</a:t>
            </a:fld>
            <a:endParaRPr lang="en-US" sz="1800" b="0">
              <a:solidFill>
                <a:prstClr val="black"/>
              </a:solidFill>
              <a:ea typeface="ＭＳ Ｐゴシック"/>
            </a:endParaRPr>
          </a:p>
        </p:txBody>
      </p:sp>
    </p:spTree>
    <p:extLst>
      <p:ext uri="{BB962C8B-B14F-4D97-AF65-F5344CB8AC3E}">
        <p14:creationId xmlns:p14="http://schemas.microsoft.com/office/powerpoint/2010/main" val="2961938846"/>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RI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pic>
        <p:nvPicPr>
          <p:cNvPr id="2" name="Picture 1" descr="Eosinophil_NK_Cell_10K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3835404"/>
            <a:ext cx="8856000" cy="2834219"/>
          </a:xfrm>
          <a:prstGeom prst="rect">
            <a:avLst/>
          </a:prstGeom>
        </p:spPr>
      </p:pic>
      <p:sp>
        <p:nvSpPr>
          <p:cNvPr id="10"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6981861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Oncolog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3835404"/>
            <a:ext cx="8856000" cy="2834219"/>
          </a:xfrm>
          <a:prstGeom prst="rect">
            <a:avLst/>
          </a:prstGeom>
        </p:spPr>
      </p:pic>
      <p:sp>
        <p:nvSpPr>
          <p:cNvPr id="10"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5306711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VMD">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pic>
        <p:nvPicPr>
          <p:cNvPr id="2" name="Picture 1" descr="CR_Science image_f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2822" y="3835404"/>
            <a:ext cx="8850368" cy="2834219"/>
          </a:xfrm>
          <a:prstGeom prst="rect">
            <a:avLst/>
          </a:prstGeom>
        </p:spPr>
      </p:pic>
      <p:sp>
        <p:nvSpPr>
          <p:cNvPr id="10"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4828908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tDN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pic>
        <p:nvPicPr>
          <p:cNvPr id="3" name="Picture 2" descr="DNA_Inside_Blood_Vessel_10K_AD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3835404"/>
            <a:ext cx="8856000" cy="2834219"/>
          </a:xfrm>
          <a:prstGeom prst="rect">
            <a:avLst/>
          </a:prstGeom>
        </p:spPr>
      </p:pic>
      <p:sp>
        <p:nvSpPr>
          <p:cNvPr id="10"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5661640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scovery Sciences">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pic>
        <p:nvPicPr>
          <p:cNvPr id="2" name="Picture 1" descr="CRISPR_technology_for_genome_editing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3835404"/>
            <a:ext cx="8856000" cy="2834219"/>
          </a:xfrm>
          <a:prstGeom prst="rect">
            <a:avLst/>
          </a:prstGeom>
        </p:spPr>
      </p:pic>
      <p:sp>
        <p:nvSpPr>
          <p:cNvPr id="10"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0008162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Neuro">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pic>
        <p:nvPicPr>
          <p:cNvPr id="10" name="Picture Placeholder 13" descr="AZ1383_screen rotate.jp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144006" y="3833957"/>
            <a:ext cx="8855075" cy="2844000"/>
          </a:xfrm>
          <a:prstGeom prst="rect">
            <a:avLst/>
          </a:prstGeom>
        </p:spPr>
      </p:pic>
      <p:sp>
        <p:nvSpPr>
          <p:cNvPr id="16"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769341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ew Intro">
    <p:spTree>
      <p:nvGrpSpPr>
        <p:cNvPr id="1" name=""/>
        <p:cNvGrpSpPr/>
        <p:nvPr/>
      </p:nvGrpSpPr>
      <p:grpSpPr>
        <a:xfrm>
          <a:off x="0" y="0"/>
          <a:ext cx="0" cy="0"/>
          <a:chOff x="0" y="0"/>
          <a:chExt cx="0" cy="0"/>
        </a:xfrm>
      </p:grpSpPr>
      <p:sp>
        <p:nvSpPr>
          <p:cNvPr id="11" name="Text Placeholder 3"/>
          <p:cNvSpPr>
            <a:spLocks noGrp="1"/>
          </p:cNvSpPr>
          <p:nvPr>
            <p:ph type="body" sz="quarter" idx="11" hasCustomPrompt="1"/>
          </p:nvPr>
        </p:nvSpPr>
        <p:spPr>
          <a:xfrm>
            <a:off x="237063" y="1600106"/>
            <a:ext cx="7023713" cy="4229521"/>
          </a:xfrm>
          <a:prstGeom prst="rect">
            <a:avLst/>
          </a:prstGeom>
        </p:spPr>
        <p:txBody>
          <a:bodyPr vert="horz"/>
          <a:lstStyle>
            <a:lvl1pPr marL="0" indent="0">
              <a:spcBef>
                <a:spcPts val="0"/>
              </a:spcBef>
              <a:buClr>
                <a:srgbClr val="830051"/>
              </a:buClr>
              <a:buFont typeface="Arial" pitchFamily="34" charset="0"/>
              <a:buNone/>
              <a:defRPr sz="2400" baseline="0">
                <a:solidFill>
                  <a:schemeClr val="tx1"/>
                </a:solidFill>
                <a:latin typeface="Arial" pitchFamily="34" charset="0"/>
                <a:cs typeface="Arial"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
        <p:nvSpPr>
          <p:cNvPr id="12" name="Title 8"/>
          <p:cNvSpPr>
            <a:spLocks noGrp="1"/>
          </p:cNvSpPr>
          <p:nvPr>
            <p:ph type="title" hasCustomPrompt="1"/>
          </p:nvPr>
        </p:nvSpPr>
        <p:spPr>
          <a:xfrm>
            <a:off x="237065" y="188913"/>
            <a:ext cx="8765651" cy="414000"/>
          </a:xfrm>
          <a:prstGeom prst="rect">
            <a:avLst/>
          </a:prstGeom>
        </p:spPr>
        <p:txBody>
          <a:bodyPr vert="horz"/>
          <a:lstStyle>
            <a:lvl1pPr algn="l">
              <a:lnSpc>
                <a:spcPts val="3000"/>
              </a:lnSpc>
              <a:defRPr sz="2400" b="1" baseline="0">
                <a:solidFill>
                  <a:schemeClr val="tx2"/>
                </a:solidFill>
                <a:latin typeface="Arial" pitchFamily="34" charset="0"/>
                <a:cs typeface="Arial" pitchFamily="34" charset="0"/>
              </a:defRPr>
            </a:lvl1pPr>
          </a:lstStyle>
          <a:p>
            <a:r>
              <a:rPr lang="en-GB" noProof="0" dirty="0"/>
              <a:t>Click to add master title</a:t>
            </a:r>
          </a:p>
        </p:txBody>
      </p:sp>
      <p:sp>
        <p:nvSpPr>
          <p:cNvPr id="15" name="Rectangle 14"/>
          <p:cNvSpPr/>
          <p:nvPr userDrawn="1"/>
        </p:nvSpPr>
        <p:spPr>
          <a:xfrm>
            <a:off x="8424350" y="262471"/>
            <a:ext cx="516467" cy="5757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pPr defTabSz="457200" fontAlgn="auto">
              <a:spcBef>
                <a:spcPts val="0"/>
              </a:spcBef>
              <a:spcAft>
                <a:spcPts val="0"/>
              </a:spcAft>
            </a:pPr>
            <a:fld id="{3C4F54F3-C349-4609-AFEE-01462D5C7942}" type="slidenum">
              <a:rPr lang="en-GB" smtClean="0">
                <a:solidFill>
                  <a:srgbClr val="000000"/>
                </a:solidFill>
                <a:ea typeface="+mn-ea"/>
              </a:rPr>
              <a:pPr defTabSz="457200" fontAlgn="auto">
                <a:spcBef>
                  <a:spcPts val="0"/>
                </a:spcBef>
                <a:spcAft>
                  <a:spcPts val="0"/>
                </a:spcAft>
              </a:pPr>
              <a:t>‹#›</a:t>
            </a:fld>
            <a:endParaRPr lang="en-GB" dirty="0">
              <a:solidFill>
                <a:srgbClr val="000000"/>
              </a:solidFill>
              <a:ea typeface="+mn-ea"/>
            </a:endParaRPr>
          </a:p>
        </p:txBody>
      </p:sp>
    </p:spTree>
    <p:extLst>
      <p:ext uri="{BB962C8B-B14F-4D97-AF65-F5344CB8AC3E}">
        <p14:creationId xmlns:p14="http://schemas.microsoft.com/office/powerpoint/2010/main" val="448237357"/>
      </p:ext>
    </p:extLst>
  </p:cSld>
  <p:clrMapOvr>
    <a:masterClrMapping/>
  </p:clrMapOvr>
  <p:extLst mod="1">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Infec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3837286"/>
            <a:ext cx="8853082" cy="2837619"/>
          </a:xfrm>
          <a:prstGeom prst="rect">
            <a:avLst/>
          </a:prstGeom>
        </p:spPr>
      </p:pic>
      <p:sp>
        <p:nvSpPr>
          <p:cNvPr id="13"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sp>
        <p:nvSpPr>
          <p:cNvPr id="9"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84430988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UK Scientist">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pic>
        <p:nvPicPr>
          <p:cNvPr id="10" name="Picture Placeholder 23" descr="AZ138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6" y="3833957"/>
            <a:ext cx="8855075" cy="2844000"/>
          </a:xfrm>
          <a:prstGeom prst="rect">
            <a:avLst/>
          </a:prstGeom>
        </p:spPr>
      </p:pic>
      <p:sp>
        <p:nvSpPr>
          <p:cNvPr id="16"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4136240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cientist Examining Placenta">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pic>
        <p:nvPicPr>
          <p:cNvPr id="9" name="Picture Placeholder 3" descr="AZ142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6" y="3833957"/>
            <a:ext cx="8855075" cy="2844000"/>
          </a:xfrm>
          <a:prstGeom prst="rect">
            <a:avLst/>
          </a:prstGeom>
        </p:spPr>
      </p:pic>
      <p:sp>
        <p:nvSpPr>
          <p:cNvPr id="16"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6043205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ross-Section of Cell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pic>
        <p:nvPicPr>
          <p:cNvPr id="9" name="Picture Placeholder 7" descr="AZ1466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6" y="3833957"/>
            <a:ext cx="8855075" cy="2844000"/>
          </a:xfrm>
          <a:prstGeom prst="rect">
            <a:avLst/>
          </a:prstGeom>
        </p:spPr>
      </p:pic>
      <p:sp>
        <p:nvSpPr>
          <p:cNvPr id="16"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0582451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iabete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sp>
        <p:nvSpPr>
          <p:cNvPr id="16"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pic>
        <p:nvPicPr>
          <p:cNvPr id="2" name="Picture 1" descr="Diabetes.jp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46050" y="3835400"/>
            <a:ext cx="8856000" cy="2836333"/>
          </a:xfrm>
          <a:prstGeom prst="rect">
            <a:avLst/>
          </a:prstGeom>
        </p:spPr>
      </p:pic>
    </p:spTree>
    <p:extLst>
      <p:ext uri="{BB962C8B-B14F-4D97-AF65-F5344CB8AC3E}">
        <p14:creationId xmlns:p14="http://schemas.microsoft.com/office/powerpoint/2010/main" val="16650739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RIA TLR9">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sp>
        <p:nvSpPr>
          <p:cNvPr id="16" name="Text Placeholder 29"/>
          <p:cNvSpPr>
            <a:spLocks noGrp="1"/>
          </p:cNvSpPr>
          <p:nvPr>
            <p:ph type="body" sz="quarter" idx="11" hasCustomPrompt="1"/>
          </p:nvPr>
        </p:nvSpPr>
        <p:spPr>
          <a:xfrm>
            <a:off x="215999" y="32022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34772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32022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34772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pic>
        <p:nvPicPr>
          <p:cNvPr id="10" name="Picture 9" descr="TLR9_Endosome_and_Receptor_RGB LR.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0" y="3837531"/>
            <a:ext cx="8856000" cy="2834217"/>
          </a:xfrm>
          <a:prstGeom prst="rect">
            <a:avLst/>
          </a:prstGeom>
        </p:spPr>
      </p:pic>
    </p:spTree>
    <p:extLst>
      <p:ext uri="{BB962C8B-B14F-4D97-AF65-F5344CB8AC3E}">
        <p14:creationId xmlns:p14="http://schemas.microsoft.com/office/powerpoint/2010/main" val="375066537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lide Title Only">
    <p:spTree>
      <p:nvGrpSpPr>
        <p:cNvPr id="1" name=""/>
        <p:cNvGrpSpPr/>
        <p:nvPr/>
      </p:nvGrpSpPr>
      <p:grpSpPr>
        <a:xfrm>
          <a:off x="0" y="0"/>
          <a:ext cx="0" cy="0"/>
          <a:chOff x="0" y="0"/>
          <a:chExt cx="0" cy="0"/>
        </a:xfrm>
      </p:grpSpPr>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42426"/>
            <a:ext cx="1998000" cy="879972"/>
          </a:xfrm>
          <a:prstGeom prst="rect">
            <a:avLst/>
          </a:prstGeom>
        </p:spPr>
      </p:pic>
      <p:sp>
        <p:nvSpPr>
          <p:cNvPr id="8" name="Title 8"/>
          <p:cNvSpPr>
            <a:spLocks noGrp="1"/>
          </p:cNvSpPr>
          <p:nvPr>
            <p:ph type="title" hasCustomPrompt="1"/>
          </p:nvPr>
        </p:nvSpPr>
        <p:spPr>
          <a:xfrm>
            <a:off x="216004" y="1442243"/>
            <a:ext cx="6822759" cy="672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5945400"/>
            <a:ext cx="6480000" cy="2544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3" name="Text Placeholder 29"/>
          <p:cNvSpPr>
            <a:spLocks noGrp="1"/>
          </p:cNvSpPr>
          <p:nvPr>
            <p:ph type="body" sz="quarter" idx="12" hasCustomPrompt="1"/>
          </p:nvPr>
        </p:nvSpPr>
        <p:spPr>
          <a:xfrm>
            <a:off x="215999" y="6220400"/>
            <a:ext cx="6480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6" name="Text Placeholder 29"/>
          <p:cNvSpPr>
            <a:spLocks noGrp="1"/>
          </p:cNvSpPr>
          <p:nvPr>
            <p:ph type="body" sz="quarter" idx="15" hasCustomPrompt="1"/>
          </p:nvPr>
        </p:nvSpPr>
        <p:spPr>
          <a:xfrm>
            <a:off x="7128000" y="5945400"/>
            <a:ext cx="1872000" cy="2544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7" name="Text Placeholder 29"/>
          <p:cNvSpPr>
            <a:spLocks noGrp="1"/>
          </p:cNvSpPr>
          <p:nvPr>
            <p:ph type="body" sz="quarter" idx="13" hasCustomPrompt="1"/>
          </p:nvPr>
        </p:nvSpPr>
        <p:spPr>
          <a:xfrm>
            <a:off x="7128000" y="6220400"/>
            <a:ext cx="1872000" cy="2544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95903733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ACBFB23B-7375-43F1-8A3C-9C488CB5742F}" type="datetime1">
              <a:rPr lang="en-US" smtClean="0">
                <a:solidFill>
                  <a:srgbClr val="000000">
                    <a:tint val="75000"/>
                  </a:srgbClr>
                </a:solidFill>
              </a:rPr>
              <a:pPr/>
              <a:t>1/29/2019</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hasCustomPrompt="1"/>
          </p:nvPr>
        </p:nvSpPr>
        <p:spPr>
          <a:xfrm>
            <a:off x="342900" y="5851603"/>
            <a:ext cx="73914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Reference(s)</a:t>
            </a:r>
          </a:p>
        </p:txBody>
      </p:sp>
      <p:sp>
        <p:nvSpPr>
          <p:cNvPr id="3" name="Content Placeholder 2"/>
          <p:cNvSpPr>
            <a:spLocks noGrp="1"/>
          </p:cNvSpPr>
          <p:nvPr>
            <p:ph idx="1"/>
          </p:nvPr>
        </p:nvSpPr>
        <p:spPr>
          <a:xfrm>
            <a:off x="342900" y="1261872"/>
            <a:ext cx="845820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8913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59B6F60-6BE1-460A-8247-78F044DA0E76}" type="datetime1">
              <a:rPr lang="en-US" smtClean="0">
                <a:solidFill>
                  <a:srgbClr val="000000">
                    <a:tint val="75000"/>
                  </a:srgbClr>
                </a:solidFill>
              </a:rPr>
              <a:pPr/>
              <a:t>1/29/2019</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287508556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Rectangle 14"/>
          <p:cNvSpPr/>
          <p:nvPr userDrawn="1"/>
        </p:nvSpPr>
        <p:spPr>
          <a:xfrm>
            <a:off x="7464398" y="6532643"/>
            <a:ext cx="1607475" cy="332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7" name="Rectangle 6"/>
          <p:cNvSpPr/>
          <p:nvPr userDrawn="1"/>
        </p:nvSpPr>
        <p:spPr>
          <a:xfrm>
            <a:off x="145125" y="3878271"/>
            <a:ext cx="8856000" cy="2836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dirty="0">
              <a:solidFill>
                <a:srgbClr val="FFFFFF"/>
              </a:solidFill>
            </a:endParaRPr>
          </a:p>
        </p:txBody>
      </p:sp>
      <p:sp>
        <p:nvSpPr>
          <p:cNvPr id="8" name="Rectangle 7"/>
          <p:cNvSpPr/>
          <p:nvPr userDrawn="1"/>
        </p:nvSpPr>
        <p:spPr>
          <a:xfrm>
            <a:off x="145125" y="3771907"/>
            <a:ext cx="8856000" cy="1063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9" name="TextBox 8"/>
          <p:cNvSpPr txBox="1"/>
          <p:nvPr userDrawn="1"/>
        </p:nvSpPr>
        <p:spPr>
          <a:xfrm>
            <a:off x="7592037" y="6453529"/>
            <a:ext cx="1409088" cy="246221"/>
          </a:xfrm>
          <a:prstGeom prst="rect">
            <a:avLst/>
          </a:prstGeom>
          <a:noFill/>
        </p:spPr>
        <p:txBody>
          <a:bodyPr wrap="square" rtlCol="0">
            <a:spAutoFit/>
          </a:bodyPr>
          <a:lstStyle/>
          <a:p>
            <a:pPr algn="r" fontAlgn="auto">
              <a:spcBef>
                <a:spcPts val="0"/>
              </a:spcBef>
              <a:spcAft>
                <a:spcPts val="0"/>
              </a:spcAft>
            </a:pPr>
            <a:r>
              <a:rPr lang="en-US" sz="1000" b="0" dirty="0">
                <a:solidFill>
                  <a:srgbClr val="FFFFFF"/>
                </a:solidFill>
                <a:latin typeface="Arial"/>
                <a:cs typeface="Arial" pitchFamily="34" charset="0"/>
              </a:rPr>
              <a:t>© AstraZeneca 2017</a:t>
            </a:r>
          </a:p>
        </p:txBody>
      </p:sp>
      <p:pic>
        <p:nvPicPr>
          <p:cNvPr id="10" name="Picture 9">
            <a:hlinkClick r:id="rId2" action="ppaction://hlinksldjump"/>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12324" y="5715007"/>
            <a:ext cx="567956" cy="653803"/>
          </a:xfrm>
          <a:prstGeom prst="rect">
            <a:avLst/>
          </a:prstGeom>
        </p:spPr>
      </p:pic>
      <p:sp>
        <p:nvSpPr>
          <p:cNvPr id="2" name="Title 1"/>
          <p:cNvSpPr>
            <a:spLocks noGrp="1"/>
          </p:cNvSpPr>
          <p:nvPr>
            <p:ph type="ctrTitle"/>
          </p:nvPr>
        </p:nvSpPr>
        <p:spPr>
          <a:xfrm>
            <a:off x="342900" y="1279207"/>
            <a:ext cx="8458200" cy="1828800"/>
          </a:xfrm>
        </p:spPr>
        <p:txBody>
          <a:bodyPr anchor="t" anchorCtr="0">
            <a:normAutofit/>
          </a:bodyPr>
          <a:lstStyle>
            <a:lvl1pPr algn="l">
              <a:defRPr sz="3600">
                <a:solidFill>
                  <a:schemeClr val="tx2"/>
                </a:solidFill>
              </a:defRPr>
            </a:lvl1pPr>
          </a:lstStyle>
          <a:p>
            <a:r>
              <a:rPr lang="en-US" dirty="0"/>
              <a:t>Click to edit Master title style</a:t>
            </a:r>
          </a:p>
        </p:txBody>
      </p:sp>
      <p:sp>
        <p:nvSpPr>
          <p:cNvPr id="14" name="Rectangle 13"/>
          <p:cNvSpPr/>
          <p:nvPr userDrawn="1"/>
        </p:nvSpPr>
        <p:spPr>
          <a:xfrm>
            <a:off x="145126"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3" name="Subtitle 2"/>
          <p:cNvSpPr>
            <a:spLocks noGrp="1"/>
          </p:cNvSpPr>
          <p:nvPr>
            <p:ph type="subTitle" idx="1"/>
          </p:nvPr>
        </p:nvSpPr>
        <p:spPr>
          <a:xfrm>
            <a:off x="342900" y="4267200"/>
            <a:ext cx="8458200" cy="1371600"/>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
        <p:nvSpPr>
          <p:cNvPr id="11" name="Text Placeholder 10"/>
          <p:cNvSpPr>
            <a:spLocks noGrp="1"/>
          </p:cNvSpPr>
          <p:nvPr>
            <p:ph type="body" sz="quarter" idx="10" hasCustomPrompt="1"/>
          </p:nvPr>
        </p:nvSpPr>
        <p:spPr>
          <a:xfrm>
            <a:off x="342900" y="5626107"/>
            <a:ext cx="7391400" cy="871539"/>
          </a:xfrm>
        </p:spPr>
        <p:txBody>
          <a:bodyPr anchor="b">
            <a:noAutofit/>
          </a:bodyPr>
          <a:lstStyle>
            <a:lvl1pPr marL="0" indent="0">
              <a:spcBef>
                <a:spcPts val="300"/>
              </a:spcBef>
              <a:buNone/>
              <a:defRPr sz="1000">
                <a:solidFill>
                  <a:schemeClr val="bg1"/>
                </a:solidFill>
              </a:defRPr>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797077128"/>
      </p:ext>
    </p:extLst>
  </p:cSld>
  <p:clrMapOvr>
    <a:masterClrMapping/>
  </p:clrMapOvr>
  <p:extLst mod="1">
    <p:ext uri="{DCECCB84-F9BA-43D5-87BE-67443E8EF086}">
      <p15:sldGuideLst xmlns:p15="http://schemas.microsoft.com/office/powerpoint/2012/main">
        <p15:guide id="1" orient="horz" pos="26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22" name="Table Placeholder 29"/>
          <p:cNvSpPr>
            <a:spLocks noGrp="1"/>
          </p:cNvSpPr>
          <p:nvPr>
            <p:ph type="tbl" sz="quarter" idx="15"/>
          </p:nvPr>
        </p:nvSpPr>
        <p:spPr>
          <a:xfrm>
            <a:off x="987429" y="1731133"/>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3" name="Text Placeholder 2"/>
          <p:cNvSpPr>
            <a:spLocks noGrp="1"/>
          </p:cNvSpPr>
          <p:nvPr>
            <p:ph type="body" sz="quarter" idx="14"/>
          </p:nvPr>
        </p:nvSpPr>
        <p:spPr>
          <a:xfrm>
            <a:off x="1046700" y="1879896"/>
            <a:ext cx="5718173" cy="394199"/>
          </a:xfrm>
          <a:prstGeom prst="rect">
            <a:avLst/>
          </a:prstGeom>
        </p:spPr>
        <p:txBody>
          <a:bodyPr vert="horz"/>
          <a:lstStyle>
            <a:lvl1pPr marL="0" indent="0">
              <a:lnSpc>
                <a:spcPct val="60000"/>
              </a:lnSpc>
              <a:buNone/>
              <a:defRPr sz="20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4" name="Text Placeholder 49"/>
          <p:cNvSpPr>
            <a:spLocks noGrp="1"/>
          </p:cNvSpPr>
          <p:nvPr>
            <p:ph type="body" sz="quarter" idx="26" hasCustomPrompt="1"/>
          </p:nvPr>
        </p:nvSpPr>
        <p:spPr>
          <a:xfrm>
            <a:off x="330200" y="1731600"/>
            <a:ext cx="540000" cy="540000"/>
          </a:xfrm>
          <a:prstGeom prst="rect">
            <a:avLst/>
          </a:prstGeom>
          <a:solidFill>
            <a:srgbClr val="D8DCDE"/>
          </a:solidFill>
          <a:ln w="19050" cmpd="sng">
            <a:noFill/>
          </a:ln>
        </p:spPr>
        <p:txBody>
          <a:bodyPr vert="horz" anchor="ctr"/>
          <a:lstStyle>
            <a:lvl1pPr marL="0" indent="0" algn="ctr">
              <a:lnSpc>
                <a:spcPts val="2800"/>
              </a:lnSpc>
              <a:spcBef>
                <a:spcPts val="600"/>
              </a:spcBef>
              <a:buNone/>
              <a:defRPr sz="2400" b="1">
                <a:solidFill>
                  <a:schemeClr val="tx2"/>
                </a:solidFill>
                <a:latin typeface="Arial" pitchFamily="34" charset="0"/>
                <a:cs typeface="Arial" pitchFamily="34" charset="0"/>
              </a:defRPr>
            </a:lvl1pPr>
          </a:lstStyle>
          <a:p>
            <a:pPr lvl="0"/>
            <a:r>
              <a:rPr lang="en-GB" noProof="0" dirty="0"/>
              <a:t>1</a:t>
            </a:r>
          </a:p>
        </p:txBody>
      </p:sp>
      <p:sp>
        <p:nvSpPr>
          <p:cNvPr id="25" name="Table Placeholder 29"/>
          <p:cNvSpPr>
            <a:spLocks noGrp="1"/>
          </p:cNvSpPr>
          <p:nvPr>
            <p:ph type="tbl" sz="quarter" idx="27"/>
          </p:nvPr>
        </p:nvSpPr>
        <p:spPr>
          <a:xfrm>
            <a:off x="987429" y="240348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700" y="2552256"/>
            <a:ext cx="5718173"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1" name="Text Placeholder 49"/>
          <p:cNvSpPr>
            <a:spLocks noGrp="1"/>
          </p:cNvSpPr>
          <p:nvPr>
            <p:ph type="body" sz="quarter" idx="29" hasCustomPrompt="1"/>
          </p:nvPr>
        </p:nvSpPr>
        <p:spPr>
          <a:xfrm>
            <a:off x="330200" y="2403956"/>
            <a:ext cx="540000" cy="540000"/>
          </a:xfrm>
          <a:prstGeom prst="rect">
            <a:avLst/>
          </a:prstGeom>
          <a:solidFill>
            <a:schemeClr val="accent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2</a:t>
            </a:r>
          </a:p>
        </p:txBody>
      </p:sp>
      <p:sp>
        <p:nvSpPr>
          <p:cNvPr id="32" name="Table Placeholder 29"/>
          <p:cNvSpPr>
            <a:spLocks noGrp="1"/>
          </p:cNvSpPr>
          <p:nvPr>
            <p:ph type="tbl" sz="quarter" idx="30"/>
          </p:nvPr>
        </p:nvSpPr>
        <p:spPr>
          <a:xfrm>
            <a:off x="987429" y="3082231"/>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3" name="Text Placeholder 2"/>
          <p:cNvSpPr>
            <a:spLocks noGrp="1"/>
          </p:cNvSpPr>
          <p:nvPr>
            <p:ph type="body" sz="quarter" idx="31"/>
          </p:nvPr>
        </p:nvSpPr>
        <p:spPr>
          <a:xfrm>
            <a:off x="1046700" y="3230997"/>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4" name="Text Placeholder 49"/>
          <p:cNvSpPr>
            <a:spLocks noGrp="1"/>
          </p:cNvSpPr>
          <p:nvPr>
            <p:ph type="body" sz="quarter" idx="32" hasCustomPrompt="1"/>
          </p:nvPr>
        </p:nvSpPr>
        <p:spPr>
          <a:xfrm>
            <a:off x="330200" y="3082699"/>
            <a:ext cx="540000" cy="540000"/>
          </a:xfrm>
          <a:prstGeom prst="rect">
            <a:avLst/>
          </a:prstGeom>
          <a:solidFill>
            <a:schemeClr val="accent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3</a:t>
            </a:r>
          </a:p>
        </p:txBody>
      </p:sp>
      <p:sp>
        <p:nvSpPr>
          <p:cNvPr id="35" name="Table Placeholder 29"/>
          <p:cNvSpPr>
            <a:spLocks noGrp="1"/>
          </p:cNvSpPr>
          <p:nvPr>
            <p:ph type="tbl" sz="quarter" idx="33"/>
          </p:nvPr>
        </p:nvSpPr>
        <p:spPr>
          <a:xfrm>
            <a:off x="987429" y="3763175"/>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6" name="Text Placeholder 2"/>
          <p:cNvSpPr>
            <a:spLocks noGrp="1"/>
          </p:cNvSpPr>
          <p:nvPr>
            <p:ph type="body" sz="quarter" idx="34"/>
          </p:nvPr>
        </p:nvSpPr>
        <p:spPr>
          <a:xfrm>
            <a:off x="1046700" y="3911936"/>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7" name="Text Placeholder 49"/>
          <p:cNvSpPr>
            <a:spLocks noGrp="1"/>
          </p:cNvSpPr>
          <p:nvPr>
            <p:ph type="body" sz="quarter" idx="35" hasCustomPrompt="1"/>
          </p:nvPr>
        </p:nvSpPr>
        <p:spPr>
          <a:xfrm>
            <a:off x="330200" y="3763643"/>
            <a:ext cx="540000" cy="540000"/>
          </a:xfrm>
          <a:prstGeom prst="rect">
            <a:avLst/>
          </a:prstGeom>
          <a:solidFill>
            <a:schemeClr val="accent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4</a:t>
            </a:r>
          </a:p>
        </p:txBody>
      </p:sp>
      <p:sp>
        <p:nvSpPr>
          <p:cNvPr id="38" name="Table Placeholder 29"/>
          <p:cNvSpPr>
            <a:spLocks noGrp="1"/>
          </p:cNvSpPr>
          <p:nvPr>
            <p:ph type="tbl" sz="quarter" idx="36"/>
          </p:nvPr>
        </p:nvSpPr>
        <p:spPr>
          <a:xfrm>
            <a:off x="987429" y="4440879"/>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9" name="Text Placeholder 2"/>
          <p:cNvSpPr>
            <a:spLocks noGrp="1"/>
          </p:cNvSpPr>
          <p:nvPr>
            <p:ph type="body" sz="quarter" idx="37"/>
          </p:nvPr>
        </p:nvSpPr>
        <p:spPr>
          <a:xfrm>
            <a:off x="1046700" y="4589644"/>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0" name="Text Placeholder 49"/>
          <p:cNvSpPr>
            <a:spLocks noGrp="1"/>
          </p:cNvSpPr>
          <p:nvPr>
            <p:ph type="body" sz="quarter" idx="38" hasCustomPrompt="1"/>
          </p:nvPr>
        </p:nvSpPr>
        <p:spPr>
          <a:xfrm>
            <a:off x="330200" y="4441345"/>
            <a:ext cx="540000" cy="540000"/>
          </a:xfrm>
          <a:prstGeom prst="rect">
            <a:avLst/>
          </a:prstGeom>
          <a:solidFill>
            <a:schemeClr val="accent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5</a:t>
            </a:r>
          </a:p>
        </p:txBody>
      </p:sp>
      <p:sp>
        <p:nvSpPr>
          <p:cNvPr id="41" name="Table Placeholder 29"/>
          <p:cNvSpPr>
            <a:spLocks noGrp="1"/>
          </p:cNvSpPr>
          <p:nvPr>
            <p:ph type="tbl" sz="quarter" idx="39"/>
          </p:nvPr>
        </p:nvSpPr>
        <p:spPr>
          <a:xfrm>
            <a:off x="987429" y="5129167"/>
            <a:ext cx="5976000" cy="540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2" name="Text Placeholder 2"/>
          <p:cNvSpPr>
            <a:spLocks noGrp="1"/>
          </p:cNvSpPr>
          <p:nvPr>
            <p:ph type="body" sz="quarter" idx="40"/>
          </p:nvPr>
        </p:nvSpPr>
        <p:spPr>
          <a:xfrm>
            <a:off x="1046700" y="5277933"/>
            <a:ext cx="5718173"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3" name="Text Placeholder 49"/>
          <p:cNvSpPr>
            <a:spLocks noGrp="1"/>
          </p:cNvSpPr>
          <p:nvPr>
            <p:ph type="body" sz="quarter" idx="41" hasCustomPrompt="1"/>
          </p:nvPr>
        </p:nvSpPr>
        <p:spPr>
          <a:xfrm>
            <a:off x="330200" y="5129635"/>
            <a:ext cx="540000" cy="540000"/>
          </a:xfrm>
          <a:prstGeom prst="rect">
            <a:avLst/>
          </a:prstGeom>
          <a:solidFill>
            <a:schemeClr val="accent1"/>
          </a:solidFill>
          <a:ln w="19050" cmpd="sng">
            <a:noFill/>
          </a:ln>
        </p:spPr>
        <p:txBody>
          <a:bodyPr vert="horz" anchor="ctr"/>
          <a:lstStyle>
            <a:lvl1pPr marL="0" indent="0" algn="ctr">
              <a:lnSpc>
                <a:spcPts val="2800"/>
              </a:lnSpc>
              <a:spcBef>
                <a:spcPts val="0"/>
              </a:spcBef>
              <a:buNone/>
              <a:defRPr sz="2400" b="1">
                <a:solidFill>
                  <a:srgbClr val="C4CACD"/>
                </a:solidFill>
                <a:latin typeface="Arial" pitchFamily="34" charset="0"/>
                <a:cs typeface="Arial" pitchFamily="34" charset="0"/>
              </a:defRPr>
            </a:lvl1pPr>
          </a:lstStyle>
          <a:p>
            <a:pPr lvl="0"/>
            <a:r>
              <a:rPr lang="en-GB" noProof="0" dirty="0"/>
              <a:t>6</a:t>
            </a:r>
          </a:p>
        </p:txBody>
      </p:sp>
      <p:sp>
        <p:nvSpPr>
          <p:cNvPr id="26"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27" name="Title 8"/>
          <p:cNvSpPr>
            <a:spLocks noGrp="1"/>
          </p:cNvSpPr>
          <p:nvPr>
            <p:ph type="title" hasCustomPrompt="1"/>
          </p:nvPr>
        </p:nvSpPr>
        <p:spPr>
          <a:xfrm>
            <a:off x="237065" y="194400"/>
            <a:ext cx="8765651" cy="41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1 title</a:t>
            </a:r>
          </a:p>
        </p:txBody>
      </p:sp>
    </p:spTree>
    <p:extLst>
      <p:ext uri="{BB962C8B-B14F-4D97-AF65-F5344CB8AC3E}">
        <p14:creationId xmlns:p14="http://schemas.microsoft.com/office/powerpoint/2010/main" val="111338340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45125" y="156117"/>
            <a:ext cx="8856000" cy="6559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2" name="Title 1"/>
          <p:cNvSpPr>
            <a:spLocks noGrp="1"/>
          </p:cNvSpPr>
          <p:nvPr>
            <p:ph type="title"/>
          </p:nvPr>
        </p:nvSpPr>
        <p:spPr>
          <a:xfrm>
            <a:off x="342900" y="1270384"/>
            <a:ext cx="8458200" cy="535531"/>
          </a:xfrm>
        </p:spPr>
        <p:txBody>
          <a:bodyPr anchor="t">
            <a:spAutoFit/>
          </a:bodyPr>
          <a:lstStyle>
            <a:lvl1pPr>
              <a:defRPr sz="32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342900" y="3429007"/>
            <a:ext cx="84582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292F430-8436-43E6-A53C-87522F50B036}" type="datetime1">
              <a:rPr lang="en-US" smtClean="0">
                <a:solidFill>
                  <a:srgbClr val="000000">
                    <a:tint val="75000"/>
                  </a:srgbClr>
                </a:solidFill>
              </a:rPr>
              <a:pPr/>
              <a:t>1/29/2019</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9" name="TextBox 8"/>
          <p:cNvSpPr txBox="1"/>
          <p:nvPr userDrawn="1"/>
        </p:nvSpPr>
        <p:spPr>
          <a:xfrm>
            <a:off x="7592037" y="6453529"/>
            <a:ext cx="1409088" cy="246221"/>
          </a:xfrm>
          <a:prstGeom prst="rect">
            <a:avLst/>
          </a:prstGeom>
          <a:noFill/>
        </p:spPr>
        <p:txBody>
          <a:bodyPr wrap="square" rtlCol="0">
            <a:spAutoFit/>
          </a:bodyPr>
          <a:lstStyle/>
          <a:p>
            <a:pPr algn="r" fontAlgn="auto">
              <a:spcBef>
                <a:spcPts val="0"/>
              </a:spcBef>
              <a:spcAft>
                <a:spcPts val="0"/>
              </a:spcAft>
            </a:pPr>
            <a:r>
              <a:rPr lang="en-US" sz="1000" b="0" dirty="0">
                <a:solidFill>
                  <a:srgbClr val="FFFFFF"/>
                </a:solidFill>
                <a:latin typeface="Arial"/>
                <a:cs typeface="Arial" pitchFamily="34" charset="0"/>
              </a:rPr>
              <a:t>© AstraZeneca 2017</a:t>
            </a:r>
          </a:p>
        </p:txBody>
      </p:sp>
      <p:sp>
        <p:nvSpPr>
          <p:cNvPr id="8" name="Text Placeholder 7"/>
          <p:cNvSpPr>
            <a:spLocks noGrp="1"/>
          </p:cNvSpPr>
          <p:nvPr>
            <p:ph type="body" sz="quarter" idx="13" hasCustomPrompt="1"/>
          </p:nvPr>
        </p:nvSpPr>
        <p:spPr>
          <a:xfrm>
            <a:off x="342900" y="5829315"/>
            <a:ext cx="7391400" cy="885825"/>
          </a:xfrm>
        </p:spPr>
        <p:txBody>
          <a:bodyPr anchor="b">
            <a:noAutofit/>
          </a:bodyPr>
          <a:lstStyle>
            <a:lvl1pPr marL="0" indent="0">
              <a:spcBef>
                <a:spcPts val="300"/>
              </a:spcBef>
              <a:buNone/>
              <a:defRPr sz="1000">
                <a:solidFill>
                  <a:schemeClr val="bg1"/>
                </a:solidFill>
              </a:defRPr>
            </a:lvl1pPr>
            <a:lvl2pPr marL="228600" indent="0">
              <a:spcBef>
                <a:spcPts val="300"/>
              </a:spcBef>
              <a:buNone/>
              <a:defRPr sz="1000">
                <a:solidFill>
                  <a:schemeClr val="bg1"/>
                </a:solidFill>
              </a:defRPr>
            </a:lvl2pPr>
            <a:lvl3pPr marL="457200" indent="0">
              <a:spcBef>
                <a:spcPts val="300"/>
              </a:spcBef>
              <a:buNone/>
              <a:defRPr sz="1000">
                <a:solidFill>
                  <a:schemeClr val="bg1"/>
                </a:solidFill>
              </a:defRPr>
            </a:lvl3pPr>
            <a:lvl4pPr marL="685800" indent="0">
              <a:spcBef>
                <a:spcPts val="300"/>
              </a:spcBef>
              <a:buNone/>
              <a:defRPr sz="1000">
                <a:solidFill>
                  <a:schemeClr val="bg1"/>
                </a:solidFill>
              </a:defRPr>
            </a:lvl4pPr>
            <a:lvl5pPr marL="914400" indent="0">
              <a:spcBef>
                <a:spcPts val="300"/>
              </a:spcBef>
              <a:buNone/>
              <a:defRPr sz="1000">
                <a:solidFill>
                  <a:schemeClr val="bg1"/>
                </a:solidFill>
              </a:defRPr>
            </a:lvl5pPr>
          </a:lstStyle>
          <a:p>
            <a:pPr lvl="0"/>
            <a:r>
              <a:rPr lang="en-US" dirty="0"/>
              <a:t>Reference(s)</a:t>
            </a:r>
          </a:p>
        </p:txBody>
      </p:sp>
    </p:spTree>
    <p:extLst>
      <p:ext uri="{BB962C8B-B14F-4D97-AF65-F5344CB8AC3E}">
        <p14:creationId xmlns:p14="http://schemas.microsoft.com/office/powerpoint/2010/main" val="15091194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2E5C76F4-DBE4-46A4-A564-C7542A73AA1A}" type="datetime1">
              <a:rPr lang="en-US" smtClean="0">
                <a:solidFill>
                  <a:srgbClr val="000000">
                    <a:tint val="75000"/>
                  </a:srgbClr>
                </a:solidFill>
              </a:rPr>
              <a:pPr/>
              <a:t>1/29/2019</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9" name="Text Placeholder 8"/>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3" name="Content Placeholder 2"/>
          <p:cNvSpPr>
            <a:spLocks noGrp="1"/>
          </p:cNvSpPr>
          <p:nvPr>
            <p:ph sz="half" idx="1"/>
          </p:nvPr>
        </p:nvSpPr>
        <p:spPr>
          <a:xfrm>
            <a:off x="342900" y="1261875"/>
            <a:ext cx="4229100" cy="45570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72000" y="1261875"/>
            <a:ext cx="4229100" cy="45570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8455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3"/>
            <a:ext cx="8458200" cy="8001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342900" y="1264723"/>
            <a:ext cx="4229100" cy="428283"/>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4572000" y="1264723"/>
            <a:ext cx="4229100" cy="428283"/>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14735907-800D-4FFA-8B8C-4D244B1EB62B}" type="datetime1">
              <a:rPr lang="en-US" smtClean="0">
                <a:solidFill>
                  <a:srgbClr val="000000">
                    <a:tint val="75000"/>
                  </a:srgbClr>
                </a:solidFill>
              </a:rPr>
              <a:pPr/>
              <a:t>1/29/2019</a:t>
            </a:fld>
            <a:endParaRPr lang="en-US">
              <a:solidFill>
                <a:srgbClr val="000000">
                  <a:tint val="75000"/>
                </a:srgbClr>
              </a:solidFill>
            </a:endParaRPr>
          </a:p>
        </p:txBody>
      </p:sp>
      <p:sp>
        <p:nvSpPr>
          <p:cNvPr id="8" name="Footer Placeholder 7"/>
          <p:cNvSpPr>
            <a:spLocks noGrp="1"/>
          </p:cNvSpPr>
          <p:nvPr>
            <p:ph type="ftr" sz="quarter" idx="11"/>
          </p:nvPr>
        </p:nvSpPr>
        <p:spPr/>
        <p:txBody>
          <a:bodyPr/>
          <a:lstStyle/>
          <a:p>
            <a:endParaRPr lang="en-US">
              <a:solidFill>
                <a:srgbClr val="000000">
                  <a:tint val="75000"/>
                </a:srgbClr>
              </a:solidFill>
            </a:endParaRPr>
          </a:p>
        </p:txBody>
      </p:sp>
      <p:sp>
        <p:nvSpPr>
          <p:cNvPr id="9" name="Slide Number Placeholder 8"/>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11" name="Text Placeholder 10"/>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4" name="Content Placeholder 3"/>
          <p:cNvSpPr>
            <a:spLocks noGrp="1"/>
          </p:cNvSpPr>
          <p:nvPr>
            <p:ph sz="half" idx="2"/>
          </p:nvPr>
        </p:nvSpPr>
        <p:spPr>
          <a:xfrm>
            <a:off x="342900" y="1693000"/>
            <a:ext cx="4229100" cy="413630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572000" y="1693000"/>
            <a:ext cx="4229100" cy="4136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62178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228603"/>
            <a:ext cx="8458200" cy="800100"/>
          </a:xfrm>
        </p:spPr>
        <p:txBody>
          <a:bodyPr anchor="b">
            <a:normAutofit/>
          </a:bodyPr>
          <a:lstStyle>
            <a:lvl1pPr>
              <a:defRPr sz="2400"/>
            </a:lvl1pPr>
          </a:lstStyle>
          <a:p>
            <a:r>
              <a:rPr lang="en-US"/>
              <a:t>Click to edit Master title style</a:t>
            </a:r>
            <a:endParaRPr lang="en-US" dirty="0"/>
          </a:p>
        </p:txBody>
      </p:sp>
      <p:sp>
        <p:nvSpPr>
          <p:cNvPr id="4" name="Text Placeholder 3"/>
          <p:cNvSpPr>
            <a:spLocks noGrp="1"/>
          </p:cNvSpPr>
          <p:nvPr>
            <p:ph type="body" sz="half" idx="2" hasCustomPrompt="1"/>
          </p:nvPr>
        </p:nvSpPr>
        <p:spPr>
          <a:xfrm>
            <a:off x="877824" y="5440680"/>
            <a:ext cx="7406640" cy="365760"/>
          </a:xfrm>
          <a:prstGeom prst="roundRect">
            <a:avLst/>
          </a:prstGeom>
          <a:solidFill>
            <a:schemeClr val="accent2"/>
          </a:solidFill>
        </p:spPr>
        <p:txBody>
          <a:bodyPr anchor="ctr"/>
          <a:lstStyle>
            <a:lvl1pPr marL="0" indent="0" algn="ctr">
              <a:buNone/>
              <a:defRPr sz="1600" b="1" baseline="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nter caption</a:t>
            </a:r>
          </a:p>
        </p:txBody>
      </p:sp>
      <p:sp>
        <p:nvSpPr>
          <p:cNvPr id="5" name="Date Placeholder 4"/>
          <p:cNvSpPr>
            <a:spLocks noGrp="1"/>
          </p:cNvSpPr>
          <p:nvPr>
            <p:ph type="dt" sz="half" idx="10"/>
          </p:nvPr>
        </p:nvSpPr>
        <p:spPr/>
        <p:txBody>
          <a:bodyPr/>
          <a:lstStyle/>
          <a:p>
            <a:fld id="{B4D9A17C-1717-4FFC-9E81-DA0A5452950A}" type="datetime1">
              <a:rPr lang="en-US" smtClean="0">
                <a:solidFill>
                  <a:srgbClr val="000000">
                    <a:tint val="75000"/>
                  </a:srgbClr>
                </a:solidFill>
              </a:rPr>
              <a:pPr/>
              <a:t>1/29/2019</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9" name="Text Placeholder 8"/>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
        <p:nvSpPr>
          <p:cNvPr id="3" name="Content Placeholder 2"/>
          <p:cNvSpPr>
            <a:spLocks noGrp="1"/>
          </p:cNvSpPr>
          <p:nvPr>
            <p:ph idx="1"/>
          </p:nvPr>
        </p:nvSpPr>
        <p:spPr>
          <a:xfrm>
            <a:off x="342900" y="1260477"/>
            <a:ext cx="8458200" cy="4185227"/>
          </a:xfrm>
        </p:spPr>
        <p:txBody>
          <a:bodyPr/>
          <a:lstStyle>
            <a:lvl1pPr>
              <a:defRPr sz="2000"/>
            </a:lvl1pPr>
            <a:lvl2pPr>
              <a:defRPr sz="1800"/>
            </a:lvl2pPr>
            <a:lvl3pPr>
              <a:defRPr sz="16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69767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7347BBB-1CB5-4824-9D2A-A9A7FDAEC358}" type="datetime1">
              <a:rPr lang="en-US" smtClean="0">
                <a:solidFill>
                  <a:srgbClr val="000000">
                    <a:tint val="75000"/>
                  </a:srgbClr>
                </a:solidFill>
              </a:rPr>
              <a:pPr/>
              <a:t>1/29/2019</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4" hasCustomPrompt="1"/>
          </p:nvPr>
        </p:nvSpPr>
        <p:spPr>
          <a:xfrm>
            <a:off x="877824" y="5440695"/>
            <a:ext cx="7406640" cy="361951"/>
          </a:xfrm>
          <a:prstGeom prst="roundRect">
            <a:avLst/>
          </a:prstGeom>
          <a:solidFill>
            <a:schemeClr val="accent2"/>
          </a:solidFill>
        </p:spPr>
        <p:txBody>
          <a:bodyPr>
            <a:normAutofit/>
          </a:bodyPr>
          <a:lstStyle>
            <a:lvl1pPr marL="0" indent="0" algn="ctr">
              <a:buNone/>
              <a:defRPr sz="1600" b="1">
                <a:solidFill>
                  <a:schemeClr val="bg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dirty="0"/>
              <a:t>Click to enter caption</a:t>
            </a: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2350609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 No Line">
    <p:spTree>
      <p:nvGrpSpPr>
        <p:cNvPr id="1" name=""/>
        <p:cNvGrpSpPr/>
        <p:nvPr/>
      </p:nvGrpSpPr>
      <p:grpSpPr>
        <a:xfrm>
          <a:off x="0" y="0"/>
          <a:ext cx="0" cy="0"/>
          <a:chOff x="0" y="0"/>
          <a:chExt cx="0" cy="0"/>
        </a:xfrm>
      </p:grpSpPr>
      <p:sp>
        <p:nvSpPr>
          <p:cNvPr id="10" name="Rectangle 9"/>
          <p:cNvSpPr/>
          <p:nvPr userDrawn="1"/>
        </p:nvSpPr>
        <p:spPr>
          <a:xfrm>
            <a:off x="145126"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4" name="Date Placeholder 3"/>
          <p:cNvSpPr>
            <a:spLocks noGrp="1"/>
          </p:cNvSpPr>
          <p:nvPr>
            <p:ph type="dt" sz="half" idx="10"/>
          </p:nvPr>
        </p:nvSpPr>
        <p:spPr/>
        <p:txBody>
          <a:bodyPr/>
          <a:lstStyle/>
          <a:p>
            <a:fld id="{25BFC253-ACC1-4B20-9047-535C189850FC}" type="datetime1">
              <a:rPr lang="en-US" smtClean="0">
                <a:solidFill>
                  <a:srgbClr val="000000">
                    <a:tint val="75000"/>
                  </a:srgbClr>
                </a:solidFill>
              </a:rPr>
              <a:pPr/>
              <a:t>1/29/2019</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hasCustomPrompt="1"/>
          </p:nvPr>
        </p:nvSpPr>
        <p:spPr>
          <a:xfrm>
            <a:off x="342900" y="5851603"/>
            <a:ext cx="73914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Reference(s)</a:t>
            </a:r>
          </a:p>
        </p:txBody>
      </p:sp>
      <p:sp>
        <p:nvSpPr>
          <p:cNvPr id="3" name="Content Placeholder 2"/>
          <p:cNvSpPr>
            <a:spLocks noGrp="1"/>
          </p:cNvSpPr>
          <p:nvPr>
            <p:ph idx="1"/>
          </p:nvPr>
        </p:nvSpPr>
        <p:spPr>
          <a:xfrm>
            <a:off x="342900" y="1028703"/>
            <a:ext cx="8458200" cy="48051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64362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9" name="Rectangle 8"/>
          <p:cNvSpPr/>
          <p:nvPr userDrawn="1"/>
        </p:nvSpPr>
        <p:spPr>
          <a:xfrm>
            <a:off x="7464398" y="6521492"/>
            <a:ext cx="1607475" cy="332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10" name="Rectangle 9"/>
          <p:cNvSpPr/>
          <p:nvPr userDrawn="1"/>
        </p:nvSpPr>
        <p:spPr>
          <a:xfrm>
            <a:off x="145126"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4" name="Date Placeholder 3"/>
          <p:cNvSpPr>
            <a:spLocks noGrp="1"/>
          </p:cNvSpPr>
          <p:nvPr>
            <p:ph type="dt" sz="half" idx="10"/>
          </p:nvPr>
        </p:nvSpPr>
        <p:spPr/>
        <p:txBody>
          <a:bodyPr/>
          <a:lstStyle/>
          <a:p>
            <a:fld id="{775A1009-7755-4115-A139-4142CA3B0804}" type="datetime1">
              <a:rPr lang="en-US" smtClean="0">
                <a:solidFill>
                  <a:srgbClr val="000000">
                    <a:tint val="75000"/>
                  </a:srgbClr>
                </a:solidFill>
              </a:rPr>
              <a:pPr/>
              <a:t>1/29/2019</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3" name="Content Placeholder 2"/>
          <p:cNvSpPr>
            <a:spLocks noGrp="1"/>
          </p:cNvSpPr>
          <p:nvPr>
            <p:ph idx="1"/>
          </p:nvPr>
        </p:nvSpPr>
        <p:spPr>
          <a:xfrm>
            <a:off x="342900" y="1028703"/>
            <a:ext cx="8458200" cy="48051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06767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 No Line">
    <p:spTree>
      <p:nvGrpSpPr>
        <p:cNvPr id="1" name=""/>
        <p:cNvGrpSpPr/>
        <p:nvPr/>
      </p:nvGrpSpPr>
      <p:grpSpPr>
        <a:xfrm>
          <a:off x="0" y="0"/>
          <a:ext cx="0" cy="0"/>
          <a:chOff x="0" y="0"/>
          <a:chExt cx="0" cy="0"/>
        </a:xfrm>
      </p:grpSpPr>
      <p:sp>
        <p:nvSpPr>
          <p:cNvPr id="9" name="Rectangle 8"/>
          <p:cNvSpPr/>
          <p:nvPr userDrawn="1"/>
        </p:nvSpPr>
        <p:spPr>
          <a:xfrm>
            <a:off x="145126"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AE173A2-8745-4607-9493-1D8AF7034F1E}" type="datetime1">
              <a:rPr lang="en-US" smtClean="0">
                <a:solidFill>
                  <a:srgbClr val="000000">
                    <a:tint val="75000"/>
                  </a:srgbClr>
                </a:solidFill>
              </a:rPr>
              <a:pPr/>
              <a:t>1/29/2019</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37750535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Rectangle 7"/>
          <p:cNvSpPr/>
          <p:nvPr userDrawn="1"/>
        </p:nvSpPr>
        <p:spPr>
          <a:xfrm>
            <a:off x="145126" y="1028703"/>
            <a:ext cx="8998875"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
        <p:nvSpPr>
          <p:cNvPr id="2" name="Date Placeholder 1"/>
          <p:cNvSpPr>
            <a:spLocks noGrp="1"/>
          </p:cNvSpPr>
          <p:nvPr>
            <p:ph type="dt" sz="half" idx="10"/>
          </p:nvPr>
        </p:nvSpPr>
        <p:spPr/>
        <p:txBody>
          <a:bodyPr/>
          <a:lstStyle/>
          <a:p>
            <a:fld id="{539B9274-6A29-48D2-8010-04B236DE9589}" type="datetime1">
              <a:rPr lang="en-US" smtClean="0">
                <a:solidFill>
                  <a:srgbClr val="000000">
                    <a:tint val="75000"/>
                  </a:srgbClr>
                </a:solidFill>
              </a:rPr>
              <a:pPr/>
              <a:t>1/29/2019</a:t>
            </a:fld>
            <a:endParaRPr lang="en-US">
              <a:solidFill>
                <a:srgbClr val="000000">
                  <a:tint val="75000"/>
                </a:srgbClr>
              </a:solidFill>
            </a:endParaRPr>
          </a:p>
        </p:txBody>
      </p:sp>
      <p:sp>
        <p:nvSpPr>
          <p:cNvPr id="3" name="Footer Placeholder 2"/>
          <p:cNvSpPr>
            <a:spLocks noGrp="1"/>
          </p:cNvSpPr>
          <p:nvPr>
            <p:ph type="ftr" sz="quarter" idx="11"/>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7" name="Text Placeholder 6"/>
          <p:cNvSpPr>
            <a:spLocks noGrp="1"/>
          </p:cNvSpPr>
          <p:nvPr>
            <p:ph type="body" sz="quarter" idx="13" hasCustomPrompt="1"/>
          </p:nvPr>
        </p:nvSpPr>
        <p:spPr>
          <a:xfrm>
            <a:off x="342900" y="5851603"/>
            <a:ext cx="7391400" cy="1005840"/>
          </a:xfrm>
        </p:spPr>
        <p:txBody>
          <a:bodyPr anchor="b">
            <a:noAutofit/>
          </a:bodyPr>
          <a:lstStyle>
            <a:lvl1pPr marL="0" indent="0">
              <a:spcBef>
                <a:spcPts val="300"/>
              </a:spcBef>
              <a:buNone/>
              <a:defRPr sz="1000"/>
            </a:lvl1pPr>
            <a:lvl2pPr marL="228600" indent="0">
              <a:buNone/>
              <a:defRPr sz="1000"/>
            </a:lvl2pPr>
            <a:lvl3pPr marL="457200" indent="0">
              <a:buNone/>
              <a:defRPr sz="1000"/>
            </a:lvl3pPr>
            <a:lvl4pPr marL="685800" indent="0">
              <a:buNone/>
              <a:defRPr sz="1000"/>
            </a:lvl4pPr>
            <a:lvl5pPr marL="914400" indent="0">
              <a:buNone/>
              <a:defRPr sz="1000"/>
            </a:lvl5pPr>
          </a:lstStyle>
          <a:p>
            <a:pPr lvl="0"/>
            <a:r>
              <a:rPr lang="en-US" dirty="0"/>
              <a:t>Reference(s)</a:t>
            </a:r>
          </a:p>
        </p:txBody>
      </p:sp>
    </p:spTree>
    <p:extLst>
      <p:ext uri="{BB962C8B-B14F-4D97-AF65-F5344CB8AC3E}">
        <p14:creationId xmlns:p14="http://schemas.microsoft.com/office/powerpoint/2010/main" val="10717376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328379A3-51D4-4D90-BEF2-141347845AAB}" type="datetime1">
              <a:rPr lang="en-US" smtClean="0">
                <a:solidFill>
                  <a:srgbClr val="000000">
                    <a:tint val="75000"/>
                  </a:srgbClr>
                </a:solidFill>
              </a:rPr>
              <a:pPr/>
              <a:t>1/29/2019</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CC7432E5-F8E0-41AE-9A6B-AD730338B005}"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hasCustomPrompt="1"/>
          </p:nvPr>
        </p:nvSpPr>
        <p:spPr>
          <a:xfrm>
            <a:off x="342900" y="5851603"/>
            <a:ext cx="73914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Reference(s)</a:t>
            </a:r>
          </a:p>
        </p:txBody>
      </p:sp>
      <p:sp>
        <p:nvSpPr>
          <p:cNvPr id="3" name="Content Placeholder 2"/>
          <p:cNvSpPr>
            <a:spLocks noGrp="1"/>
          </p:cNvSpPr>
          <p:nvPr>
            <p:ph idx="1"/>
          </p:nvPr>
        </p:nvSpPr>
        <p:spPr>
          <a:xfrm>
            <a:off x="342900" y="1261872"/>
            <a:ext cx="845820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43024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theme" Target="../theme/theme10.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image" Target="../media/image15.jpeg"/></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26.xml"/><Relationship Id="rId7" Type="http://schemas.openxmlformats.org/officeDocument/2006/relationships/image" Target="../media/image1.jpeg"/><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theme" Target="../theme/theme11.xml"/><Relationship Id="rId5" Type="http://schemas.openxmlformats.org/officeDocument/2006/relationships/slideLayout" Target="../slideLayouts/slideLayout128.xml"/><Relationship Id="rId4" Type="http://schemas.openxmlformats.org/officeDocument/2006/relationships/slideLayout" Target="../slideLayouts/slideLayout127.xml"/><Relationship Id="rId9"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31.xml"/><Relationship Id="rId7" Type="http://schemas.openxmlformats.org/officeDocument/2006/relationships/image" Target="../media/image31.jpeg"/><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theme" Target="../theme/theme12.xml"/><Relationship Id="rId5" Type="http://schemas.openxmlformats.org/officeDocument/2006/relationships/slideLayout" Target="../slideLayouts/slideLayout133.xml"/><Relationship Id="rId4" Type="http://schemas.openxmlformats.org/officeDocument/2006/relationships/slideLayout" Target="../slideLayouts/slideLayout13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oleObject" Target="../embeddings/oleObject1.bin"/><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tags" Target="../tags/tag1.xml"/><Relationship Id="rId2" Type="http://schemas.openxmlformats.org/officeDocument/2006/relationships/slideLayout" Target="../slideLayouts/slideLayout135.xml"/><Relationship Id="rId16" Type="http://schemas.openxmlformats.org/officeDocument/2006/relationships/vmlDrawing" Target="../drawings/vmlDrawing1.v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theme" Target="../theme/theme13.xml"/><Relationship Id="rId10" Type="http://schemas.openxmlformats.org/officeDocument/2006/relationships/slideLayout" Target="../slideLayouts/slideLayout143.xml"/><Relationship Id="rId19" Type="http://schemas.openxmlformats.org/officeDocument/2006/relationships/image" Target="../media/image34.emf"/><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ags" Target="../tags/tag6.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vmlDrawing" Target="../drawings/vmlDrawing3.v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theme" Target="../theme/theme14.xml"/><Relationship Id="rId5" Type="http://schemas.openxmlformats.org/officeDocument/2006/relationships/slideLayout" Target="../slideLayouts/slideLayout152.xml"/><Relationship Id="rId15" Type="http://schemas.openxmlformats.org/officeDocument/2006/relationships/image" Target="../media/image34.emf"/><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oleObject" Target="../embeddings/oleObject3.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6" Type="http://schemas.openxmlformats.org/officeDocument/2006/relationships/theme" Target="../theme/theme15.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vmlDrawing" Target="../drawings/vmlDrawing4.v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theme" Target="../theme/theme16.xml"/><Relationship Id="rId2" Type="http://schemas.openxmlformats.org/officeDocument/2006/relationships/slideLayout" Target="../slideLayouts/slideLayout174.xml"/><Relationship Id="rId16" Type="http://schemas.openxmlformats.org/officeDocument/2006/relationships/image" Target="../media/image34.emf"/><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oleObject" Target="../embeddings/oleObject4.bin"/><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tags" Target="../tags/tag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10" Type="http://schemas.openxmlformats.org/officeDocument/2006/relationships/slideLayout" Target="../slideLayouts/slideLayout193.xml"/><Relationship Id="rId19" Type="http://schemas.openxmlformats.org/officeDocument/2006/relationships/theme" Target="../theme/theme17.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3" Type="http://schemas.openxmlformats.org/officeDocument/2006/relationships/slideLayout" Target="../slideLayouts/slideLayout204.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2" Type="http://schemas.openxmlformats.org/officeDocument/2006/relationships/slideLayout" Target="../slideLayouts/slideLayout203.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0" Type="http://schemas.openxmlformats.org/officeDocument/2006/relationships/slideLayout" Target="../slideLayouts/slideLayout211.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2.xml"/><Relationship Id="rId3" Type="http://schemas.openxmlformats.org/officeDocument/2006/relationships/slideLayout" Target="../slideLayouts/slideLayout217.xml"/><Relationship Id="rId7" Type="http://schemas.openxmlformats.org/officeDocument/2006/relationships/slideLayout" Target="../slideLayouts/slideLayout221.xml"/><Relationship Id="rId12" Type="http://schemas.openxmlformats.org/officeDocument/2006/relationships/image" Target="../media/image3.png"/><Relationship Id="rId2" Type="http://schemas.openxmlformats.org/officeDocument/2006/relationships/slideLayout" Target="../slideLayouts/slideLayout216.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image" Target="../media/image2.png"/><Relationship Id="rId5" Type="http://schemas.openxmlformats.org/officeDocument/2006/relationships/slideLayout" Target="../slideLayouts/slideLayout219.xml"/><Relationship Id="rId10" Type="http://schemas.openxmlformats.org/officeDocument/2006/relationships/image" Target="../media/image1.jpeg"/><Relationship Id="rId4" Type="http://schemas.openxmlformats.org/officeDocument/2006/relationships/slideLayout" Target="../slideLayouts/slideLayout218.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theme" Target="../theme/theme2.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225.xml"/><Relationship Id="rId7" Type="http://schemas.openxmlformats.org/officeDocument/2006/relationships/slideLayout" Target="../slideLayouts/slideLayout229.xml"/><Relationship Id="rId2" Type="http://schemas.openxmlformats.org/officeDocument/2006/relationships/slideLayout" Target="../slideLayouts/slideLayout224.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5" Type="http://schemas.openxmlformats.org/officeDocument/2006/relationships/slideLayout" Target="../slideLayouts/slideLayout227.xml"/><Relationship Id="rId4" Type="http://schemas.openxmlformats.org/officeDocument/2006/relationships/slideLayout" Target="../slideLayouts/slideLayout22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34" Type="http://schemas.openxmlformats.org/officeDocument/2006/relationships/slideLayout" Target="../slideLayouts/slideLayout263.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33" Type="http://schemas.openxmlformats.org/officeDocument/2006/relationships/slideLayout" Target="../slideLayouts/slideLayout262.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29" Type="http://schemas.openxmlformats.org/officeDocument/2006/relationships/slideLayout" Target="../slideLayouts/slideLayout258.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32" Type="http://schemas.openxmlformats.org/officeDocument/2006/relationships/slideLayout" Target="../slideLayouts/slideLayout261.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slideLayout" Target="../slideLayouts/slideLayout257.xml"/><Relationship Id="rId36" Type="http://schemas.openxmlformats.org/officeDocument/2006/relationships/theme" Target="../theme/theme21.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31" Type="http://schemas.openxmlformats.org/officeDocument/2006/relationships/slideLayout" Target="../slideLayouts/slideLayout260.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slideLayout" Target="../slideLayouts/slideLayout256.xml"/><Relationship Id="rId30" Type="http://schemas.openxmlformats.org/officeDocument/2006/relationships/slideLayout" Target="../slideLayouts/slideLayout259.xml"/><Relationship Id="rId35" Type="http://schemas.openxmlformats.org/officeDocument/2006/relationships/slideLayout" Target="../slideLayouts/slideLayout2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72.xml"/><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theme" Target="../theme/theme22.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0" Type="http://schemas.openxmlformats.org/officeDocument/2006/relationships/slideLayout" Target="../slideLayouts/slideLayout274.xml"/><Relationship Id="rId4" Type="http://schemas.openxmlformats.org/officeDocument/2006/relationships/slideLayout" Target="../slideLayouts/slideLayout268.xml"/><Relationship Id="rId9" Type="http://schemas.openxmlformats.org/officeDocument/2006/relationships/slideLayout" Target="../slideLayouts/slideLayout273.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41.xml"/><Relationship Id="rId7" Type="http://schemas.openxmlformats.org/officeDocument/2006/relationships/image" Target="../media/image2.pn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1.jpeg"/><Relationship Id="rId5" Type="http://schemas.openxmlformats.org/officeDocument/2006/relationships/theme" Target="../theme/theme3.xml"/><Relationship Id="rId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10" Type="http://schemas.openxmlformats.org/officeDocument/2006/relationships/theme" Target="../theme/theme4.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heme" Target="../theme/theme5.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image" Target="../media/image3.png"/><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image" Target="../media/image2.png"/><Relationship Id="rId5" Type="http://schemas.openxmlformats.org/officeDocument/2006/relationships/slideLayout" Target="../slideLayouts/slideLayout70.xml"/><Relationship Id="rId10" Type="http://schemas.openxmlformats.org/officeDocument/2006/relationships/image" Target="../media/image1.jpeg"/><Relationship Id="rId4" Type="http://schemas.openxmlformats.org/officeDocument/2006/relationships/slideLayout" Target="../slideLayouts/slideLayout6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image" Target="../media/image15.jpeg"/><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heme" Target="../theme/theme8.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pPr defTabSz="457200" fontAlgn="auto">
              <a:spcBef>
                <a:spcPts val="0"/>
              </a:spcBef>
              <a:spcAft>
                <a:spcPts val="0"/>
              </a:spcAft>
            </a:pPr>
            <a:fld id="{3C4F54F3-C349-4609-AFEE-01462D5C7942}" type="slidenum">
              <a:rPr lang="en-GB" smtClean="0">
                <a:solidFill>
                  <a:srgbClr val="000000"/>
                </a:solidFill>
                <a:ea typeface="+mn-ea"/>
              </a:rPr>
              <a:pPr defTabSz="457200" fontAlgn="auto">
                <a:spcBef>
                  <a:spcPts val="0"/>
                </a:spcBef>
                <a:spcAft>
                  <a:spcPts val="0"/>
                </a:spcAft>
              </a:pPr>
              <a:t>‹#›</a:t>
            </a:fld>
            <a:endParaRPr lang="en-GB" dirty="0">
              <a:solidFill>
                <a:srgbClr val="000000"/>
              </a:solidFill>
              <a:ea typeface="+mn-ea"/>
            </a:endParaRPr>
          </a:p>
        </p:txBody>
      </p:sp>
      <p:sp>
        <p:nvSpPr>
          <p:cNvPr id="5" name="Rounded Rectangle 4"/>
          <p:cNvSpPr/>
          <p:nvPr/>
        </p:nvSpPr>
        <p:spPr>
          <a:xfrm>
            <a:off x="7160056" y="508011"/>
            <a:ext cx="1400432" cy="32264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5392326"/>
      </p:ext>
    </p:extLst>
  </p:cSld>
  <p:clrMap bg1="lt1" tx1="dk1" bg2="lt2" tx2="dk2" accent1="accent1" accent2="accent2" accent3="accent3" accent4="accent4" accent5="accent5" accent6="accent6" hlink="hlink" folHlink="folHlink"/>
  <p:sldLayoutIdLst>
    <p:sldLayoutId id="2147490200" r:id="rId1"/>
    <p:sldLayoutId id="2147490201" r:id="rId2"/>
    <p:sldLayoutId id="2147490202" r:id="rId3"/>
    <p:sldLayoutId id="2147490203" r:id="rId4"/>
    <p:sldLayoutId id="2147490204" r:id="rId5"/>
    <p:sldLayoutId id="2147490334" r:id="rId6"/>
    <p:sldLayoutId id="2147490704"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6591303"/>
            <a:ext cx="365760" cy="266700"/>
          </a:xfrm>
          <a:prstGeom prst="rect">
            <a:avLst/>
          </a:prstGeom>
        </p:spPr>
        <p:txBody>
          <a:bodyPr vert="horz" lIns="91440" tIns="45720" rIns="45720" bIns="45720" rtlCol="0" anchor="b"/>
          <a:lstStyle>
            <a:lvl1pPr algn="r">
              <a:defRPr sz="750">
                <a:solidFill>
                  <a:schemeClr val="tx1"/>
                </a:solidFill>
              </a:defRPr>
            </a:lvl1pPr>
          </a:lstStyle>
          <a:p>
            <a:pPr defTabSz="685800" fontAlgn="auto">
              <a:spcBef>
                <a:spcPts val="0"/>
              </a:spcBef>
              <a:spcAft>
                <a:spcPts val="0"/>
              </a:spcAft>
            </a:pPr>
            <a:fld id="{CC7432E5-F8E0-41AE-9A6B-AD730338B005}" type="slidenum">
              <a:rPr lang="en-US" b="0" smtClean="0">
                <a:solidFill>
                  <a:srgbClr val="000000"/>
                </a:solidFill>
                <a:latin typeface="Arial"/>
              </a:rPr>
              <a:pPr defTabSz="685800" fontAlgn="auto">
                <a:spcBef>
                  <a:spcPts val="0"/>
                </a:spcBef>
                <a:spcAft>
                  <a:spcPts val="0"/>
                </a:spcAft>
              </a:pPr>
              <a:t>‹#›</a:t>
            </a:fld>
            <a:endParaRPr lang="en-US" b="0" dirty="0">
              <a:solidFill>
                <a:srgbClr val="000000"/>
              </a:solidFill>
              <a:latin typeface="Arial"/>
            </a:endParaRPr>
          </a:p>
        </p:txBody>
      </p:sp>
      <p:sp>
        <p:nvSpPr>
          <p:cNvPr id="2" name="Title Placeholder 1"/>
          <p:cNvSpPr>
            <a:spLocks noGrp="1"/>
          </p:cNvSpPr>
          <p:nvPr>
            <p:ph type="title"/>
          </p:nvPr>
        </p:nvSpPr>
        <p:spPr>
          <a:xfrm>
            <a:off x="342900" y="228601"/>
            <a:ext cx="8458200" cy="800099"/>
          </a:xfrm>
          <a:prstGeom prst="rect">
            <a:avLst/>
          </a:prstGeom>
        </p:spPr>
        <p:txBody>
          <a:bodyPr vert="horz" lIns="9144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342900" y="1257300"/>
            <a:ext cx="8458200" cy="4572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403350" y="6534155"/>
            <a:ext cx="971550" cy="323851"/>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fontAlgn="auto">
              <a:spcBef>
                <a:spcPts val="0"/>
              </a:spcBef>
              <a:spcAft>
                <a:spcPts val="0"/>
              </a:spcAft>
            </a:pPr>
            <a:fld id="{E5A26CE1-7224-4BCF-A0C6-9A1FC81EC9C9}" type="datetime1">
              <a:rPr lang="en-US" b="0" smtClean="0">
                <a:solidFill>
                  <a:srgbClr val="000000">
                    <a:tint val="75000"/>
                  </a:srgbClr>
                </a:solidFill>
                <a:latin typeface="Arial"/>
              </a:rPr>
              <a:pPr defTabSz="685800" fontAlgn="auto">
                <a:spcBef>
                  <a:spcPts val="0"/>
                </a:spcBef>
                <a:spcAft>
                  <a:spcPts val="0"/>
                </a:spcAft>
              </a:pPr>
              <a:t>1/29/2019</a:t>
            </a:fld>
            <a:endParaRPr lang="en-US" b="0">
              <a:solidFill>
                <a:srgbClr val="000000">
                  <a:tint val="75000"/>
                </a:srgbClr>
              </a:solidFill>
              <a:latin typeface="Arial"/>
            </a:endParaRPr>
          </a:p>
        </p:txBody>
      </p:sp>
      <p:sp>
        <p:nvSpPr>
          <p:cNvPr id="5" name="Footer Placeholder 4"/>
          <p:cNvSpPr>
            <a:spLocks noGrp="1"/>
          </p:cNvSpPr>
          <p:nvPr>
            <p:ph type="ftr" sz="quarter" idx="3"/>
          </p:nvPr>
        </p:nvSpPr>
        <p:spPr>
          <a:xfrm>
            <a:off x="-1403350" y="6004534"/>
            <a:ext cx="971550" cy="427673"/>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fontAlgn="auto">
              <a:spcBef>
                <a:spcPts val="0"/>
              </a:spcBef>
              <a:spcAft>
                <a:spcPts val="0"/>
              </a:spcAft>
            </a:pPr>
            <a:endParaRPr lang="en-US" b="0">
              <a:solidFill>
                <a:srgbClr val="000000">
                  <a:tint val="75000"/>
                </a:srgbClr>
              </a:solidFill>
              <a:latin typeface="Arial"/>
            </a:endParaRPr>
          </a:p>
        </p:txBody>
      </p:sp>
      <p:sp>
        <p:nvSpPr>
          <p:cNvPr id="9" name="Rectangle 8"/>
          <p:cNvSpPr/>
          <p:nvPr/>
        </p:nvSpPr>
        <p:spPr>
          <a:xfrm>
            <a:off x="342900" y="1129284"/>
            <a:ext cx="8801100" cy="18288"/>
          </a:xfrm>
          <a:prstGeom prst="rect">
            <a:avLst/>
          </a:prstGeom>
          <a:gradFill flip="none" rotWithShape="1">
            <a:gsLst>
              <a:gs pos="26000">
                <a:schemeClr val="accent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a:solidFill>
                <a:srgbClr val="FFFFFF"/>
              </a:solidFill>
            </a:endParaRPr>
          </a:p>
        </p:txBody>
      </p:sp>
      <p:pic>
        <p:nvPicPr>
          <p:cNvPr id="8" name="Picture 7" descr="AZ_SYMBOL_RGB.jp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440596" y="5997144"/>
            <a:ext cx="453600" cy="696215"/>
          </a:xfrm>
          <a:prstGeom prst="rect">
            <a:avLst/>
          </a:prstGeom>
        </p:spPr>
      </p:pic>
    </p:spTree>
    <p:extLst>
      <p:ext uri="{BB962C8B-B14F-4D97-AF65-F5344CB8AC3E}">
        <p14:creationId xmlns:p14="http://schemas.microsoft.com/office/powerpoint/2010/main" val="2132231533"/>
      </p:ext>
    </p:extLst>
  </p:cSld>
  <p:clrMap bg1="lt1" tx1="dk1" bg2="lt2" tx2="dk2" accent1="accent1" accent2="accent2" accent3="accent3" accent4="accent4" accent5="accent5" accent6="accent6" hlink="hlink" folHlink="folHlink"/>
  <p:sldLayoutIdLst>
    <p:sldLayoutId id="2147490530" r:id="rId1"/>
    <p:sldLayoutId id="2147490531" r:id="rId2"/>
    <p:sldLayoutId id="2147490532" r:id="rId3"/>
    <p:sldLayoutId id="2147490533" r:id="rId4"/>
    <p:sldLayoutId id="2147490534" r:id="rId5"/>
    <p:sldLayoutId id="2147490535" r:id="rId6"/>
    <p:sldLayoutId id="2147490536" r:id="rId7"/>
    <p:sldLayoutId id="2147490537" r:id="rId8"/>
    <p:sldLayoutId id="2147490538" r:id="rId9"/>
    <p:sldLayoutId id="2147490539" r:id="rId10"/>
    <p:sldLayoutId id="2147490540" r:id="rId11"/>
    <p:sldLayoutId id="2147490541" r:id="rId12"/>
  </p:sldLayoutIdLst>
  <p:hf hdr="0" ftr="0" dt="0"/>
  <p:txStyles>
    <p:titleStyle>
      <a:lvl1pPr algn="l" defTabSz="685800" rtl="0" eaLnBrk="1" latinLnBrk="0" hangingPunct="1">
        <a:lnSpc>
          <a:spcPct val="90000"/>
        </a:lnSpc>
        <a:spcBef>
          <a:spcPct val="0"/>
        </a:spcBef>
        <a:buNone/>
        <a:defRPr sz="1800" b="1" kern="1200">
          <a:solidFill>
            <a:schemeClr val="accent1"/>
          </a:solidFill>
          <a:latin typeface="+mj-lt"/>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500" kern="1200">
          <a:solidFill>
            <a:schemeClr val="tx1"/>
          </a:solidFill>
          <a:latin typeface="+mn-lt"/>
          <a:ea typeface="+mn-ea"/>
          <a:cs typeface="+mn-cs"/>
        </a:defRPr>
      </a:lvl1pPr>
      <a:lvl2pPr marL="342900" indent="-171450" algn="l" defTabSz="685800" rtl="0" eaLnBrk="1" latinLnBrk="0" hangingPunct="1">
        <a:lnSpc>
          <a:spcPct val="90000"/>
        </a:lnSpc>
        <a:spcBef>
          <a:spcPts val="600"/>
        </a:spcBef>
        <a:buFont typeface="Arial" panose="020B0604020202020204" pitchFamily="34" charset="0"/>
        <a:buChar char="–"/>
        <a:defRPr sz="1350" kern="1200">
          <a:solidFill>
            <a:schemeClr val="tx1"/>
          </a:solidFill>
          <a:latin typeface="+mn-lt"/>
          <a:ea typeface="+mn-ea"/>
          <a:cs typeface="+mn-cs"/>
        </a:defRPr>
      </a:lvl2pPr>
      <a:lvl3pPr marL="514350" indent="-17145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685800"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4pPr>
      <a:lvl5pPr marL="857250" indent="-171450" algn="l" defTabSz="685800" rtl="0" eaLnBrk="1" latinLnBrk="0" hangingPunct="1">
        <a:lnSpc>
          <a:spcPct val="90000"/>
        </a:lnSpc>
        <a:spcBef>
          <a:spcPts val="450"/>
        </a:spcBef>
        <a:buClr>
          <a:schemeClr val="accent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772">
          <p15:clr>
            <a:srgbClr val="F26B43"/>
          </p15:clr>
        </p15:guide>
        <p15:guide id="2" pos="264">
          <p15:clr>
            <a:srgbClr val="F26B43"/>
          </p15:clr>
        </p15:guide>
        <p15:guide id="3" pos="5544">
          <p15:clr>
            <a:srgbClr val="F26B43"/>
          </p15:clr>
        </p15:guide>
        <p15:guide id="4" orient="horz" pos="420">
          <p15:clr>
            <a:srgbClr val="F26B43"/>
          </p15:clr>
        </p15:guide>
        <p15:guide id="5" orient="horz" pos="588">
          <p15:clr>
            <a:srgbClr val="F26B43"/>
          </p15:clr>
        </p15:guide>
        <p15:guide id="6" orient="horz" pos="367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8"/>
          <p:cNvPicPr>
            <a:picLocks noChangeAspect="1"/>
          </p:cNvPicPr>
          <p:nvPr/>
        </p:nvPicPr>
        <p:blipFill>
          <a:blip r:embed="rId7" cstate="email">
            <a:extLst>
              <a:ext uri="{28A0092B-C50C-407E-A947-70E740481C1C}">
                <a14:useLocalDpi xmlns:a14="http://schemas.microsoft.com/office/drawing/2010/main" val="0"/>
              </a:ext>
            </a:extLst>
          </a:blip>
          <a:srcRect b="14449"/>
          <a:stretch>
            <a:fillRect/>
          </a:stretch>
        </p:blipFill>
        <p:spPr bwMode="auto">
          <a:xfrm>
            <a:off x="0" y="0"/>
            <a:ext cx="9144000" cy="586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ext Placeholder 2"/>
          <p:cNvSpPr>
            <a:spLocks noGrp="1"/>
          </p:cNvSpPr>
          <p:nvPr>
            <p:ph type="body" idx="1"/>
          </p:nvPr>
        </p:nvSpPr>
        <p:spPr bwMode="auto">
          <a:xfrm>
            <a:off x="509589" y="1204913"/>
            <a:ext cx="8112125" cy="448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cxnSp>
        <p:nvCxnSpPr>
          <p:cNvPr id="4" name="Straight Connector 3"/>
          <p:cNvCxnSpPr/>
          <p:nvPr/>
        </p:nvCxnSpPr>
        <p:spPr>
          <a:xfrm>
            <a:off x="509589"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029" name="TextBox 4"/>
          <p:cNvSpPr txBox="1">
            <a:spLocks noChangeArrowheads="1"/>
          </p:cNvSpPr>
          <p:nvPr/>
        </p:nvSpPr>
        <p:spPr bwMode="auto">
          <a:xfrm>
            <a:off x="666528" y="6072203"/>
            <a:ext cx="341760" cy="246221"/>
          </a:xfrm>
          <a:prstGeom prst="rect">
            <a:avLst/>
          </a:prstGeom>
          <a:noFill/>
          <a:ln>
            <a:noFill/>
          </a:ln>
          <a:extLst/>
        </p:spPr>
        <p:txBody>
          <a:bodyPr wrap="none">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algn="ctr">
              <a:buFont typeface="Arial" pitchFamily="34" charset="0"/>
              <a:buNone/>
              <a:defRPr/>
            </a:pPr>
            <a:fld id="{73581F35-D8B0-4B0A-8C5E-A3DDE792EF9E}" type="slidenum">
              <a:rPr lang="en-GB" sz="1000" b="0" smtClean="0">
                <a:solidFill>
                  <a:srgbClr val="FFFFFF"/>
                </a:solidFill>
              </a:rPr>
              <a:pPr algn="ctr">
                <a:buFont typeface="Arial" pitchFamily="34" charset="0"/>
                <a:buNone/>
                <a:defRPr/>
              </a:pPr>
              <a:t>‹#›</a:t>
            </a:fld>
            <a:endParaRPr lang="en-GB" sz="1000" b="0">
              <a:solidFill>
                <a:srgbClr val="FFFFFF"/>
              </a:solidFill>
            </a:endParaRPr>
          </a:p>
        </p:txBody>
      </p:sp>
      <p:cxnSp>
        <p:nvCxnSpPr>
          <p:cNvPr id="11" name="Straight Connector 10"/>
          <p:cNvCxnSpPr/>
          <p:nvPr/>
        </p:nvCxnSpPr>
        <p:spPr>
          <a:xfrm>
            <a:off x="509589"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2" name="Title 1"/>
          <p:cNvSpPr txBox="1">
            <a:spLocks/>
          </p:cNvSpPr>
          <p:nvPr/>
        </p:nvSpPr>
        <p:spPr>
          <a:xfrm>
            <a:off x="515942" y="280988"/>
            <a:ext cx="8112125" cy="690563"/>
          </a:xfrm>
          <a:prstGeom prst="rect">
            <a:avLst/>
          </a:prstGeom>
        </p:spPr>
        <p:txBody>
          <a:bodyPr lIns="0" tIns="0" rIns="0" bIns="0" anchor="b">
            <a:normAutofit/>
          </a:bodyPr>
          <a:lstStyle>
            <a:lvl1pPr algn="l" defTabSz="457200" rtl="0" eaLnBrk="1" fontAlgn="base" hangingPunct="1">
              <a:spcBef>
                <a:spcPct val="0"/>
              </a:spcBef>
              <a:spcAft>
                <a:spcPct val="0"/>
              </a:spcAft>
              <a:defRPr sz="2400" kern="1200" baseline="0">
                <a:solidFill>
                  <a:schemeClr val="accent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2pPr>
            <a:lvl3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3pPr>
            <a:lvl4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4pPr>
            <a:lvl5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9pPr>
          </a:lstStyle>
          <a:p>
            <a:pPr>
              <a:defRPr/>
            </a:pPr>
            <a:endParaRPr lang="en-US" b="0" dirty="0">
              <a:solidFill>
                <a:srgbClr val="830051"/>
              </a:solidFill>
            </a:endParaRPr>
          </a:p>
        </p:txBody>
      </p:sp>
      <p:pic>
        <p:nvPicPr>
          <p:cNvPr id="1032" name="Picture 2" descr="Z:\Clients\AZ-BMS\2014\5. Forxiga-Xigduo\3. Global projects\1. 360\786205172_Forxiga 2014 Speaker Training\4. Templates\Logo_19Aug14.png"/>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30164" y="5578489"/>
            <a:ext cx="2098675" cy="121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8" descr="C:\Users\inam\Desktop\SF\AZ_DIAB_RGB_H_COL_LG.png"/>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7704138" y="6210315"/>
            <a:ext cx="1439862" cy="666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Title Placeholder 1"/>
          <p:cNvSpPr>
            <a:spLocks noGrp="1"/>
          </p:cNvSpPr>
          <p:nvPr>
            <p:ph type="title"/>
          </p:nvPr>
        </p:nvSpPr>
        <p:spPr bwMode="auto">
          <a:xfrm>
            <a:off x="457200" y="274637"/>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Tree>
    <p:extLst>
      <p:ext uri="{BB962C8B-B14F-4D97-AF65-F5344CB8AC3E}">
        <p14:creationId xmlns:p14="http://schemas.microsoft.com/office/powerpoint/2010/main" val="3320512838"/>
      </p:ext>
    </p:extLst>
  </p:cSld>
  <p:clrMap bg1="lt1" tx1="dk1" bg2="lt2" tx2="dk2" accent1="accent1" accent2="accent2" accent3="accent3" accent4="accent4" accent5="accent5" accent6="accent6" hlink="hlink" folHlink="folHlink"/>
  <p:sldLayoutIdLst>
    <p:sldLayoutId id="2147490543" r:id="rId1"/>
    <p:sldLayoutId id="2147490544" r:id="rId2"/>
    <p:sldLayoutId id="2147490545" r:id="rId3"/>
    <p:sldLayoutId id="2147490546" r:id="rId4"/>
    <p:sldLayoutId id="2147490547" r:id="rId5"/>
  </p:sldLayoutIdLst>
  <p:txStyles>
    <p:titleStyle>
      <a:lvl1pPr algn="l" defTabSz="457200" rtl="0" eaLnBrk="0" fontAlgn="base" hangingPunct="0">
        <a:spcBef>
          <a:spcPct val="0"/>
        </a:spcBef>
        <a:spcAft>
          <a:spcPct val="0"/>
        </a:spcAft>
        <a:defRPr sz="2400" kern="1200">
          <a:solidFill>
            <a:schemeClr val="accent1"/>
          </a:solidFill>
          <a:latin typeface="Arial" pitchFamily="34" charset="0"/>
          <a:ea typeface="+mj-ea"/>
          <a:cs typeface="+mj-cs"/>
        </a:defRPr>
      </a:lvl1pPr>
      <a:lvl2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2pPr>
      <a:lvl3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3pPr>
      <a:lvl4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4pPr>
      <a:lvl5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9pPr>
    </p:titleStyle>
    <p:bodyStyle>
      <a:lvl1pPr marL="195263" indent="-195263" algn="l" defTabSz="457200" rtl="0" eaLnBrk="0" fontAlgn="base" hangingPunct="0">
        <a:spcBef>
          <a:spcPct val="0"/>
        </a:spcBef>
        <a:spcAft>
          <a:spcPts val="600"/>
        </a:spcAft>
        <a:buClr>
          <a:schemeClr val="accent1"/>
        </a:buClr>
        <a:buFont typeface="Arial" pitchFamily="34" charset="0"/>
        <a:buChar char="•"/>
        <a:defRPr kern="1200">
          <a:solidFill>
            <a:schemeClr val="tx1"/>
          </a:solidFill>
          <a:latin typeface="Arial" pitchFamily="34" charset="0"/>
          <a:ea typeface="+mn-ea"/>
          <a:cs typeface="+mn-cs"/>
        </a:defRPr>
      </a:lvl1pPr>
      <a:lvl2pPr marL="479425" indent="-273050" algn="l" defTabSz="457200" rtl="0" eaLnBrk="0" fontAlgn="base" hangingPunct="0">
        <a:spcBef>
          <a:spcPct val="0"/>
        </a:spcBef>
        <a:spcAft>
          <a:spcPts val="600"/>
        </a:spcAft>
        <a:buClr>
          <a:schemeClr val="accent2"/>
        </a:buClr>
        <a:buFont typeface="Arial" pitchFamily="34" charset="0"/>
        <a:buChar char="•"/>
        <a:defRPr kern="1200">
          <a:solidFill>
            <a:schemeClr val="tx1"/>
          </a:solidFill>
          <a:latin typeface="Arial" pitchFamily="34" charset="0"/>
          <a:ea typeface="+mn-ea"/>
          <a:cs typeface="+mn-cs"/>
        </a:defRPr>
      </a:lvl2pPr>
      <a:lvl3pPr marL="708025" indent="-207963" algn="l" defTabSz="457200" rtl="0" eaLnBrk="0" fontAlgn="base" hangingPunct="0">
        <a:spcBef>
          <a:spcPct val="0"/>
        </a:spcBef>
        <a:spcAft>
          <a:spcPts val="600"/>
        </a:spcAft>
        <a:buClr>
          <a:srgbClr val="4B306A"/>
        </a:buClr>
        <a:buFont typeface="Wingdings" pitchFamily="2" charset="2"/>
        <a:buChar char="§"/>
        <a:defRPr kern="1200">
          <a:solidFill>
            <a:schemeClr val="tx1"/>
          </a:solidFill>
          <a:latin typeface="Arial" pitchFamily="34" charset="0"/>
          <a:ea typeface="+mn-ea"/>
          <a:cs typeface="+mn-cs"/>
        </a:defRPr>
      </a:lvl3pPr>
      <a:lvl4pPr marL="1003300" indent="-285750" algn="l" defTabSz="457200" rtl="0" eaLnBrk="0" fontAlgn="base" hangingPunct="0">
        <a:spcBef>
          <a:spcPct val="0"/>
        </a:spcBef>
        <a:spcAft>
          <a:spcPts val="600"/>
        </a:spcAft>
        <a:buClr>
          <a:schemeClr val="accent1"/>
        </a:buClr>
        <a:buFont typeface="Wingdings" pitchFamily="2" charset="2"/>
        <a:buChar char="§"/>
        <a:defRPr kern="1200">
          <a:solidFill>
            <a:schemeClr val="tx1"/>
          </a:solidFill>
          <a:latin typeface="Arial" pitchFamily="34" charset="0"/>
          <a:ea typeface="+mn-ea"/>
          <a:cs typeface="+mn-cs"/>
        </a:defRPr>
      </a:lvl4pPr>
      <a:lvl5pPr marL="1284288" indent="-271463" algn="l" defTabSz="457200" rtl="0" eaLnBrk="0" fontAlgn="base" hangingPunct="0">
        <a:spcBef>
          <a:spcPct val="0"/>
        </a:spcBef>
        <a:spcAft>
          <a:spcPts val="600"/>
        </a:spcAft>
        <a:buClr>
          <a:schemeClr val="accent2"/>
        </a:buClr>
        <a:buSzPct val="90000"/>
        <a:buFont typeface="Courier New" pitchFamily="49" charset="0"/>
        <a:buChar char="o"/>
        <a:defRPr kern="1200">
          <a:solidFill>
            <a:schemeClr val="tx1"/>
          </a:solidFill>
          <a:latin typeface="Arial"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38049D83-919C-4F2C-90FD-19ACC3DDF71C}"/>
              </a:ext>
            </a:extLst>
          </p:cNvPr>
          <p:cNvSpPr>
            <a:spLocks noGrp="1"/>
          </p:cNvSpPr>
          <p:nvPr>
            <p:ph type="sldNum" sz="quarter" idx="4"/>
          </p:nvPr>
        </p:nvSpPr>
        <p:spPr>
          <a:xfrm>
            <a:off x="7942" y="6646863"/>
            <a:ext cx="395287" cy="215900"/>
          </a:xfrm>
          <a:prstGeom prst="rect">
            <a:avLst/>
          </a:prstGeom>
        </p:spPr>
        <p:txBody>
          <a:bodyPr vert="horz" wrap="square" lIns="0" tIns="0" rIns="0" bIns="0" numCol="1" anchor="t" anchorCtr="0" compatLnSpc="1">
            <a:prstTxWarp prst="textNoShape">
              <a:avLst/>
            </a:prstTxWarp>
          </a:bodyPr>
          <a:lstStyle>
            <a:lvl1pPr algn="ctr" eaLnBrk="1" hangingPunct="1">
              <a:defRPr sz="600" b="1"/>
            </a:lvl1pPr>
          </a:lstStyle>
          <a:p>
            <a:pPr defTabSz="457200" fontAlgn="auto">
              <a:spcBef>
                <a:spcPts val="0"/>
              </a:spcBef>
              <a:spcAft>
                <a:spcPts val="0"/>
              </a:spcAft>
              <a:defRPr/>
            </a:pPr>
            <a:fld id="{49EDCF58-AA3C-450D-8F2D-F90604036763}" type="slidenum">
              <a:rPr lang="en-GB" altLang="cs-CZ">
                <a:solidFill>
                  <a:srgbClr val="000000"/>
                </a:solidFill>
                <a:latin typeface="Arial"/>
              </a:rPr>
              <a:pPr defTabSz="457200" fontAlgn="auto">
                <a:spcBef>
                  <a:spcPts val="0"/>
                </a:spcBef>
                <a:spcAft>
                  <a:spcPts val="0"/>
                </a:spcAft>
                <a:defRPr/>
              </a:pPr>
              <a:t>‹#›</a:t>
            </a:fld>
            <a:endParaRPr lang="en-GB" altLang="cs-CZ">
              <a:solidFill>
                <a:srgbClr val="000000"/>
              </a:solidFill>
              <a:latin typeface="Arial"/>
            </a:endParaRPr>
          </a:p>
        </p:txBody>
      </p:sp>
      <p:pic>
        <p:nvPicPr>
          <p:cNvPr id="1027" name="Picture 4" descr="AZ_SYMBOL_RGB.jpg">
            <a:extLst>
              <a:ext uri="{FF2B5EF4-FFF2-40B4-BE49-F238E27FC236}">
                <a16:creationId xmlns:a16="http://schemas.microsoft.com/office/drawing/2014/main" id="{5C503A03-90F5-4E8C-A881-0CA28A9DD1DD}"/>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459805" y="6208728"/>
            <a:ext cx="454025"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Title Placeholder 1">
            <a:extLst>
              <a:ext uri="{FF2B5EF4-FFF2-40B4-BE49-F238E27FC236}">
                <a16:creationId xmlns:a16="http://schemas.microsoft.com/office/drawing/2014/main" id="{4E93995F-966E-4FA1-99CC-4AA214403991}"/>
              </a:ext>
            </a:extLst>
          </p:cNvPr>
          <p:cNvSpPr>
            <a:spLocks noGrp="1"/>
          </p:cNvSpPr>
          <p:nvPr>
            <p:ph type="title"/>
          </p:nvPr>
        </p:nvSpPr>
        <p:spPr bwMode="auto">
          <a:xfrm>
            <a:off x="457200" y="79375"/>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cs-CZ"/>
              <a:t>Click to edit </a:t>
            </a:r>
            <a:br>
              <a:rPr lang="en-US" altLang="cs-CZ"/>
            </a:br>
            <a:r>
              <a:rPr lang="en-US" altLang="cs-CZ"/>
              <a:t>Master </a:t>
            </a:r>
            <a:br>
              <a:rPr lang="en-US" altLang="cs-CZ"/>
            </a:br>
            <a:r>
              <a:rPr lang="en-US" altLang="cs-CZ"/>
              <a:t>title style</a:t>
            </a:r>
          </a:p>
        </p:txBody>
      </p:sp>
      <p:sp>
        <p:nvSpPr>
          <p:cNvPr id="1029" name="Text Placeholder 2">
            <a:extLst>
              <a:ext uri="{FF2B5EF4-FFF2-40B4-BE49-F238E27FC236}">
                <a16:creationId xmlns:a16="http://schemas.microsoft.com/office/drawing/2014/main" id="{57231794-4966-4A56-80DB-DAA883DB1947}"/>
              </a:ext>
            </a:extLst>
          </p:cNvPr>
          <p:cNvSpPr>
            <a:spLocks noGrp="1"/>
          </p:cNvSpPr>
          <p:nvPr>
            <p:ph type="body" idx="1"/>
          </p:nvPr>
        </p:nvSpPr>
        <p:spPr bwMode="auto">
          <a:xfrm>
            <a:off x="457200" y="146526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cs-CZ"/>
              <a:t>Click to edit Master text styles</a:t>
            </a:r>
          </a:p>
          <a:p>
            <a:pPr lvl="1"/>
            <a:r>
              <a:rPr lang="en-US" altLang="cs-CZ"/>
              <a:t>Second level</a:t>
            </a:r>
          </a:p>
          <a:p>
            <a:pPr lvl="2"/>
            <a:r>
              <a:rPr lang="en-US" altLang="cs-CZ"/>
              <a:t>Third level</a:t>
            </a:r>
          </a:p>
          <a:p>
            <a:pPr lvl="3"/>
            <a:r>
              <a:rPr lang="en-US" altLang="cs-CZ"/>
              <a:t>Fourth level</a:t>
            </a:r>
          </a:p>
          <a:p>
            <a:pPr lvl="4"/>
            <a:r>
              <a:rPr lang="en-US" altLang="cs-CZ"/>
              <a:t>Fifth level</a:t>
            </a:r>
          </a:p>
        </p:txBody>
      </p:sp>
      <p:sp>
        <p:nvSpPr>
          <p:cNvPr id="6" name="Footer Placeholder 5">
            <a:extLst>
              <a:ext uri="{FF2B5EF4-FFF2-40B4-BE49-F238E27FC236}">
                <a16:creationId xmlns:a16="http://schemas.microsoft.com/office/drawing/2014/main" id="{607FA2E3-C193-4350-8EE8-6EAE23DA887E}"/>
              </a:ext>
            </a:extLst>
          </p:cNvPr>
          <p:cNvSpPr>
            <a:spLocks noGrp="1"/>
          </p:cNvSpPr>
          <p:nvPr>
            <p:ph type="ftr" sz="quarter" idx="3"/>
          </p:nvPr>
        </p:nvSpPr>
        <p:spPr>
          <a:xfrm>
            <a:off x="3124200" y="6472246"/>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900">
                <a:solidFill>
                  <a:schemeClr val="accent6"/>
                </a:solidFill>
                <a:latin typeface="+mn-lt"/>
                <a:cs typeface="+mn-cs"/>
              </a:defRPr>
            </a:lvl1pPr>
          </a:lstStyle>
          <a:p>
            <a:pPr defTabSz="457200">
              <a:defRPr/>
            </a:pPr>
            <a:endParaRPr lang="en-US" b="0">
              <a:solidFill>
                <a:srgbClr val="3F4444"/>
              </a:solidFill>
            </a:endParaRPr>
          </a:p>
        </p:txBody>
      </p:sp>
      <p:sp>
        <p:nvSpPr>
          <p:cNvPr id="8" name="Rectangle 7">
            <a:extLst>
              <a:ext uri="{FF2B5EF4-FFF2-40B4-BE49-F238E27FC236}">
                <a16:creationId xmlns:a16="http://schemas.microsoft.com/office/drawing/2014/main" id="{0C5953EE-CAA3-469A-BFC4-256522A824A9}"/>
              </a:ext>
            </a:extLst>
          </p:cNvPr>
          <p:cNvSpPr/>
          <p:nvPr userDrawn="1"/>
        </p:nvSpPr>
        <p:spPr>
          <a:xfrm>
            <a:off x="0" y="4"/>
            <a:ext cx="8686800" cy="82551"/>
          </a:xfrm>
          <a:prstGeom prst="rect">
            <a:avLst/>
          </a:prstGeom>
          <a:gradFill flip="none" rotWithShape="1">
            <a:gsLst>
              <a:gs pos="30000">
                <a:schemeClr val="accent1"/>
              </a:gs>
              <a:gs pos="94000">
                <a:schemeClr val="accent1">
                  <a:shade val="67500"/>
                  <a:satMod val="115000"/>
                  <a:lumMod val="0"/>
                  <a:lumOff val="10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350" b="0" dirty="0">
              <a:solidFill>
                <a:srgbClr val="FFFFFF"/>
              </a:solidFill>
            </a:endParaRPr>
          </a:p>
        </p:txBody>
      </p:sp>
      <p:sp>
        <p:nvSpPr>
          <p:cNvPr id="9" name="Rectangle 8">
            <a:extLst>
              <a:ext uri="{FF2B5EF4-FFF2-40B4-BE49-F238E27FC236}">
                <a16:creationId xmlns:a16="http://schemas.microsoft.com/office/drawing/2014/main" id="{52EA25BD-6125-498D-8000-0C8F3C36B803}"/>
              </a:ext>
            </a:extLst>
          </p:cNvPr>
          <p:cNvSpPr/>
          <p:nvPr userDrawn="1"/>
        </p:nvSpPr>
        <p:spPr>
          <a:xfrm flipH="1">
            <a:off x="457200" y="6780228"/>
            <a:ext cx="8686800" cy="82551"/>
          </a:xfrm>
          <a:prstGeom prst="rect">
            <a:avLst/>
          </a:prstGeom>
          <a:gradFill flip="none" rotWithShape="1">
            <a:gsLst>
              <a:gs pos="20000">
                <a:schemeClr val="bg2"/>
              </a:gs>
              <a:gs pos="75000">
                <a:schemeClr val="accent1">
                  <a:shade val="67500"/>
                  <a:satMod val="115000"/>
                  <a:lumMod val="0"/>
                  <a:lumOff val="10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350" b="0" dirty="0">
              <a:solidFill>
                <a:srgbClr val="FFFFFF"/>
              </a:solidFill>
            </a:endParaRPr>
          </a:p>
        </p:txBody>
      </p:sp>
      <p:sp>
        <p:nvSpPr>
          <p:cNvPr id="10" name="Rectangle 9">
            <a:extLst>
              <a:ext uri="{FF2B5EF4-FFF2-40B4-BE49-F238E27FC236}">
                <a16:creationId xmlns:a16="http://schemas.microsoft.com/office/drawing/2014/main" id="{4D28110C-7868-4B6E-B6D1-4319E5DBC3B4}"/>
              </a:ext>
            </a:extLst>
          </p:cNvPr>
          <p:cNvSpPr/>
          <p:nvPr userDrawn="1"/>
        </p:nvSpPr>
        <p:spPr>
          <a:xfrm>
            <a:off x="457200" y="1233488"/>
            <a:ext cx="8686800" cy="36512"/>
          </a:xfrm>
          <a:prstGeom prst="rect">
            <a:avLst/>
          </a:prstGeom>
          <a:gradFill flip="none" rotWithShape="1">
            <a:gsLst>
              <a:gs pos="20000">
                <a:schemeClr val="bg2"/>
              </a:gs>
              <a:gs pos="96000">
                <a:schemeClr val="accent1">
                  <a:shade val="67500"/>
                  <a:satMod val="115000"/>
                  <a:lumMod val="0"/>
                  <a:lumOff val="10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350" b="0" dirty="0">
              <a:solidFill>
                <a:srgbClr val="FFFFFF"/>
              </a:solidFill>
            </a:endParaRPr>
          </a:p>
        </p:txBody>
      </p:sp>
    </p:spTree>
    <p:extLst>
      <p:ext uri="{BB962C8B-B14F-4D97-AF65-F5344CB8AC3E}">
        <p14:creationId xmlns:p14="http://schemas.microsoft.com/office/powerpoint/2010/main" val="3163745382"/>
      </p:ext>
    </p:extLst>
  </p:cSld>
  <p:clrMap bg1="lt1" tx1="dk1" bg2="lt2" tx2="dk2" accent1="accent1" accent2="accent2" accent3="accent3" accent4="accent4" accent5="accent5" accent6="accent6" hlink="hlink" folHlink="folHlink"/>
  <p:sldLayoutIdLst>
    <p:sldLayoutId id="2147490552" r:id="rId1"/>
    <p:sldLayoutId id="2147490553" r:id="rId2"/>
    <p:sldLayoutId id="2147490554" r:id="rId3"/>
    <p:sldLayoutId id="2147490555" r:id="rId4"/>
    <p:sldLayoutId id="2147490556" r:id="rId5"/>
  </p:sldLayoutIdLst>
  <p:hf hdr="0" ftr="0" dt="0"/>
  <p:txStyles>
    <p:titleStyle>
      <a:lvl1pPr algn="l" defTabSz="342900" rtl="0" eaLnBrk="0" fontAlgn="base" hangingPunct="0">
        <a:lnSpc>
          <a:spcPct val="90000"/>
        </a:lnSpc>
        <a:spcBef>
          <a:spcPct val="0"/>
        </a:spcBef>
        <a:spcAft>
          <a:spcPct val="0"/>
        </a:spcAft>
        <a:defRPr sz="1800" b="1" kern="1200">
          <a:solidFill>
            <a:schemeClr val="accent1"/>
          </a:solidFill>
          <a:latin typeface="+mj-lt"/>
          <a:ea typeface="+mj-ea"/>
          <a:cs typeface="+mj-cs"/>
        </a:defRPr>
      </a:lvl1pPr>
      <a:lvl2pPr algn="l" defTabSz="342900" rtl="0" eaLnBrk="0" fontAlgn="base" hangingPunct="0">
        <a:lnSpc>
          <a:spcPct val="90000"/>
        </a:lnSpc>
        <a:spcBef>
          <a:spcPct val="0"/>
        </a:spcBef>
        <a:spcAft>
          <a:spcPct val="0"/>
        </a:spcAft>
        <a:defRPr sz="1800" b="1">
          <a:solidFill>
            <a:schemeClr val="accent1"/>
          </a:solidFill>
          <a:latin typeface="Arial" panose="020B0604020202020204" pitchFamily="34" charset="0"/>
        </a:defRPr>
      </a:lvl2pPr>
      <a:lvl3pPr algn="l" defTabSz="342900" rtl="0" eaLnBrk="0" fontAlgn="base" hangingPunct="0">
        <a:lnSpc>
          <a:spcPct val="90000"/>
        </a:lnSpc>
        <a:spcBef>
          <a:spcPct val="0"/>
        </a:spcBef>
        <a:spcAft>
          <a:spcPct val="0"/>
        </a:spcAft>
        <a:defRPr sz="1800" b="1">
          <a:solidFill>
            <a:schemeClr val="accent1"/>
          </a:solidFill>
          <a:latin typeface="Arial" panose="020B0604020202020204" pitchFamily="34" charset="0"/>
        </a:defRPr>
      </a:lvl3pPr>
      <a:lvl4pPr algn="l" defTabSz="342900" rtl="0" eaLnBrk="0" fontAlgn="base" hangingPunct="0">
        <a:lnSpc>
          <a:spcPct val="90000"/>
        </a:lnSpc>
        <a:spcBef>
          <a:spcPct val="0"/>
        </a:spcBef>
        <a:spcAft>
          <a:spcPct val="0"/>
        </a:spcAft>
        <a:defRPr sz="1800" b="1">
          <a:solidFill>
            <a:schemeClr val="accent1"/>
          </a:solidFill>
          <a:latin typeface="Arial" panose="020B0604020202020204" pitchFamily="34" charset="0"/>
        </a:defRPr>
      </a:lvl4pPr>
      <a:lvl5pPr algn="l" defTabSz="342900" rtl="0" eaLnBrk="0" fontAlgn="base" hangingPunct="0">
        <a:lnSpc>
          <a:spcPct val="90000"/>
        </a:lnSpc>
        <a:spcBef>
          <a:spcPct val="0"/>
        </a:spcBef>
        <a:spcAft>
          <a:spcPct val="0"/>
        </a:spcAft>
        <a:defRPr sz="1800" b="1">
          <a:solidFill>
            <a:schemeClr val="accent1"/>
          </a:solidFill>
          <a:latin typeface="Arial" panose="020B0604020202020204" pitchFamily="34" charset="0"/>
        </a:defRPr>
      </a:lvl5pPr>
      <a:lvl6pPr marL="342900" algn="l" defTabSz="342900" rtl="0" fontAlgn="base">
        <a:lnSpc>
          <a:spcPct val="90000"/>
        </a:lnSpc>
        <a:spcBef>
          <a:spcPct val="0"/>
        </a:spcBef>
        <a:spcAft>
          <a:spcPct val="0"/>
        </a:spcAft>
        <a:defRPr sz="1800" b="1">
          <a:solidFill>
            <a:schemeClr val="accent1"/>
          </a:solidFill>
          <a:latin typeface="Arial" panose="020B0604020202020204" pitchFamily="34" charset="0"/>
        </a:defRPr>
      </a:lvl6pPr>
      <a:lvl7pPr marL="685800" algn="l" defTabSz="342900" rtl="0" fontAlgn="base">
        <a:lnSpc>
          <a:spcPct val="90000"/>
        </a:lnSpc>
        <a:spcBef>
          <a:spcPct val="0"/>
        </a:spcBef>
        <a:spcAft>
          <a:spcPct val="0"/>
        </a:spcAft>
        <a:defRPr sz="1800" b="1">
          <a:solidFill>
            <a:schemeClr val="accent1"/>
          </a:solidFill>
          <a:latin typeface="Arial" panose="020B0604020202020204" pitchFamily="34" charset="0"/>
        </a:defRPr>
      </a:lvl7pPr>
      <a:lvl8pPr marL="1028700" algn="l" defTabSz="342900" rtl="0" fontAlgn="base">
        <a:lnSpc>
          <a:spcPct val="90000"/>
        </a:lnSpc>
        <a:spcBef>
          <a:spcPct val="0"/>
        </a:spcBef>
        <a:spcAft>
          <a:spcPct val="0"/>
        </a:spcAft>
        <a:defRPr sz="1800" b="1">
          <a:solidFill>
            <a:schemeClr val="accent1"/>
          </a:solidFill>
          <a:latin typeface="Arial" panose="020B0604020202020204" pitchFamily="34" charset="0"/>
        </a:defRPr>
      </a:lvl8pPr>
      <a:lvl9pPr marL="1371600" algn="l" defTabSz="342900" rtl="0" fontAlgn="base">
        <a:lnSpc>
          <a:spcPct val="90000"/>
        </a:lnSpc>
        <a:spcBef>
          <a:spcPct val="0"/>
        </a:spcBef>
        <a:spcAft>
          <a:spcPct val="0"/>
        </a:spcAft>
        <a:defRPr sz="1800" b="1">
          <a:solidFill>
            <a:schemeClr val="accent1"/>
          </a:solidFill>
          <a:latin typeface="Arial" panose="020B0604020202020204" pitchFamily="34" charset="0"/>
        </a:defRPr>
      </a:lvl9pPr>
    </p:titleStyle>
    <p:bodyStyle>
      <a:lvl1pPr marL="128588" indent="-128588" algn="l" defTabSz="342900" rtl="0" eaLnBrk="0" fontAlgn="base" hangingPunct="0">
        <a:lnSpc>
          <a:spcPct val="95000"/>
        </a:lnSpc>
        <a:spcBef>
          <a:spcPts val="750"/>
        </a:spcBef>
        <a:spcAft>
          <a:spcPct val="0"/>
        </a:spcAft>
        <a:buClr>
          <a:schemeClr val="bg2"/>
        </a:buClr>
        <a:buFont typeface="Arial" panose="020B0604020202020204" pitchFamily="34" charset="0"/>
        <a:buChar char="•"/>
        <a:defRPr sz="1500" kern="1200">
          <a:solidFill>
            <a:srgbClr val="3F4444"/>
          </a:solidFill>
          <a:latin typeface="+mn-lt"/>
          <a:ea typeface="+mn-ea"/>
          <a:cs typeface="+mn-cs"/>
        </a:defRPr>
      </a:lvl1pPr>
      <a:lvl2pPr marL="557213" indent="-214313" algn="l" defTabSz="342900" rtl="0" eaLnBrk="0" fontAlgn="base" hangingPunct="0">
        <a:lnSpc>
          <a:spcPct val="95000"/>
        </a:lnSpc>
        <a:spcBef>
          <a:spcPts val="450"/>
        </a:spcBef>
        <a:spcAft>
          <a:spcPct val="0"/>
        </a:spcAft>
        <a:buClr>
          <a:schemeClr val="bg2"/>
        </a:buClr>
        <a:buFont typeface="Arial" panose="020B0604020202020204" pitchFamily="34" charset="0"/>
        <a:buChar char="–"/>
        <a:defRPr kern="1200">
          <a:solidFill>
            <a:srgbClr val="3F4444"/>
          </a:solidFill>
          <a:latin typeface="+mn-lt"/>
          <a:ea typeface="+mn-ea"/>
          <a:cs typeface="+mn-cs"/>
        </a:defRPr>
      </a:lvl2pPr>
      <a:lvl3pPr marL="857250" indent="-171450" algn="l" defTabSz="342900" rtl="0" eaLnBrk="0" fontAlgn="base" hangingPunct="0">
        <a:lnSpc>
          <a:spcPct val="95000"/>
        </a:lnSpc>
        <a:spcBef>
          <a:spcPts val="225"/>
        </a:spcBef>
        <a:spcAft>
          <a:spcPct val="0"/>
        </a:spcAft>
        <a:buClr>
          <a:schemeClr val="bg2"/>
        </a:buClr>
        <a:buFont typeface="Arial" panose="020B0604020202020204" pitchFamily="34" charset="0"/>
        <a:buChar char="•"/>
        <a:defRPr sz="1200" kern="1200">
          <a:solidFill>
            <a:srgbClr val="3F4444"/>
          </a:solidFill>
          <a:latin typeface="+mn-lt"/>
          <a:ea typeface="+mn-ea"/>
          <a:cs typeface="+mn-cs"/>
        </a:defRPr>
      </a:lvl3pPr>
      <a:lvl4pPr marL="1200150" indent="-171450" algn="l" defTabSz="342900" rtl="0" eaLnBrk="0" fontAlgn="base" hangingPunct="0">
        <a:lnSpc>
          <a:spcPct val="95000"/>
        </a:lnSpc>
        <a:spcBef>
          <a:spcPts val="225"/>
        </a:spcBef>
        <a:spcAft>
          <a:spcPct val="0"/>
        </a:spcAft>
        <a:buClr>
          <a:schemeClr val="bg2"/>
        </a:buClr>
        <a:buFont typeface="Arial" panose="020B0604020202020204" pitchFamily="34" charset="0"/>
        <a:buChar char="–"/>
        <a:defRPr sz="1050" kern="1200">
          <a:solidFill>
            <a:srgbClr val="3F4444"/>
          </a:solidFill>
          <a:latin typeface="+mn-lt"/>
          <a:ea typeface="+mn-ea"/>
          <a:cs typeface="+mn-cs"/>
        </a:defRPr>
      </a:lvl4pPr>
      <a:lvl5pPr marL="1543050" indent="-171450" algn="l" defTabSz="342900" rtl="0" eaLnBrk="0" fontAlgn="base" hangingPunct="0">
        <a:lnSpc>
          <a:spcPct val="95000"/>
        </a:lnSpc>
        <a:spcBef>
          <a:spcPts val="225"/>
        </a:spcBef>
        <a:spcAft>
          <a:spcPct val="0"/>
        </a:spcAft>
        <a:buClr>
          <a:schemeClr val="bg2"/>
        </a:buClr>
        <a:buFont typeface="Arial" panose="020B0604020202020204" pitchFamily="34" charset="0"/>
        <a:buChar char="»"/>
        <a:defRPr sz="1050" kern="1200">
          <a:solidFill>
            <a:srgbClr val="3F4444"/>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7"/>
            </p:custDataLst>
            <p:ext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3095"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9" y="2119"/>
                        <a:ext cx="1587" cy="2116"/>
                      </a:xfrm>
                      <a:prstGeom prst="rect">
                        <a:avLst/>
                      </a:prstGeom>
                    </p:spPr>
                  </p:pic>
                </p:oleObj>
              </mc:Fallback>
            </mc:AlternateContent>
          </a:graphicData>
        </a:graphic>
      </p:graphicFrame>
      <p:sp>
        <p:nvSpPr>
          <p:cNvPr id="1027" name="Text Placeholder 2"/>
          <p:cNvSpPr>
            <a:spLocks noGrp="1"/>
          </p:cNvSpPr>
          <p:nvPr>
            <p:ph type="body" idx="1"/>
          </p:nvPr>
        </p:nvSpPr>
        <p:spPr bwMode="auto">
          <a:xfrm>
            <a:off x="317502" y="1750490"/>
            <a:ext cx="8509000" cy="394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28" name="Title Placeholder 1"/>
          <p:cNvSpPr>
            <a:spLocks noGrp="1"/>
          </p:cNvSpPr>
          <p:nvPr>
            <p:ph type="title"/>
          </p:nvPr>
        </p:nvSpPr>
        <p:spPr bwMode="auto">
          <a:xfrm>
            <a:off x="317502" y="687918"/>
            <a:ext cx="85090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3151791439"/>
      </p:ext>
    </p:extLst>
  </p:cSld>
  <p:clrMap bg1="lt1" tx1="dk1" bg2="lt2" tx2="dk2" accent1="accent1" accent2="accent2" accent3="accent3" accent4="accent4" accent5="accent5" accent6="accent6" hlink="hlink" folHlink="folHlink"/>
  <p:sldLayoutIdLst>
    <p:sldLayoutId id="2147490598" r:id="rId1"/>
    <p:sldLayoutId id="2147490599" r:id="rId2"/>
    <p:sldLayoutId id="2147490600" r:id="rId3"/>
    <p:sldLayoutId id="2147490601" r:id="rId4"/>
    <p:sldLayoutId id="2147490602" r:id="rId5"/>
    <p:sldLayoutId id="2147490603" r:id="rId6"/>
    <p:sldLayoutId id="2147490604" r:id="rId7"/>
    <p:sldLayoutId id="2147490605" r:id="rId8"/>
    <p:sldLayoutId id="2147490606" r:id="rId9"/>
    <p:sldLayoutId id="2147490607" r:id="rId10"/>
    <p:sldLayoutId id="2147490608" r:id="rId11"/>
    <p:sldLayoutId id="2147490609" r:id="rId12"/>
    <p:sldLayoutId id="2147490612" r:id="rId13"/>
    <p:sldLayoutId id="2147490613" r:id="rId14"/>
  </p:sldLayoutIdLst>
  <p:transition/>
  <p:hf sldNum="0" hdr="0" ftr="0" dt="0"/>
  <p:txStyles>
    <p:titleStyle>
      <a:lvl1pPr algn="l" rtl="0" fontAlgn="base">
        <a:spcBef>
          <a:spcPct val="0"/>
        </a:spcBef>
        <a:spcAft>
          <a:spcPct val="0"/>
        </a:spcAft>
        <a:defRPr sz="3200" b="1" kern="1200">
          <a:solidFill>
            <a:schemeClr val="accent2"/>
          </a:solidFill>
          <a:latin typeface="+mj-lt"/>
          <a:ea typeface="+mj-ea"/>
          <a:cs typeface="+mj-cs"/>
        </a:defRPr>
      </a:lvl1pPr>
      <a:lvl2pPr algn="l" rtl="0" fontAlgn="base">
        <a:spcBef>
          <a:spcPct val="0"/>
        </a:spcBef>
        <a:spcAft>
          <a:spcPct val="0"/>
        </a:spcAft>
        <a:defRPr sz="3200" b="1">
          <a:solidFill>
            <a:schemeClr val="accent2"/>
          </a:solidFill>
          <a:latin typeface="Verdana" pitchFamily="34" charset="0"/>
        </a:defRPr>
      </a:lvl2pPr>
      <a:lvl3pPr algn="l" rtl="0" fontAlgn="base">
        <a:spcBef>
          <a:spcPct val="0"/>
        </a:spcBef>
        <a:spcAft>
          <a:spcPct val="0"/>
        </a:spcAft>
        <a:defRPr sz="3200" b="1">
          <a:solidFill>
            <a:schemeClr val="accent2"/>
          </a:solidFill>
          <a:latin typeface="Verdana" pitchFamily="34" charset="0"/>
        </a:defRPr>
      </a:lvl3pPr>
      <a:lvl4pPr algn="l" rtl="0" fontAlgn="base">
        <a:spcBef>
          <a:spcPct val="0"/>
        </a:spcBef>
        <a:spcAft>
          <a:spcPct val="0"/>
        </a:spcAft>
        <a:defRPr sz="3200" b="1">
          <a:solidFill>
            <a:schemeClr val="accent2"/>
          </a:solidFill>
          <a:latin typeface="Verdana" pitchFamily="34" charset="0"/>
        </a:defRPr>
      </a:lvl4pPr>
      <a:lvl5pPr algn="l" rtl="0" fontAlgn="base">
        <a:spcBef>
          <a:spcPct val="0"/>
        </a:spcBef>
        <a:spcAft>
          <a:spcPct val="0"/>
        </a:spcAft>
        <a:defRPr sz="3200" b="1">
          <a:solidFill>
            <a:schemeClr val="accent2"/>
          </a:solidFill>
          <a:latin typeface="Verdana" pitchFamily="34" charset="0"/>
        </a:defRPr>
      </a:lvl5pPr>
      <a:lvl6pPr marL="609585" algn="l" rtl="0" fontAlgn="base">
        <a:spcBef>
          <a:spcPct val="0"/>
        </a:spcBef>
        <a:spcAft>
          <a:spcPct val="0"/>
        </a:spcAft>
        <a:defRPr sz="3200" b="1">
          <a:solidFill>
            <a:schemeClr val="accent2"/>
          </a:solidFill>
          <a:latin typeface="Verdana" pitchFamily="34" charset="0"/>
        </a:defRPr>
      </a:lvl6pPr>
      <a:lvl7pPr marL="1219170" algn="l" rtl="0" fontAlgn="base">
        <a:spcBef>
          <a:spcPct val="0"/>
        </a:spcBef>
        <a:spcAft>
          <a:spcPct val="0"/>
        </a:spcAft>
        <a:defRPr sz="3200" b="1">
          <a:solidFill>
            <a:schemeClr val="accent2"/>
          </a:solidFill>
          <a:latin typeface="Verdana" pitchFamily="34" charset="0"/>
        </a:defRPr>
      </a:lvl7pPr>
      <a:lvl8pPr marL="1828754" algn="l" rtl="0" fontAlgn="base">
        <a:spcBef>
          <a:spcPct val="0"/>
        </a:spcBef>
        <a:spcAft>
          <a:spcPct val="0"/>
        </a:spcAft>
        <a:defRPr sz="3200" b="1">
          <a:solidFill>
            <a:schemeClr val="accent2"/>
          </a:solidFill>
          <a:latin typeface="Verdana" pitchFamily="34" charset="0"/>
        </a:defRPr>
      </a:lvl8pPr>
      <a:lvl9pPr marL="2438339" algn="l" rtl="0" fontAlgn="base">
        <a:spcBef>
          <a:spcPct val="0"/>
        </a:spcBef>
        <a:spcAft>
          <a:spcPct val="0"/>
        </a:spcAft>
        <a:defRPr sz="3200" b="1">
          <a:solidFill>
            <a:schemeClr val="accent2"/>
          </a:solidFill>
          <a:latin typeface="Verdana" pitchFamily="34" charset="0"/>
        </a:defRPr>
      </a:lvl9pPr>
    </p:titleStyle>
    <p:bodyStyle>
      <a:lvl1pPr marL="353475" indent="-353475" algn="l" rtl="0" fontAlgn="base">
        <a:spcBef>
          <a:spcPct val="20000"/>
        </a:spcBef>
        <a:spcAft>
          <a:spcPct val="0"/>
        </a:spcAft>
        <a:buClr>
          <a:schemeClr val="accent1"/>
        </a:buClr>
        <a:buFont typeface="Verdana" pitchFamily="34" charset="0"/>
        <a:buChar char="•"/>
        <a:defRPr kern="1200">
          <a:solidFill>
            <a:schemeClr val="accent2"/>
          </a:solidFill>
          <a:latin typeface="+mn-lt"/>
          <a:ea typeface="+mn-ea"/>
          <a:cs typeface="+mn-cs"/>
        </a:defRPr>
      </a:lvl1pPr>
      <a:lvl2pPr marL="715415" indent="-361942" algn="l" rtl="0" fontAlgn="base">
        <a:spcBef>
          <a:spcPct val="20000"/>
        </a:spcBef>
        <a:spcAft>
          <a:spcPct val="0"/>
        </a:spcAft>
        <a:buClr>
          <a:schemeClr val="tx2"/>
        </a:buClr>
        <a:buFont typeface="Verdana" pitchFamily="34" charset="0"/>
        <a:buChar char="•"/>
        <a:defRPr sz="2133" kern="1200">
          <a:solidFill>
            <a:schemeClr val="accent2"/>
          </a:solidFill>
          <a:latin typeface="+mn-lt"/>
          <a:ea typeface="+mn-ea"/>
          <a:cs typeface="+mn-cs"/>
        </a:defRPr>
      </a:lvl2pPr>
      <a:lvl3pPr marL="1077357" indent="-361942" algn="l" rtl="0" fontAlgn="base">
        <a:spcBef>
          <a:spcPct val="20000"/>
        </a:spcBef>
        <a:spcAft>
          <a:spcPct val="0"/>
        </a:spcAft>
        <a:buClr>
          <a:srgbClr val="E64A0E"/>
        </a:buClr>
        <a:buFont typeface="Verdana" pitchFamily="34" charset="0"/>
        <a:buChar char="•"/>
        <a:defRPr sz="1867" kern="1200">
          <a:solidFill>
            <a:schemeClr val="accent2"/>
          </a:solidFill>
          <a:latin typeface="+mn-lt"/>
          <a:ea typeface="+mn-ea"/>
          <a:cs typeface="+mn-cs"/>
        </a:defRPr>
      </a:lvl3pPr>
      <a:lvl4pPr marL="1314418" indent="-237061" algn="l" rtl="0" fontAlgn="base">
        <a:spcBef>
          <a:spcPct val="20000"/>
        </a:spcBef>
        <a:spcAft>
          <a:spcPct val="0"/>
        </a:spcAft>
        <a:buClr>
          <a:srgbClr val="82786F"/>
        </a:buClr>
        <a:buFont typeface="Verdana" pitchFamily="34" charset="0"/>
        <a:buChar char="•"/>
        <a:defRPr sz="1600" kern="1200">
          <a:solidFill>
            <a:schemeClr val="accent2"/>
          </a:solidFill>
          <a:latin typeface="+mn-lt"/>
          <a:ea typeface="+mn-ea"/>
          <a:cs typeface="+mn-cs"/>
        </a:defRPr>
      </a:lvl4pPr>
      <a:lvl5pPr marL="1676358" indent="-245527" algn="l" rtl="0" fontAlgn="base">
        <a:spcBef>
          <a:spcPct val="20000"/>
        </a:spcBef>
        <a:spcAft>
          <a:spcPct val="0"/>
        </a:spcAft>
        <a:buClr>
          <a:srgbClr val="001423"/>
        </a:buClr>
        <a:buFont typeface="Verdana" pitchFamily="34" charset="0"/>
        <a:buChar char="•"/>
        <a:defRPr sz="1467" kern="1200">
          <a:solidFill>
            <a:schemeClr val="accent2"/>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514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9" y="2119"/>
                        <a:ext cx="1587" cy="2116"/>
                      </a:xfrm>
                      <a:prstGeom prst="rect">
                        <a:avLst/>
                      </a:prstGeom>
                    </p:spPr>
                  </p:pic>
                </p:oleObj>
              </mc:Fallback>
            </mc:AlternateContent>
          </a:graphicData>
        </a:graphic>
      </p:graphicFrame>
      <p:sp>
        <p:nvSpPr>
          <p:cNvPr id="1027" name="Text Placeholder 2"/>
          <p:cNvSpPr>
            <a:spLocks noGrp="1"/>
          </p:cNvSpPr>
          <p:nvPr>
            <p:ph type="body" idx="1"/>
          </p:nvPr>
        </p:nvSpPr>
        <p:spPr bwMode="auto">
          <a:xfrm>
            <a:off x="317502" y="1750489"/>
            <a:ext cx="8509000" cy="394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28" name="Title Placeholder 1"/>
          <p:cNvSpPr>
            <a:spLocks noGrp="1"/>
          </p:cNvSpPr>
          <p:nvPr>
            <p:ph type="title"/>
          </p:nvPr>
        </p:nvSpPr>
        <p:spPr bwMode="auto">
          <a:xfrm>
            <a:off x="317502" y="687919"/>
            <a:ext cx="85090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noProof="0" dirty="0"/>
              <a:t>Click to edit Master title style</a:t>
            </a:r>
          </a:p>
        </p:txBody>
      </p:sp>
    </p:spTree>
    <p:extLst>
      <p:ext uri="{BB962C8B-B14F-4D97-AF65-F5344CB8AC3E}">
        <p14:creationId xmlns:p14="http://schemas.microsoft.com/office/powerpoint/2010/main" val="1791535404"/>
      </p:ext>
    </p:extLst>
  </p:cSld>
  <p:clrMap bg1="lt1" tx1="dk1" bg2="lt2" tx2="dk2" accent1="accent1" accent2="accent2" accent3="accent3" accent4="accent4" accent5="accent5" accent6="accent6" hlink="hlink" folHlink="folHlink"/>
  <p:sldLayoutIdLst>
    <p:sldLayoutId id="2147490615" r:id="rId1"/>
    <p:sldLayoutId id="2147490616" r:id="rId2"/>
    <p:sldLayoutId id="2147490617" r:id="rId3"/>
    <p:sldLayoutId id="2147490618" r:id="rId4"/>
    <p:sldLayoutId id="2147490619" r:id="rId5"/>
    <p:sldLayoutId id="2147490620" r:id="rId6"/>
    <p:sldLayoutId id="2147490621" r:id="rId7"/>
    <p:sldLayoutId id="2147490622" r:id="rId8"/>
    <p:sldLayoutId id="2147490624" r:id="rId9"/>
    <p:sldLayoutId id="2147490625" r:id="rId10"/>
  </p:sldLayoutIdLst>
  <p:transition/>
  <p:hf hdr="0" dt="0"/>
  <p:txStyles>
    <p:titleStyle>
      <a:lvl1pPr algn="l" rtl="0" fontAlgn="base">
        <a:spcBef>
          <a:spcPct val="0"/>
        </a:spcBef>
        <a:spcAft>
          <a:spcPct val="0"/>
        </a:spcAft>
        <a:defRPr sz="20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7189" algn="l" rtl="0" fontAlgn="base">
        <a:spcBef>
          <a:spcPct val="0"/>
        </a:spcBef>
        <a:spcAft>
          <a:spcPct val="0"/>
        </a:spcAft>
        <a:defRPr sz="2400" b="1">
          <a:solidFill>
            <a:schemeClr val="accent2"/>
          </a:solidFill>
          <a:latin typeface="Verdana" pitchFamily="34" charset="0"/>
        </a:defRPr>
      </a:lvl6pPr>
      <a:lvl7pPr marL="914378" algn="l" rtl="0" fontAlgn="base">
        <a:spcBef>
          <a:spcPct val="0"/>
        </a:spcBef>
        <a:spcAft>
          <a:spcPct val="0"/>
        </a:spcAft>
        <a:defRPr sz="2400" b="1">
          <a:solidFill>
            <a:schemeClr val="accent2"/>
          </a:solidFill>
          <a:latin typeface="Verdana" pitchFamily="34" charset="0"/>
        </a:defRPr>
      </a:lvl7pPr>
      <a:lvl8pPr marL="1371566" algn="l" rtl="0" fontAlgn="base">
        <a:spcBef>
          <a:spcPct val="0"/>
        </a:spcBef>
        <a:spcAft>
          <a:spcPct val="0"/>
        </a:spcAft>
        <a:defRPr sz="2400" b="1">
          <a:solidFill>
            <a:schemeClr val="accent2"/>
          </a:solidFill>
          <a:latin typeface="Verdana" pitchFamily="34" charset="0"/>
        </a:defRPr>
      </a:lvl8pPr>
      <a:lvl9pPr marL="1828754" algn="l" rtl="0" fontAlgn="base">
        <a:spcBef>
          <a:spcPct val="0"/>
        </a:spcBef>
        <a:spcAft>
          <a:spcPct val="0"/>
        </a:spcAft>
        <a:defRPr sz="2400" b="1">
          <a:solidFill>
            <a:schemeClr val="accent2"/>
          </a:solidFill>
          <a:latin typeface="Verdana" pitchFamily="34" charset="0"/>
        </a:defRPr>
      </a:lvl9pPr>
    </p:titleStyle>
    <p:bodyStyle>
      <a:lvl1pPr marL="265106" indent="-265106" algn="l" rtl="0" fontAlgn="base">
        <a:spcBef>
          <a:spcPts val="450"/>
        </a:spcBef>
        <a:spcAft>
          <a:spcPts val="450"/>
        </a:spcAft>
        <a:buClr>
          <a:schemeClr val="accent1"/>
        </a:buClr>
        <a:buFont typeface="Verdana" pitchFamily="34" charset="0"/>
        <a:buChar char="•"/>
        <a:defRPr kern="1200">
          <a:solidFill>
            <a:schemeClr val="accent2"/>
          </a:solidFill>
          <a:latin typeface="+mn-lt"/>
          <a:ea typeface="+mn-ea"/>
          <a:cs typeface="+mn-cs"/>
        </a:defRPr>
      </a:lvl1pPr>
      <a:lvl2pPr marL="536561" indent="-271457" algn="l" rtl="0" fontAlgn="base">
        <a:spcBef>
          <a:spcPts val="450"/>
        </a:spcBef>
        <a:spcAft>
          <a:spcPts val="450"/>
        </a:spcAft>
        <a:buClr>
          <a:schemeClr val="tx2"/>
        </a:buClr>
        <a:buFont typeface="Verdana" pitchFamily="34" charset="0"/>
        <a:buChar char="•"/>
        <a:defRPr sz="1600" kern="1200">
          <a:solidFill>
            <a:schemeClr val="accent2"/>
          </a:solidFill>
          <a:latin typeface="+mn-lt"/>
          <a:ea typeface="+mn-ea"/>
          <a:cs typeface="+mn-cs"/>
        </a:defRPr>
      </a:lvl2pPr>
      <a:lvl3pPr marL="808018" indent="-271457" algn="l" rtl="0" fontAlgn="base">
        <a:spcBef>
          <a:spcPts val="450"/>
        </a:spcBef>
        <a:spcAft>
          <a:spcPts val="450"/>
        </a:spcAft>
        <a:buClr>
          <a:srgbClr val="E64A0E"/>
        </a:buClr>
        <a:buFont typeface="Verdana" pitchFamily="34" charset="0"/>
        <a:buChar char="•"/>
        <a:defRPr sz="1400" kern="1200">
          <a:solidFill>
            <a:schemeClr val="accent2"/>
          </a:solidFill>
          <a:latin typeface="+mn-lt"/>
          <a:ea typeface="+mn-ea"/>
          <a:cs typeface="+mn-cs"/>
        </a:defRPr>
      </a:lvl3pPr>
      <a:lvl4pPr marL="985814" indent="-177796" algn="l" rtl="0" fontAlgn="base">
        <a:spcBef>
          <a:spcPts val="450"/>
        </a:spcBef>
        <a:spcAft>
          <a:spcPts val="450"/>
        </a:spcAft>
        <a:buClr>
          <a:srgbClr val="82786F"/>
        </a:buClr>
        <a:buFont typeface="Verdana" pitchFamily="34" charset="0"/>
        <a:buChar char="•"/>
        <a:defRPr sz="1200" kern="1200">
          <a:solidFill>
            <a:schemeClr val="accent2"/>
          </a:solidFill>
          <a:latin typeface="+mn-lt"/>
          <a:ea typeface="+mn-ea"/>
          <a:cs typeface="+mn-cs"/>
        </a:defRPr>
      </a:lvl4pPr>
      <a:lvl5pPr marL="1257269" indent="-184145" algn="l" rtl="0" fontAlgn="base">
        <a:spcBef>
          <a:spcPts val="450"/>
        </a:spcBef>
        <a:spcAft>
          <a:spcPts val="450"/>
        </a:spcAft>
        <a:buClr>
          <a:srgbClr val="001423"/>
        </a:buClr>
        <a:buFont typeface="Verdana" pitchFamily="34" charset="0"/>
        <a:buChar char="•"/>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0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500052"/>
      </p:ext>
    </p:extLst>
  </p:cSld>
  <p:clrMap bg1="lt1" tx1="dk1" bg2="lt2" tx2="dk2" accent1="accent1" accent2="accent2" accent3="accent3" accent4="accent4" accent5="accent5" accent6="accent6" hlink="hlink" folHlink="folHlink"/>
  <p:sldLayoutIdLst>
    <p:sldLayoutId id="2147490627" r:id="rId1"/>
    <p:sldLayoutId id="2147490628" r:id="rId2"/>
    <p:sldLayoutId id="2147490629" r:id="rId3"/>
    <p:sldLayoutId id="2147490630" r:id="rId4"/>
    <p:sldLayoutId id="2147490631" r:id="rId5"/>
    <p:sldLayoutId id="2147490632" r:id="rId6"/>
    <p:sldLayoutId id="2147490633" r:id="rId7"/>
    <p:sldLayoutId id="2147490634" r:id="rId8"/>
    <p:sldLayoutId id="2147490635" r:id="rId9"/>
    <p:sldLayoutId id="2147490636" r:id="rId10"/>
    <p:sldLayoutId id="2147490637" r:id="rId11"/>
    <p:sldLayoutId id="2147490638" r:id="rId12"/>
    <p:sldLayoutId id="2147490639" r:id="rId13"/>
    <p:sldLayoutId id="2147490640" r:id="rId14"/>
    <p:sldLayoutId id="2147490641" r:id="rId15"/>
  </p:sldLayoutIdLst>
  <p:hf hdr="0"/>
  <p:txStyles>
    <p:titleStyle>
      <a:lvl1pPr algn="l" rtl="0" eaLnBrk="0" fontAlgn="base" hangingPunct="0">
        <a:spcBef>
          <a:spcPct val="0"/>
        </a:spcBef>
        <a:spcAft>
          <a:spcPct val="0"/>
        </a:spcAft>
        <a:defRPr sz="2100" b="1">
          <a:solidFill>
            <a:schemeClr val="tx2"/>
          </a:solidFill>
          <a:latin typeface="Arial" pitchFamily="34" charset="0"/>
          <a:ea typeface="Arial" charset="0"/>
          <a:cs typeface="Arial" pitchFamily="34" charset="0"/>
        </a:defRPr>
      </a:lvl1pPr>
      <a:lvl2pPr algn="l" rtl="0" eaLnBrk="0" fontAlgn="base" hangingPunct="0">
        <a:spcBef>
          <a:spcPct val="0"/>
        </a:spcBef>
        <a:spcAft>
          <a:spcPct val="0"/>
        </a:spcAft>
        <a:defRPr sz="2100" b="1">
          <a:solidFill>
            <a:schemeClr val="tx2"/>
          </a:solidFill>
          <a:latin typeface="Arial" charset="0"/>
          <a:ea typeface="Arial" charset="0"/>
          <a:cs typeface="Arial" pitchFamily="34" charset="0"/>
        </a:defRPr>
      </a:lvl2pPr>
      <a:lvl3pPr algn="l" rtl="0" eaLnBrk="0" fontAlgn="base" hangingPunct="0">
        <a:spcBef>
          <a:spcPct val="0"/>
        </a:spcBef>
        <a:spcAft>
          <a:spcPct val="0"/>
        </a:spcAft>
        <a:defRPr sz="2100" b="1">
          <a:solidFill>
            <a:schemeClr val="tx2"/>
          </a:solidFill>
          <a:latin typeface="Arial" charset="0"/>
          <a:ea typeface="Arial" charset="0"/>
          <a:cs typeface="Arial" pitchFamily="34" charset="0"/>
        </a:defRPr>
      </a:lvl3pPr>
      <a:lvl4pPr algn="l" rtl="0" eaLnBrk="0" fontAlgn="base" hangingPunct="0">
        <a:spcBef>
          <a:spcPct val="0"/>
        </a:spcBef>
        <a:spcAft>
          <a:spcPct val="0"/>
        </a:spcAft>
        <a:defRPr sz="2100" b="1">
          <a:solidFill>
            <a:schemeClr val="tx2"/>
          </a:solidFill>
          <a:latin typeface="Arial" charset="0"/>
          <a:ea typeface="Arial" charset="0"/>
          <a:cs typeface="Arial" pitchFamily="34" charset="0"/>
        </a:defRPr>
      </a:lvl4pPr>
      <a:lvl5pPr algn="l" rtl="0" eaLnBrk="0" fontAlgn="base" hangingPunct="0">
        <a:spcBef>
          <a:spcPct val="0"/>
        </a:spcBef>
        <a:spcAft>
          <a:spcPct val="0"/>
        </a:spcAft>
        <a:defRPr sz="2100" b="1">
          <a:solidFill>
            <a:schemeClr val="tx2"/>
          </a:solidFill>
          <a:latin typeface="Arial" charset="0"/>
          <a:ea typeface="Arial" charset="0"/>
          <a:cs typeface="Arial" pitchFamily="34" charset="0"/>
        </a:defRPr>
      </a:lvl5pPr>
      <a:lvl6pPr marL="342884" algn="l" rtl="0" eaLnBrk="1" fontAlgn="base" hangingPunct="1">
        <a:spcBef>
          <a:spcPct val="0"/>
        </a:spcBef>
        <a:spcAft>
          <a:spcPct val="0"/>
        </a:spcAft>
        <a:defRPr sz="2100" b="1">
          <a:solidFill>
            <a:schemeClr val="tx2"/>
          </a:solidFill>
          <a:latin typeface="Arial" charset="0"/>
        </a:defRPr>
      </a:lvl6pPr>
      <a:lvl7pPr marL="685766" algn="l" rtl="0" eaLnBrk="1" fontAlgn="base" hangingPunct="1">
        <a:spcBef>
          <a:spcPct val="0"/>
        </a:spcBef>
        <a:spcAft>
          <a:spcPct val="0"/>
        </a:spcAft>
        <a:defRPr sz="2100" b="1">
          <a:solidFill>
            <a:schemeClr val="tx2"/>
          </a:solidFill>
          <a:latin typeface="Arial" charset="0"/>
        </a:defRPr>
      </a:lvl7pPr>
      <a:lvl8pPr marL="1028649" algn="l" rtl="0" eaLnBrk="1" fontAlgn="base" hangingPunct="1">
        <a:spcBef>
          <a:spcPct val="0"/>
        </a:spcBef>
        <a:spcAft>
          <a:spcPct val="0"/>
        </a:spcAft>
        <a:defRPr sz="2100" b="1">
          <a:solidFill>
            <a:schemeClr val="tx2"/>
          </a:solidFill>
          <a:latin typeface="Arial" charset="0"/>
        </a:defRPr>
      </a:lvl8pPr>
      <a:lvl9pPr marL="1371532" algn="l" rtl="0" eaLnBrk="1" fontAlgn="base" hangingPunct="1">
        <a:spcBef>
          <a:spcPct val="0"/>
        </a:spcBef>
        <a:spcAft>
          <a:spcPct val="0"/>
        </a:spcAft>
        <a:defRPr sz="2100" b="1">
          <a:solidFill>
            <a:schemeClr val="tx2"/>
          </a:solidFill>
          <a:latin typeface="Arial" charset="0"/>
        </a:defRPr>
      </a:lvl9pPr>
    </p:titleStyle>
    <p:bodyStyle>
      <a:lvl1pPr marL="134535" indent="-134535" algn="l" rtl="0" eaLnBrk="0" fontAlgn="base" hangingPunct="0">
        <a:spcBef>
          <a:spcPct val="0"/>
        </a:spcBef>
        <a:spcAft>
          <a:spcPct val="0"/>
        </a:spcAft>
        <a:buClr>
          <a:schemeClr val="tx2"/>
        </a:buClr>
        <a:buFont typeface="Arial" charset="0"/>
        <a:buChar char="•"/>
        <a:defRPr>
          <a:solidFill>
            <a:schemeClr val="tx1"/>
          </a:solidFill>
          <a:latin typeface="Arial" pitchFamily="34" charset="0"/>
          <a:ea typeface="Arial" charset="0"/>
          <a:cs typeface="Arial" pitchFamily="34" charset="0"/>
        </a:defRPr>
      </a:lvl1pPr>
      <a:lvl2pPr marL="269069" indent="-134535" algn="l" rtl="0" eaLnBrk="0" fontAlgn="base" hangingPunct="0">
        <a:spcBef>
          <a:spcPct val="0"/>
        </a:spcBef>
        <a:spcAft>
          <a:spcPct val="0"/>
        </a:spcAft>
        <a:buFont typeface="Arial" charset="0"/>
        <a:buChar char="-"/>
        <a:defRPr>
          <a:solidFill>
            <a:schemeClr val="tx1"/>
          </a:solidFill>
          <a:latin typeface="Arial" pitchFamily="34" charset="0"/>
          <a:ea typeface="Arial" charset="0"/>
          <a:cs typeface="Arial" pitchFamily="34" charset="0"/>
        </a:defRPr>
      </a:lvl2pPr>
      <a:lvl3pPr marL="466701" indent="-135725" algn="l" rtl="0" eaLnBrk="0" fontAlgn="base" hangingPunct="0">
        <a:spcBef>
          <a:spcPct val="0"/>
        </a:spcBef>
        <a:spcAft>
          <a:spcPct val="0"/>
        </a:spcAft>
        <a:buFont typeface="Arial" charset="0"/>
        <a:buChar char="•"/>
        <a:defRPr sz="1200">
          <a:solidFill>
            <a:schemeClr val="tx1"/>
          </a:solidFill>
          <a:latin typeface="Arial" pitchFamily="34" charset="0"/>
          <a:ea typeface="Arial" charset="0"/>
          <a:cs typeface="Arial" pitchFamily="34" charset="0"/>
        </a:defRPr>
      </a:lvl3pPr>
      <a:lvl4pPr marL="466701" indent="-134535" algn="l" rtl="0" eaLnBrk="0" fontAlgn="base" hangingPunct="0">
        <a:spcBef>
          <a:spcPct val="0"/>
        </a:spcBef>
        <a:spcAft>
          <a:spcPct val="0"/>
        </a:spcAft>
        <a:buChar char="•"/>
        <a:defRPr sz="1200">
          <a:solidFill>
            <a:schemeClr val="tx1"/>
          </a:solidFill>
          <a:latin typeface="Arial" pitchFamily="34" charset="0"/>
          <a:ea typeface="Arial" charset="0"/>
          <a:cs typeface="Arial" pitchFamily="34" charset="0"/>
        </a:defRPr>
      </a:lvl4pPr>
      <a:lvl5pPr marL="466701" indent="-134535" algn="l" rtl="0" eaLnBrk="0" fontAlgn="base" hangingPunct="0">
        <a:spcBef>
          <a:spcPct val="0"/>
        </a:spcBef>
        <a:spcAft>
          <a:spcPct val="0"/>
        </a:spcAft>
        <a:buChar char="•"/>
        <a:defRPr sz="1200">
          <a:solidFill>
            <a:schemeClr val="tx1"/>
          </a:solidFill>
          <a:latin typeface="Arial" pitchFamily="34" charset="0"/>
          <a:ea typeface="Arial" charset="0"/>
          <a:cs typeface="Arial" pitchFamily="34" charset="0"/>
        </a:defRPr>
      </a:lvl5pPr>
      <a:lvl6pPr marL="1215569" indent="-132154" algn="l" rtl="0" eaLnBrk="1" fontAlgn="base" hangingPunct="1">
        <a:spcBef>
          <a:spcPct val="0"/>
        </a:spcBef>
        <a:spcAft>
          <a:spcPct val="0"/>
        </a:spcAft>
        <a:buChar char="•"/>
        <a:defRPr sz="1125">
          <a:solidFill>
            <a:schemeClr val="tx1"/>
          </a:solidFill>
          <a:latin typeface="+mn-lt"/>
        </a:defRPr>
      </a:lvl6pPr>
      <a:lvl7pPr marL="1558451" indent="-132154" algn="l" rtl="0" eaLnBrk="1" fontAlgn="base" hangingPunct="1">
        <a:spcBef>
          <a:spcPct val="0"/>
        </a:spcBef>
        <a:spcAft>
          <a:spcPct val="0"/>
        </a:spcAft>
        <a:buChar char="•"/>
        <a:defRPr sz="1125">
          <a:solidFill>
            <a:schemeClr val="tx1"/>
          </a:solidFill>
          <a:latin typeface="+mn-lt"/>
        </a:defRPr>
      </a:lvl7pPr>
      <a:lvl8pPr marL="1901333" indent="-132154" algn="l" rtl="0" eaLnBrk="1" fontAlgn="base" hangingPunct="1">
        <a:spcBef>
          <a:spcPct val="0"/>
        </a:spcBef>
        <a:spcAft>
          <a:spcPct val="0"/>
        </a:spcAft>
        <a:buChar char="•"/>
        <a:defRPr sz="1125">
          <a:solidFill>
            <a:schemeClr val="tx1"/>
          </a:solidFill>
          <a:latin typeface="+mn-lt"/>
        </a:defRPr>
      </a:lvl8pPr>
      <a:lvl9pPr marL="2244217" indent="-132154" algn="l" rtl="0" eaLnBrk="1" fontAlgn="base" hangingPunct="1">
        <a:spcBef>
          <a:spcPct val="0"/>
        </a:spcBef>
        <a:spcAft>
          <a:spcPct val="0"/>
        </a:spcAft>
        <a:buChar char="•"/>
        <a:defRPr sz="1125">
          <a:solidFill>
            <a:schemeClr val="tx1"/>
          </a:solidFill>
          <a:latin typeface="+mn-lt"/>
        </a:defRPr>
      </a:lvl9pPr>
    </p:bodyStyle>
    <p:otherStyle>
      <a:defPPr>
        <a:defRPr lang="en-US"/>
      </a:defPPr>
      <a:lvl1pPr marL="0" algn="l" defTabSz="685766" rtl="0" eaLnBrk="1" latinLnBrk="0" hangingPunct="1">
        <a:defRPr sz="1425" kern="1200">
          <a:solidFill>
            <a:schemeClr val="tx1"/>
          </a:solidFill>
          <a:latin typeface="+mn-lt"/>
          <a:ea typeface="+mn-ea"/>
          <a:cs typeface="+mn-cs"/>
        </a:defRPr>
      </a:lvl1pPr>
      <a:lvl2pPr marL="342884" algn="l" defTabSz="685766" rtl="0" eaLnBrk="1" latinLnBrk="0" hangingPunct="1">
        <a:defRPr sz="1425" kern="1200">
          <a:solidFill>
            <a:schemeClr val="tx1"/>
          </a:solidFill>
          <a:latin typeface="+mn-lt"/>
          <a:ea typeface="+mn-ea"/>
          <a:cs typeface="+mn-cs"/>
        </a:defRPr>
      </a:lvl2pPr>
      <a:lvl3pPr marL="685766" algn="l" defTabSz="685766" rtl="0" eaLnBrk="1" latinLnBrk="0" hangingPunct="1">
        <a:defRPr sz="1425" kern="1200">
          <a:solidFill>
            <a:schemeClr val="tx1"/>
          </a:solidFill>
          <a:latin typeface="+mn-lt"/>
          <a:ea typeface="+mn-ea"/>
          <a:cs typeface="+mn-cs"/>
        </a:defRPr>
      </a:lvl3pPr>
      <a:lvl4pPr marL="1028649" algn="l" defTabSz="685766" rtl="0" eaLnBrk="1" latinLnBrk="0" hangingPunct="1">
        <a:defRPr sz="1425" kern="1200">
          <a:solidFill>
            <a:schemeClr val="tx1"/>
          </a:solidFill>
          <a:latin typeface="+mn-lt"/>
          <a:ea typeface="+mn-ea"/>
          <a:cs typeface="+mn-cs"/>
        </a:defRPr>
      </a:lvl4pPr>
      <a:lvl5pPr marL="1371532" algn="l" defTabSz="685766" rtl="0" eaLnBrk="1" latinLnBrk="0" hangingPunct="1">
        <a:defRPr sz="1425" kern="1200">
          <a:solidFill>
            <a:schemeClr val="tx1"/>
          </a:solidFill>
          <a:latin typeface="+mn-lt"/>
          <a:ea typeface="+mn-ea"/>
          <a:cs typeface="+mn-cs"/>
        </a:defRPr>
      </a:lvl5pPr>
      <a:lvl6pPr marL="1714415" algn="l" defTabSz="685766" rtl="0" eaLnBrk="1" latinLnBrk="0" hangingPunct="1">
        <a:defRPr sz="1425" kern="1200">
          <a:solidFill>
            <a:schemeClr val="tx1"/>
          </a:solidFill>
          <a:latin typeface="+mn-lt"/>
          <a:ea typeface="+mn-ea"/>
          <a:cs typeface="+mn-cs"/>
        </a:defRPr>
      </a:lvl6pPr>
      <a:lvl7pPr marL="2057297" algn="l" defTabSz="685766" rtl="0" eaLnBrk="1" latinLnBrk="0" hangingPunct="1">
        <a:defRPr sz="1425" kern="1200">
          <a:solidFill>
            <a:schemeClr val="tx1"/>
          </a:solidFill>
          <a:latin typeface="+mn-lt"/>
          <a:ea typeface="+mn-ea"/>
          <a:cs typeface="+mn-cs"/>
        </a:defRPr>
      </a:lvl7pPr>
      <a:lvl8pPr marL="2400180" algn="l" defTabSz="685766" rtl="0" eaLnBrk="1" latinLnBrk="0" hangingPunct="1">
        <a:defRPr sz="1425" kern="1200">
          <a:solidFill>
            <a:schemeClr val="tx1"/>
          </a:solidFill>
          <a:latin typeface="+mn-lt"/>
          <a:ea typeface="+mn-ea"/>
          <a:cs typeface="+mn-cs"/>
        </a:defRPr>
      </a:lvl8pPr>
      <a:lvl9pPr marL="2743064" algn="l" defTabSz="685766" rtl="0" eaLnBrk="1" latinLnBrk="0" hangingPunct="1">
        <a:defRPr sz="142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616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9" y="2119"/>
                        <a:ext cx="1587" cy="2116"/>
                      </a:xfrm>
                      <a:prstGeom prst="rect">
                        <a:avLst/>
                      </a:prstGeom>
                    </p:spPr>
                  </p:pic>
                </p:oleObj>
              </mc:Fallback>
            </mc:AlternateContent>
          </a:graphicData>
        </a:graphic>
      </p:graphicFrame>
      <p:sp>
        <p:nvSpPr>
          <p:cNvPr id="1027" name="Text Placeholder 2"/>
          <p:cNvSpPr>
            <a:spLocks noGrp="1"/>
          </p:cNvSpPr>
          <p:nvPr>
            <p:ph type="body" idx="1"/>
          </p:nvPr>
        </p:nvSpPr>
        <p:spPr bwMode="auto">
          <a:xfrm>
            <a:off x="317502" y="1750488"/>
            <a:ext cx="8509000" cy="394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28" name="Title Placeholder 1"/>
          <p:cNvSpPr>
            <a:spLocks noGrp="1"/>
          </p:cNvSpPr>
          <p:nvPr>
            <p:ph type="title"/>
          </p:nvPr>
        </p:nvSpPr>
        <p:spPr bwMode="auto">
          <a:xfrm>
            <a:off x="317502" y="687919"/>
            <a:ext cx="85090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noProof="0" dirty="0"/>
              <a:t>Click to edit Master title style</a:t>
            </a:r>
          </a:p>
        </p:txBody>
      </p:sp>
    </p:spTree>
    <p:extLst>
      <p:ext uri="{BB962C8B-B14F-4D97-AF65-F5344CB8AC3E}">
        <p14:creationId xmlns:p14="http://schemas.microsoft.com/office/powerpoint/2010/main" val="3766928542"/>
      </p:ext>
    </p:extLst>
  </p:cSld>
  <p:clrMap bg1="lt1" tx1="dk1" bg2="lt2" tx2="dk2" accent1="accent1" accent2="accent2" accent3="accent3" accent4="accent4" accent5="accent5" accent6="accent6" hlink="hlink" folHlink="folHlink"/>
  <p:sldLayoutIdLst>
    <p:sldLayoutId id="2147490643" r:id="rId1"/>
    <p:sldLayoutId id="2147490644" r:id="rId2"/>
    <p:sldLayoutId id="2147490645" r:id="rId3"/>
    <p:sldLayoutId id="2147490646" r:id="rId4"/>
    <p:sldLayoutId id="2147490647" r:id="rId5"/>
    <p:sldLayoutId id="2147490648" r:id="rId6"/>
    <p:sldLayoutId id="2147490649" r:id="rId7"/>
    <p:sldLayoutId id="2147490650" r:id="rId8"/>
    <p:sldLayoutId id="2147490651" r:id="rId9"/>
    <p:sldLayoutId id="2147490652" r:id="rId10"/>
    <p:sldLayoutId id="2147490653" r:id="rId11"/>
  </p:sldLayoutIdLst>
  <p:transition/>
  <p:hf hdr="0" dt="0"/>
  <p:txStyles>
    <p:titleStyle>
      <a:lvl1pPr algn="l" rtl="0" fontAlgn="base">
        <a:spcBef>
          <a:spcPct val="0"/>
        </a:spcBef>
        <a:spcAft>
          <a:spcPct val="0"/>
        </a:spcAft>
        <a:defRPr sz="20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7189" algn="l" rtl="0" fontAlgn="base">
        <a:spcBef>
          <a:spcPct val="0"/>
        </a:spcBef>
        <a:spcAft>
          <a:spcPct val="0"/>
        </a:spcAft>
        <a:defRPr sz="2400" b="1">
          <a:solidFill>
            <a:schemeClr val="accent2"/>
          </a:solidFill>
          <a:latin typeface="Verdana" pitchFamily="34" charset="0"/>
        </a:defRPr>
      </a:lvl6pPr>
      <a:lvl7pPr marL="914378" algn="l" rtl="0" fontAlgn="base">
        <a:spcBef>
          <a:spcPct val="0"/>
        </a:spcBef>
        <a:spcAft>
          <a:spcPct val="0"/>
        </a:spcAft>
        <a:defRPr sz="2400" b="1">
          <a:solidFill>
            <a:schemeClr val="accent2"/>
          </a:solidFill>
          <a:latin typeface="Verdana" pitchFamily="34" charset="0"/>
        </a:defRPr>
      </a:lvl7pPr>
      <a:lvl8pPr marL="1371566" algn="l" rtl="0" fontAlgn="base">
        <a:spcBef>
          <a:spcPct val="0"/>
        </a:spcBef>
        <a:spcAft>
          <a:spcPct val="0"/>
        </a:spcAft>
        <a:defRPr sz="2400" b="1">
          <a:solidFill>
            <a:schemeClr val="accent2"/>
          </a:solidFill>
          <a:latin typeface="Verdana" pitchFamily="34" charset="0"/>
        </a:defRPr>
      </a:lvl8pPr>
      <a:lvl9pPr marL="1828754" algn="l" rtl="0" fontAlgn="base">
        <a:spcBef>
          <a:spcPct val="0"/>
        </a:spcBef>
        <a:spcAft>
          <a:spcPct val="0"/>
        </a:spcAft>
        <a:defRPr sz="2400" b="1">
          <a:solidFill>
            <a:schemeClr val="accent2"/>
          </a:solidFill>
          <a:latin typeface="Verdana" pitchFamily="34" charset="0"/>
        </a:defRPr>
      </a:lvl9pPr>
    </p:titleStyle>
    <p:bodyStyle>
      <a:lvl1pPr marL="265106" indent="-265106" algn="l" rtl="0" fontAlgn="base">
        <a:spcBef>
          <a:spcPts val="450"/>
        </a:spcBef>
        <a:spcAft>
          <a:spcPts val="450"/>
        </a:spcAft>
        <a:buClr>
          <a:schemeClr val="accent1"/>
        </a:buClr>
        <a:buFont typeface="Verdana" pitchFamily="34" charset="0"/>
        <a:buChar char="•"/>
        <a:defRPr kern="1200">
          <a:solidFill>
            <a:schemeClr val="accent2"/>
          </a:solidFill>
          <a:latin typeface="+mn-lt"/>
          <a:ea typeface="+mn-ea"/>
          <a:cs typeface="+mn-cs"/>
        </a:defRPr>
      </a:lvl1pPr>
      <a:lvl2pPr marL="536561" indent="-271457" algn="l" rtl="0" fontAlgn="base">
        <a:spcBef>
          <a:spcPts val="450"/>
        </a:spcBef>
        <a:spcAft>
          <a:spcPts val="450"/>
        </a:spcAft>
        <a:buClr>
          <a:schemeClr val="tx2"/>
        </a:buClr>
        <a:buFont typeface="Verdana" pitchFamily="34" charset="0"/>
        <a:buChar char="•"/>
        <a:defRPr sz="1600" kern="1200">
          <a:solidFill>
            <a:schemeClr val="accent2"/>
          </a:solidFill>
          <a:latin typeface="+mn-lt"/>
          <a:ea typeface="+mn-ea"/>
          <a:cs typeface="+mn-cs"/>
        </a:defRPr>
      </a:lvl2pPr>
      <a:lvl3pPr marL="808018" indent="-271457" algn="l" rtl="0" fontAlgn="base">
        <a:spcBef>
          <a:spcPts val="450"/>
        </a:spcBef>
        <a:spcAft>
          <a:spcPts val="450"/>
        </a:spcAft>
        <a:buClr>
          <a:srgbClr val="E64A0E"/>
        </a:buClr>
        <a:buFont typeface="Verdana" pitchFamily="34" charset="0"/>
        <a:buChar char="•"/>
        <a:defRPr sz="1400" kern="1200">
          <a:solidFill>
            <a:schemeClr val="accent2"/>
          </a:solidFill>
          <a:latin typeface="+mn-lt"/>
          <a:ea typeface="+mn-ea"/>
          <a:cs typeface="+mn-cs"/>
        </a:defRPr>
      </a:lvl3pPr>
      <a:lvl4pPr marL="985814" indent="-177796" algn="l" rtl="0" fontAlgn="base">
        <a:spcBef>
          <a:spcPts val="450"/>
        </a:spcBef>
        <a:spcAft>
          <a:spcPts val="450"/>
        </a:spcAft>
        <a:buClr>
          <a:srgbClr val="82786F"/>
        </a:buClr>
        <a:buFont typeface="Verdana" pitchFamily="34" charset="0"/>
        <a:buChar char="•"/>
        <a:defRPr sz="1200" kern="1200">
          <a:solidFill>
            <a:schemeClr val="accent2"/>
          </a:solidFill>
          <a:latin typeface="+mn-lt"/>
          <a:ea typeface="+mn-ea"/>
          <a:cs typeface="+mn-cs"/>
        </a:defRPr>
      </a:lvl4pPr>
      <a:lvl5pPr marL="1257269" indent="-184145" algn="l" rtl="0" fontAlgn="base">
        <a:spcBef>
          <a:spcPts val="450"/>
        </a:spcBef>
        <a:spcAft>
          <a:spcPts val="450"/>
        </a:spcAft>
        <a:buClr>
          <a:srgbClr val="001423"/>
        </a:buClr>
        <a:buFont typeface="Verdana" pitchFamily="34" charset="0"/>
        <a:buChar char="•"/>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0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16800" y="1749633"/>
            <a:ext cx="8510400" cy="3941053"/>
          </a:xfrm>
          <a:prstGeom prst="rect">
            <a:avLst/>
          </a:prstGeom>
        </p:spPr>
        <p:txBody>
          <a:bodyPr vert="horz" lIns="0" tIns="0" rIns="21600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 name="Title Placeholder 1"/>
          <p:cNvSpPr>
            <a:spLocks noGrp="1"/>
          </p:cNvSpPr>
          <p:nvPr>
            <p:ph type="title"/>
          </p:nvPr>
        </p:nvSpPr>
        <p:spPr>
          <a:xfrm>
            <a:off x="316800" y="687230"/>
            <a:ext cx="8510400" cy="521883"/>
          </a:xfrm>
          <a:prstGeom prst="rect">
            <a:avLst/>
          </a:prstGeom>
        </p:spPr>
        <p:txBody>
          <a:bodyPr vert="horz" lIns="0" tIns="0" rIns="0" bIns="0" rtlCol="0" anchor="ctr" anchorCtr="0">
            <a:noAutofit/>
          </a:bodyPr>
          <a:lstStyle/>
          <a:p>
            <a:r>
              <a:rPr lang="en-US" noProof="0" dirty="0"/>
              <a:t>Click to edit Master title style</a:t>
            </a:r>
            <a:endParaRPr lang="en-GB" noProof="0" dirty="0"/>
          </a:p>
        </p:txBody>
      </p:sp>
    </p:spTree>
    <p:extLst>
      <p:ext uri="{BB962C8B-B14F-4D97-AF65-F5344CB8AC3E}">
        <p14:creationId xmlns:p14="http://schemas.microsoft.com/office/powerpoint/2010/main" val="629637571"/>
      </p:ext>
    </p:extLst>
  </p:cSld>
  <p:clrMap bg1="lt1" tx1="dk1" bg2="lt2" tx2="dk2" accent1="accent1" accent2="accent2" accent3="accent3" accent4="accent4" accent5="accent5" accent6="accent6" hlink="hlink" folHlink="folHlink"/>
  <p:sldLayoutIdLst>
    <p:sldLayoutId id="2147490655" r:id="rId1"/>
    <p:sldLayoutId id="2147490656" r:id="rId2"/>
    <p:sldLayoutId id="2147490657" r:id="rId3"/>
    <p:sldLayoutId id="2147490658" r:id="rId4"/>
    <p:sldLayoutId id="2147490659" r:id="rId5"/>
    <p:sldLayoutId id="2147490660" r:id="rId6"/>
    <p:sldLayoutId id="2147490661" r:id="rId7"/>
    <p:sldLayoutId id="2147490662" r:id="rId8"/>
    <p:sldLayoutId id="2147490663" r:id="rId9"/>
    <p:sldLayoutId id="2147490664" r:id="rId10"/>
    <p:sldLayoutId id="2147490665" r:id="rId11"/>
    <p:sldLayoutId id="2147490666" r:id="rId12"/>
    <p:sldLayoutId id="2147490667" r:id="rId13"/>
    <p:sldLayoutId id="2147490700" r:id="rId14"/>
    <p:sldLayoutId id="2147490701" r:id="rId15"/>
    <p:sldLayoutId id="2147490702" r:id="rId16"/>
    <p:sldLayoutId id="2147490703" r:id="rId17"/>
    <p:sldLayoutId id="2147490743" r:id="rId18"/>
  </p:sldLayoutIdLst>
  <p:transition/>
  <p:hf hdr="0"/>
  <p:txStyles>
    <p:titleStyle>
      <a:lvl1pPr algn="l" defTabSz="914378" rtl="0" eaLnBrk="1" latinLnBrk="0" hangingPunct="1">
        <a:spcBef>
          <a:spcPct val="0"/>
        </a:spcBef>
        <a:buNone/>
        <a:defRPr sz="2000" b="1" kern="1200">
          <a:solidFill>
            <a:schemeClr val="accent2"/>
          </a:solidFill>
          <a:latin typeface="+mj-lt"/>
          <a:ea typeface="+mj-ea"/>
          <a:cs typeface="+mj-cs"/>
        </a:defRPr>
      </a:lvl1pPr>
    </p:titleStyle>
    <p:bodyStyle>
      <a:lvl1pPr marL="265106" indent="-265106" algn="l" defTabSz="914378"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61" indent="-271457" algn="l" defTabSz="914378"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18" indent="-271457" algn="l" defTabSz="914378"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14" indent="-177796" algn="l" defTabSz="914378"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269" indent="-184145" algn="l" defTabSz="914378"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09">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6591300"/>
            <a:ext cx="365760" cy="266700"/>
          </a:xfrm>
          <a:prstGeom prst="rect">
            <a:avLst/>
          </a:prstGeom>
        </p:spPr>
        <p:txBody>
          <a:bodyPr vert="horz" lIns="91440" tIns="45720" rIns="45720" bIns="45720" rtlCol="0" anchor="b"/>
          <a:lstStyle>
            <a:lvl1pPr algn="r">
              <a:defRPr sz="1000">
                <a:solidFill>
                  <a:schemeClr val="tx1"/>
                </a:solidFill>
              </a:defRPr>
            </a:lvl1pPr>
          </a:lstStyle>
          <a:p>
            <a:pPr fontAlgn="auto">
              <a:spcBef>
                <a:spcPts val="0"/>
              </a:spcBef>
              <a:spcAft>
                <a:spcPts val="0"/>
              </a:spcAft>
            </a:pPr>
            <a:fld id="{CC7432E5-F8E0-41AE-9A6B-AD730338B005}" type="slidenum">
              <a:rPr lang="en-US" b="0" smtClean="0">
                <a:solidFill>
                  <a:srgbClr val="000000"/>
                </a:solidFill>
                <a:latin typeface="Arial"/>
              </a:rPr>
              <a:pPr fontAlgn="auto">
                <a:spcBef>
                  <a:spcPts val="0"/>
                </a:spcBef>
                <a:spcAft>
                  <a:spcPts val="0"/>
                </a:spcAft>
              </a:pPr>
              <a:t>‹#›</a:t>
            </a:fld>
            <a:endParaRPr lang="en-US" b="0" dirty="0">
              <a:solidFill>
                <a:srgbClr val="000000"/>
              </a:solidFill>
              <a:latin typeface="Arial"/>
            </a:endParaRPr>
          </a:p>
        </p:txBody>
      </p:sp>
      <p:sp>
        <p:nvSpPr>
          <p:cNvPr id="2" name="Title Placeholder 1"/>
          <p:cNvSpPr>
            <a:spLocks noGrp="1"/>
          </p:cNvSpPr>
          <p:nvPr>
            <p:ph type="title"/>
          </p:nvPr>
        </p:nvSpPr>
        <p:spPr>
          <a:xfrm>
            <a:off x="342900" y="228605"/>
            <a:ext cx="8458200" cy="800099"/>
          </a:xfrm>
          <a:prstGeom prst="rect">
            <a:avLst/>
          </a:prstGeom>
        </p:spPr>
        <p:txBody>
          <a:bodyPr vert="horz" lIns="9144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342900" y="1257300"/>
            <a:ext cx="8458200" cy="4572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403350" y="6534153"/>
            <a:ext cx="971550" cy="323851"/>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CB7F32F2-BF2B-44A8-9A3C-E615DA763306}" type="datetime1">
              <a:rPr lang="en-US" b="0" smtClean="0">
                <a:solidFill>
                  <a:srgbClr val="000000">
                    <a:tint val="75000"/>
                  </a:srgbClr>
                </a:solidFill>
                <a:latin typeface="Arial"/>
              </a:rPr>
              <a:pPr fontAlgn="auto">
                <a:spcBef>
                  <a:spcPts val="0"/>
                </a:spcBef>
                <a:spcAft>
                  <a:spcPts val="0"/>
                </a:spcAft>
              </a:pPr>
              <a:t>1/29/2019</a:t>
            </a:fld>
            <a:endParaRPr lang="en-US" b="0" dirty="0">
              <a:solidFill>
                <a:srgbClr val="000000">
                  <a:tint val="75000"/>
                </a:srgbClr>
              </a:solidFill>
              <a:latin typeface="Arial"/>
            </a:endParaRPr>
          </a:p>
        </p:txBody>
      </p:sp>
      <p:sp>
        <p:nvSpPr>
          <p:cNvPr id="5" name="Footer Placeholder 4"/>
          <p:cNvSpPr>
            <a:spLocks noGrp="1"/>
          </p:cNvSpPr>
          <p:nvPr>
            <p:ph type="ftr" sz="quarter" idx="3"/>
          </p:nvPr>
        </p:nvSpPr>
        <p:spPr>
          <a:xfrm>
            <a:off x="-1403350" y="6004518"/>
            <a:ext cx="971550" cy="427673"/>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b="0" dirty="0">
              <a:solidFill>
                <a:srgbClr val="000000">
                  <a:tint val="75000"/>
                </a:srgbClr>
              </a:solidFill>
              <a:latin typeface="Arial"/>
            </a:endParaRPr>
          </a:p>
        </p:txBody>
      </p:sp>
    </p:spTree>
    <p:extLst>
      <p:ext uri="{BB962C8B-B14F-4D97-AF65-F5344CB8AC3E}">
        <p14:creationId xmlns:p14="http://schemas.microsoft.com/office/powerpoint/2010/main" val="3089677090"/>
      </p:ext>
    </p:extLst>
  </p:cSld>
  <p:clrMap bg1="lt1" tx1="dk1" bg2="lt2" tx2="dk2" accent1="accent1" accent2="accent2" accent3="accent3" accent4="accent4" accent5="accent5" accent6="accent6" hlink="hlink" folHlink="folHlink"/>
  <p:sldLayoutIdLst>
    <p:sldLayoutId id="2147490669" r:id="rId1"/>
    <p:sldLayoutId id="2147490670" r:id="rId2"/>
    <p:sldLayoutId id="2147490671" r:id="rId3"/>
    <p:sldLayoutId id="2147490672" r:id="rId4"/>
    <p:sldLayoutId id="2147490673" r:id="rId5"/>
    <p:sldLayoutId id="2147490674" r:id="rId6"/>
    <p:sldLayoutId id="2147490675" r:id="rId7"/>
    <p:sldLayoutId id="2147490676" r:id="rId8"/>
    <p:sldLayoutId id="2147490677" r:id="rId9"/>
    <p:sldLayoutId id="2147490678" r:id="rId10"/>
    <p:sldLayoutId id="2147490679" r:id="rId11"/>
    <p:sldLayoutId id="2147490680" r:id="rId12"/>
    <p:sldLayoutId id="2147490681" r:id="rId13"/>
  </p:sldLayoutIdLst>
  <p:hf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9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pos="216">
          <p15:clr>
            <a:srgbClr val="F26B43"/>
          </p15:clr>
        </p15:guide>
        <p15:guide id="4" pos="5544">
          <p15:clr>
            <a:srgbClr val="F26B43"/>
          </p15:clr>
        </p15:guide>
        <p15:guide id="5" orient="horz" pos="144">
          <p15:clr>
            <a:srgbClr val="F26B43"/>
          </p15:clr>
        </p15:guide>
        <p15:guide id="6" orient="horz" pos="648">
          <p15:clr>
            <a:srgbClr val="F26B43"/>
          </p15:clr>
        </p15:guide>
        <p15:guide id="7" orient="horz" pos="792">
          <p15:clr>
            <a:srgbClr val="F26B43"/>
          </p15:clr>
        </p15:guide>
        <p15:guide id="8" orient="horz" pos="3672">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8"/>
          <p:cNvPicPr>
            <a:picLocks noChangeAspect="1"/>
          </p:cNvPicPr>
          <p:nvPr/>
        </p:nvPicPr>
        <p:blipFill>
          <a:blip r:embed="rId10" cstate="email">
            <a:extLst>
              <a:ext uri="{28A0092B-C50C-407E-A947-70E740481C1C}">
                <a14:useLocalDpi xmlns:a14="http://schemas.microsoft.com/office/drawing/2010/main" val="0"/>
              </a:ext>
            </a:extLst>
          </a:blip>
          <a:srcRect b="14449"/>
          <a:stretch>
            <a:fillRect/>
          </a:stretch>
        </p:blipFill>
        <p:spPr bwMode="auto">
          <a:xfrm>
            <a:off x="0" y="0"/>
            <a:ext cx="9144000" cy="586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ext Placeholder 2"/>
          <p:cNvSpPr>
            <a:spLocks noGrp="1"/>
          </p:cNvSpPr>
          <p:nvPr>
            <p:ph type="body" idx="1"/>
          </p:nvPr>
        </p:nvSpPr>
        <p:spPr bwMode="auto">
          <a:xfrm>
            <a:off x="509613" y="1204915"/>
            <a:ext cx="8112125" cy="448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ltLang="en-US" dirty="0"/>
              <a:t>Click to edit Master text styles</a:t>
            </a:r>
          </a:p>
          <a:p>
            <a:pPr lvl="0"/>
            <a:endParaRPr lang="en-US" altLang="en-US" dirty="0"/>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endParaRPr lang="en-GB" altLang="en-US" dirty="0"/>
          </a:p>
        </p:txBody>
      </p:sp>
      <p:cxnSp>
        <p:nvCxnSpPr>
          <p:cNvPr id="4" name="Straight Connector 3"/>
          <p:cNvCxnSpPr/>
          <p:nvPr/>
        </p:nvCxnSpPr>
        <p:spPr>
          <a:xfrm>
            <a:off x="509613"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053" name="TextBox 4"/>
          <p:cNvSpPr txBox="1">
            <a:spLocks noChangeArrowheads="1"/>
          </p:cNvSpPr>
          <p:nvPr/>
        </p:nvSpPr>
        <p:spPr bwMode="auto">
          <a:xfrm>
            <a:off x="666527" y="6072237"/>
            <a:ext cx="3417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buFont typeface="Arial" pitchFamily="34" charset="0"/>
              <a:buNone/>
              <a:defRPr/>
            </a:pPr>
            <a:fld id="{EBDDBB45-3803-495F-A200-7CA86B104E4D}" type="slidenum">
              <a:rPr lang="en-GB" sz="1000" b="0" smtClean="0">
                <a:solidFill>
                  <a:srgbClr val="FFFFFF"/>
                </a:solidFill>
              </a:rPr>
              <a:pPr algn="ctr" eaLnBrk="1" hangingPunct="1">
                <a:buFont typeface="Arial" pitchFamily="34" charset="0"/>
                <a:buNone/>
                <a:defRPr/>
              </a:pPr>
              <a:t>‹#›</a:t>
            </a:fld>
            <a:endParaRPr lang="en-GB" sz="1000" b="0">
              <a:solidFill>
                <a:srgbClr val="FFFFFF"/>
              </a:solidFill>
            </a:endParaRPr>
          </a:p>
        </p:txBody>
      </p:sp>
      <p:cxnSp>
        <p:nvCxnSpPr>
          <p:cNvPr id="11" name="Straight Connector 10"/>
          <p:cNvCxnSpPr/>
          <p:nvPr/>
        </p:nvCxnSpPr>
        <p:spPr>
          <a:xfrm>
            <a:off x="509613"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2" name="Title 1"/>
          <p:cNvSpPr txBox="1">
            <a:spLocks/>
          </p:cNvSpPr>
          <p:nvPr/>
        </p:nvSpPr>
        <p:spPr>
          <a:xfrm>
            <a:off x="515957" y="280988"/>
            <a:ext cx="8112125" cy="690562"/>
          </a:xfrm>
          <a:prstGeom prst="rect">
            <a:avLst/>
          </a:prstGeom>
        </p:spPr>
        <p:txBody>
          <a:bodyPr lIns="0" tIns="0" rIns="0" bIns="0" anchor="b">
            <a:normAutofit/>
          </a:bodyPr>
          <a:lstStyle>
            <a:lvl1pPr algn="l" defTabSz="457200" rtl="0" eaLnBrk="1" fontAlgn="base" hangingPunct="1">
              <a:spcBef>
                <a:spcPct val="0"/>
              </a:spcBef>
              <a:spcAft>
                <a:spcPct val="0"/>
              </a:spcAft>
              <a:defRPr sz="2400" kern="1200" baseline="0">
                <a:solidFill>
                  <a:schemeClr val="accent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2pPr>
            <a:lvl3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3pPr>
            <a:lvl4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4pPr>
            <a:lvl5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9pPr>
          </a:lstStyle>
          <a:p>
            <a:pPr>
              <a:defRPr/>
            </a:pPr>
            <a:endParaRPr lang="en-US" b="0" dirty="0">
              <a:solidFill>
                <a:srgbClr val="830051"/>
              </a:solidFill>
            </a:endParaRPr>
          </a:p>
        </p:txBody>
      </p:sp>
      <p:pic>
        <p:nvPicPr>
          <p:cNvPr id="2056" name="Picture 2" descr="Z:\Clients\AZ-BMS\2014\5. Forxiga-Xigduo\3. Global projects\1. 360\786205172_Forxiga 2014 Speaker Training\4. Templates\Logo_19Aug14.png"/>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30185" y="5578475"/>
            <a:ext cx="2098675"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Picture 8" descr="C:\Users\inam\Desktop\SF\AZ_DIAB_RGB_H_COL_LG.png"/>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7704138" y="6210300"/>
            <a:ext cx="143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Tree>
    <p:extLst>
      <p:ext uri="{BB962C8B-B14F-4D97-AF65-F5344CB8AC3E}">
        <p14:creationId xmlns:p14="http://schemas.microsoft.com/office/powerpoint/2010/main" val="1344101431"/>
      </p:ext>
    </p:extLst>
  </p:cSld>
  <p:clrMap bg1="lt1" tx1="dk1" bg2="lt2" tx2="dk2" accent1="accent1" accent2="accent2" accent3="accent3" accent4="accent4" accent5="accent5" accent6="accent6" hlink="hlink" folHlink="folHlink"/>
  <p:sldLayoutIdLst>
    <p:sldLayoutId id="2147490683" r:id="rId1"/>
    <p:sldLayoutId id="2147490684" r:id="rId2"/>
    <p:sldLayoutId id="2147490685" r:id="rId3"/>
    <p:sldLayoutId id="2147490686" r:id="rId4"/>
    <p:sldLayoutId id="2147490687" r:id="rId5"/>
    <p:sldLayoutId id="2147490688" r:id="rId6"/>
    <p:sldLayoutId id="2147490689" r:id="rId7"/>
    <p:sldLayoutId id="2147490690" r:id="rId8"/>
  </p:sldLayoutIdLst>
  <p:txStyles>
    <p:titleStyle>
      <a:lvl1pPr algn="l" defTabSz="457200" rtl="0" eaLnBrk="0" fontAlgn="base" hangingPunct="0">
        <a:spcBef>
          <a:spcPct val="0"/>
        </a:spcBef>
        <a:spcAft>
          <a:spcPct val="0"/>
        </a:spcAft>
        <a:defRPr sz="2400" kern="1200">
          <a:solidFill>
            <a:schemeClr val="accent1"/>
          </a:solidFill>
          <a:latin typeface="Arial" pitchFamily="34" charset="0"/>
          <a:ea typeface="+mj-ea"/>
          <a:cs typeface="+mj-cs"/>
        </a:defRPr>
      </a:lvl1pPr>
      <a:lvl2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2pPr>
      <a:lvl3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3pPr>
      <a:lvl4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4pPr>
      <a:lvl5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9pPr>
    </p:titleStyle>
    <p:bodyStyle>
      <a:lvl1pPr marL="0" indent="0" algn="l" defTabSz="457200" rtl="0" eaLnBrk="0" fontAlgn="base" hangingPunct="0">
        <a:spcBef>
          <a:spcPct val="0"/>
        </a:spcBef>
        <a:spcAft>
          <a:spcPts val="600"/>
        </a:spcAft>
        <a:buClr>
          <a:schemeClr val="accent1"/>
        </a:buClr>
        <a:buFont typeface="Arial" pitchFamily="34" charset="0"/>
        <a:buNone/>
        <a:defRPr kern="1200">
          <a:solidFill>
            <a:schemeClr val="tx1"/>
          </a:solidFill>
          <a:latin typeface="Arial" pitchFamily="34" charset="0"/>
          <a:ea typeface="+mn-ea"/>
          <a:cs typeface="+mn-cs"/>
        </a:defRPr>
      </a:lvl1pPr>
      <a:lvl2pPr marL="479425" indent="-273050" algn="l" defTabSz="457200" rtl="0" eaLnBrk="0" fontAlgn="base" hangingPunct="0">
        <a:spcBef>
          <a:spcPct val="0"/>
        </a:spcBef>
        <a:spcAft>
          <a:spcPts val="600"/>
        </a:spcAft>
        <a:buClr>
          <a:schemeClr val="accent2"/>
        </a:buClr>
        <a:buFont typeface="Arial" pitchFamily="34" charset="0"/>
        <a:buChar char="•"/>
        <a:defRPr kern="1200">
          <a:solidFill>
            <a:schemeClr val="tx1"/>
          </a:solidFill>
          <a:latin typeface="Arial" pitchFamily="34" charset="0"/>
          <a:ea typeface="+mn-ea"/>
          <a:cs typeface="+mn-cs"/>
        </a:defRPr>
      </a:lvl2pPr>
      <a:lvl3pPr marL="708025" indent="-207963" algn="l" defTabSz="457200" rtl="0" eaLnBrk="0" fontAlgn="base" hangingPunct="0">
        <a:spcBef>
          <a:spcPct val="0"/>
        </a:spcBef>
        <a:spcAft>
          <a:spcPts val="600"/>
        </a:spcAft>
        <a:buClr>
          <a:srgbClr val="4B306A"/>
        </a:buClr>
        <a:buFont typeface="Wingdings" pitchFamily="2" charset="2"/>
        <a:buChar char="§"/>
        <a:defRPr kern="1200">
          <a:solidFill>
            <a:schemeClr val="tx1"/>
          </a:solidFill>
          <a:latin typeface="Arial" pitchFamily="34" charset="0"/>
          <a:ea typeface="+mn-ea"/>
          <a:cs typeface="+mn-cs"/>
        </a:defRPr>
      </a:lvl3pPr>
      <a:lvl4pPr marL="1003300" indent="-285750" algn="l" defTabSz="457200" rtl="0" eaLnBrk="0" fontAlgn="base" hangingPunct="0">
        <a:spcBef>
          <a:spcPct val="0"/>
        </a:spcBef>
        <a:spcAft>
          <a:spcPts val="600"/>
        </a:spcAft>
        <a:buClr>
          <a:schemeClr val="accent1"/>
        </a:buClr>
        <a:buFont typeface="Wingdings" pitchFamily="2" charset="2"/>
        <a:buChar char="§"/>
        <a:defRPr kern="1200">
          <a:solidFill>
            <a:schemeClr val="tx1"/>
          </a:solidFill>
          <a:latin typeface="Arial" pitchFamily="34" charset="0"/>
          <a:ea typeface="+mn-ea"/>
          <a:cs typeface="+mn-cs"/>
        </a:defRPr>
      </a:lvl4pPr>
      <a:lvl5pPr marL="1284288" indent="-271463" algn="l" defTabSz="457200" rtl="0" eaLnBrk="0" fontAlgn="base" hangingPunct="0">
        <a:spcBef>
          <a:spcPct val="0"/>
        </a:spcBef>
        <a:spcAft>
          <a:spcPts val="600"/>
        </a:spcAft>
        <a:buClr>
          <a:schemeClr val="accent2"/>
        </a:buClr>
        <a:buSzPct val="90000"/>
        <a:buFont typeface="Courier New" pitchFamily="49" charset="0"/>
        <a:buChar char="o"/>
        <a:defRPr kern="1200">
          <a:solidFill>
            <a:schemeClr val="tx1"/>
          </a:solidFill>
          <a:latin typeface="Arial"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pPr defTabSz="457200" fontAlgn="auto">
              <a:spcBef>
                <a:spcPts val="0"/>
              </a:spcBef>
              <a:spcAft>
                <a:spcPts val="0"/>
              </a:spcAft>
            </a:pPr>
            <a:fld id="{3C4F54F3-C349-4609-AFEE-01462D5C7942}" type="slidenum">
              <a:rPr lang="en-GB" smtClean="0">
                <a:solidFill>
                  <a:srgbClr val="000000"/>
                </a:solidFill>
                <a:ea typeface="+mn-ea"/>
              </a:rPr>
              <a:pPr defTabSz="457200" fontAlgn="auto">
                <a:spcBef>
                  <a:spcPts val="0"/>
                </a:spcBef>
                <a:spcAft>
                  <a:spcPts val="0"/>
                </a:spcAft>
              </a:pPr>
              <a:t>‹#›</a:t>
            </a:fld>
            <a:endParaRPr lang="en-GB" dirty="0">
              <a:solidFill>
                <a:srgbClr val="000000"/>
              </a:solidFill>
              <a:ea typeface="+mn-ea"/>
            </a:endParaRPr>
          </a:p>
        </p:txBody>
      </p:sp>
      <p:sp>
        <p:nvSpPr>
          <p:cNvPr id="5" name="Rounded Rectangle 4"/>
          <p:cNvSpPr/>
          <p:nvPr/>
        </p:nvSpPr>
        <p:spPr>
          <a:xfrm>
            <a:off x="7160056" y="508011"/>
            <a:ext cx="1400432" cy="32264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61537070"/>
      </p:ext>
    </p:extLst>
  </p:cSld>
  <p:clrMap bg1="lt1" tx1="dk1" bg2="lt2" tx2="dk2" accent1="accent1" accent2="accent2" accent3="accent3" accent4="accent4" accent5="accent5" accent6="accent6" hlink="hlink" folHlink="folHlink"/>
  <p:sldLayoutIdLst>
    <p:sldLayoutId id="2147490206" r:id="rId1"/>
    <p:sldLayoutId id="2147490207" r:id="rId2"/>
    <p:sldLayoutId id="2147490208" r:id="rId3"/>
    <p:sldLayoutId id="2147490209" r:id="rId4"/>
    <p:sldLayoutId id="2147490210" r:id="rId5"/>
    <p:sldLayoutId id="2147490211" r:id="rId6"/>
    <p:sldLayoutId id="2147490212" r:id="rId7"/>
    <p:sldLayoutId id="2147490213" r:id="rId8"/>
    <p:sldLayoutId id="2147490214" r:id="rId9"/>
    <p:sldLayoutId id="2147490215" r:id="rId10"/>
    <p:sldLayoutId id="2147490216" r:id="rId11"/>
    <p:sldLayoutId id="2147490217" r:id="rId12"/>
    <p:sldLayoutId id="2147490218" r:id="rId13"/>
    <p:sldLayoutId id="2147490219" r:id="rId14"/>
    <p:sldLayoutId id="2147490220" r:id="rId15"/>
    <p:sldLayoutId id="2147490221" r:id="rId16"/>
    <p:sldLayoutId id="2147490222" r:id="rId17"/>
    <p:sldLayoutId id="2147490223" r:id="rId18"/>
    <p:sldLayoutId id="2147490224" r:id="rId19"/>
    <p:sldLayoutId id="2147490225" r:id="rId20"/>
    <p:sldLayoutId id="2147490226" r:id="rId21"/>
    <p:sldLayoutId id="2147490227" r:id="rId22"/>
    <p:sldLayoutId id="2147490228" r:id="rId23"/>
    <p:sldLayoutId id="2147490229" r:id="rId24"/>
    <p:sldLayoutId id="2147490230" r:id="rId25"/>
    <p:sldLayoutId id="2147490231" r:id="rId26"/>
    <p:sldLayoutId id="2147490232" r:id="rId27"/>
    <p:sldLayoutId id="2147490295" r:id="rId28"/>
    <p:sldLayoutId id="2147490296" r:id="rId29"/>
    <p:sldLayoutId id="2147490741" r:id="rId30"/>
    <p:sldLayoutId id="2147490742" r:id="rId3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9" userDrawn="1">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37425" y="6564877"/>
            <a:ext cx="396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pPr defTabSz="457200" fontAlgn="auto">
              <a:spcBef>
                <a:spcPts val="0"/>
              </a:spcBef>
              <a:spcAft>
                <a:spcPts val="0"/>
              </a:spcAft>
            </a:pPr>
            <a:fld id="{3C4F54F3-C349-4609-AFEE-01462D5C7942}" type="slidenum">
              <a:rPr lang="en-GB" smtClean="0">
                <a:solidFill>
                  <a:srgbClr val="000000"/>
                </a:solidFill>
                <a:ea typeface="+mn-ea"/>
              </a:rPr>
              <a:pPr defTabSz="457200" fontAlgn="auto">
                <a:spcBef>
                  <a:spcPts val="0"/>
                </a:spcBef>
                <a:spcAft>
                  <a:spcPts val="0"/>
                </a:spcAft>
              </a:pPr>
              <a:t>‹#›</a:t>
            </a:fld>
            <a:endParaRPr lang="en-GB" dirty="0">
              <a:solidFill>
                <a:srgbClr val="000000"/>
              </a:solidFill>
              <a:ea typeface="+mn-ea"/>
            </a:endParaRPr>
          </a:p>
        </p:txBody>
      </p:sp>
      <p:sp>
        <p:nvSpPr>
          <p:cNvPr id="5" name="Rounded Rectangle 4"/>
          <p:cNvSpPr/>
          <p:nvPr/>
        </p:nvSpPr>
        <p:spPr>
          <a:xfrm>
            <a:off x="7160055" y="508001"/>
            <a:ext cx="1400432" cy="32264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987097051"/>
      </p:ext>
    </p:extLst>
  </p:cSld>
  <p:clrMap bg1="lt1" tx1="dk1" bg2="lt2" tx2="dk2" accent1="accent1" accent2="accent2" accent3="accent3" accent4="accent4" accent5="accent5" accent6="accent6" hlink="hlink" folHlink="folHlink"/>
  <p:sldLayoutIdLst>
    <p:sldLayoutId id="2147490693" r:id="rId1"/>
    <p:sldLayoutId id="2147490694" r:id="rId2"/>
    <p:sldLayoutId id="2147490695" r:id="rId3"/>
    <p:sldLayoutId id="2147490696" r:id="rId4"/>
    <p:sldLayoutId id="2147490697" r:id="rId5"/>
    <p:sldLayoutId id="2147490698" r:id="rId6"/>
    <p:sldLayoutId id="214749069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23"/>
          <p:cNvSpPr>
            <a:spLocks noGrp="1" noChangeArrowheads="1"/>
          </p:cNvSpPr>
          <p:nvPr>
            <p:ph type="sldNum" sz="quarter" idx="4"/>
          </p:nvPr>
        </p:nvSpPr>
        <p:spPr bwMode="auto">
          <a:xfrm>
            <a:off x="8515351" y="139767"/>
            <a:ext cx="311150" cy="134939"/>
          </a:xfrm>
          <a:prstGeom prst="rect">
            <a:avLst/>
          </a:prstGeom>
          <a:noFill/>
          <a:ln>
            <a:noFill/>
          </a:ln>
          <a:effectLst/>
          <a:extLst/>
        </p:spPr>
        <p:txBody>
          <a:bodyPr vert="horz" wrap="square" lIns="0" tIns="0" rIns="0" bIns="0" numCol="1" anchor="ctr" anchorCtr="0" compatLnSpc="1">
            <a:prstTxWarp prst="textNoShape">
              <a:avLst/>
            </a:prstTxWarp>
          </a:bodyPr>
          <a:lstStyle>
            <a:lvl1pPr algn="r" eaLnBrk="1" hangingPunct="1">
              <a:defRPr sz="600">
                <a:solidFill>
                  <a:srgbClr val="82786F"/>
                </a:solidFill>
                <a:latin typeface="Verdana" pitchFamily="34" charset="0"/>
                <a:ea typeface="MS PGothic" pitchFamily="34" charset="-128"/>
              </a:defRPr>
            </a:lvl1pPr>
          </a:lstStyle>
          <a:p>
            <a:pPr>
              <a:defRPr/>
            </a:pPr>
            <a:fld id="{A631BA27-082E-4B65-B018-1717A02D614C}" type="slidenum">
              <a:rPr lang="en-GB">
                <a:cs typeface="Arial" pitchFamily="34" charset="0"/>
              </a:rPr>
              <a:pPr>
                <a:defRPr/>
              </a:pPr>
              <a:t>‹#›</a:t>
            </a:fld>
            <a:endParaRPr lang="en-GB">
              <a:cs typeface="Arial" pitchFamily="34" charset="0"/>
            </a:endParaRPr>
          </a:p>
        </p:txBody>
      </p:sp>
      <p:sp>
        <p:nvSpPr>
          <p:cNvPr id="1027" name="Text Placeholder 2"/>
          <p:cNvSpPr>
            <a:spLocks noGrp="1"/>
          </p:cNvSpPr>
          <p:nvPr>
            <p:ph type="body" idx="1"/>
          </p:nvPr>
        </p:nvSpPr>
        <p:spPr bwMode="auto">
          <a:xfrm>
            <a:off x="317502" y="1751028"/>
            <a:ext cx="8509000" cy="394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p>
            <a:pPr lvl="0"/>
            <a:r>
              <a:rPr lang="en-US" altLang="cs-CZ"/>
              <a:t>Click to edit Master text styles</a:t>
            </a:r>
          </a:p>
          <a:p>
            <a:pPr lvl="1"/>
            <a:r>
              <a:rPr lang="en-US" altLang="cs-CZ"/>
              <a:t>Second level</a:t>
            </a:r>
          </a:p>
          <a:p>
            <a:pPr lvl="2"/>
            <a:r>
              <a:rPr lang="en-US" altLang="cs-CZ"/>
              <a:t>Third level</a:t>
            </a:r>
          </a:p>
          <a:p>
            <a:pPr lvl="3"/>
            <a:r>
              <a:rPr lang="en-US" altLang="cs-CZ"/>
              <a:t>Fourth level</a:t>
            </a:r>
          </a:p>
          <a:p>
            <a:pPr lvl="4"/>
            <a:r>
              <a:rPr lang="en-US" altLang="cs-CZ"/>
              <a:t>Fifth level</a:t>
            </a:r>
            <a:endParaRPr lang="en-GB" altLang="cs-CZ"/>
          </a:p>
        </p:txBody>
      </p:sp>
      <p:sp>
        <p:nvSpPr>
          <p:cNvPr id="1028" name="Title Placeholder 1"/>
          <p:cNvSpPr>
            <a:spLocks noGrp="1"/>
          </p:cNvSpPr>
          <p:nvPr>
            <p:ph type="title"/>
          </p:nvPr>
        </p:nvSpPr>
        <p:spPr bwMode="auto">
          <a:xfrm>
            <a:off x="317502" y="687391"/>
            <a:ext cx="85090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cs-CZ"/>
              <a:t>Click to edit Master title style</a:t>
            </a:r>
            <a:endParaRPr lang="en-GB" altLang="cs-CZ"/>
          </a:p>
        </p:txBody>
      </p:sp>
      <p:sp>
        <p:nvSpPr>
          <p:cNvPr id="13" name="Rectangle 5"/>
          <p:cNvSpPr>
            <a:spLocks noGrp="1" noChangeArrowheads="1"/>
          </p:cNvSpPr>
          <p:nvPr>
            <p:ph type="ftr" sz="quarter" idx="3"/>
          </p:nvPr>
        </p:nvSpPr>
        <p:spPr bwMode="auto">
          <a:xfrm>
            <a:off x="4173540" y="138200"/>
            <a:ext cx="2900362" cy="134937"/>
          </a:xfrm>
          <a:prstGeom prst="rect">
            <a:avLst/>
          </a:prstGeom>
          <a:noFill/>
          <a:ln>
            <a:noFill/>
          </a:ln>
          <a:effectLst/>
          <a:extLst/>
        </p:spPr>
        <p:txBody>
          <a:bodyPr vert="horz" wrap="square" lIns="0" tIns="0" rIns="0" bIns="0" numCol="1" anchor="ctr" anchorCtr="0" compatLnSpc="1">
            <a:prstTxWarp prst="textNoShape">
              <a:avLst/>
            </a:prstTxWarp>
          </a:bodyPr>
          <a:lstStyle>
            <a:lvl1pPr algn="r" eaLnBrk="1" hangingPunct="1">
              <a:defRPr sz="600">
                <a:solidFill>
                  <a:srgbClr val="82786F"/>
                </a:solidFill>
                <a:latin typeface="+mn-lt"/>
                <a:ea typeface="ＭＳ Ｐゴシック" pitchFamily="34" charset="-128"/>
                <a:cs typeface="+mn-cs"/>
              </a:defRPr>
            </a:lvl1pPr>
          </a:lstStyle>
          <a:p>
            <a:pPr>
              <a:defRPr/>
            </a:pPr>
            <a:r>
              <a:rPr lang="en-GB"/>
              <a:t>Presentation title</a:t>
            </a:r>
          </a:p>
        </p:txBody>
      </p:sp>
      <p:sp>
        <p:nvSpPr>
          <p:cNvPr id="15" name="Rectangle 81"/>
          <p:cNvSpPr>
            <a:spLocks noGrp="1" noChangeArrowheads="1"/>
          </p:cNvSpPr>
          <p:nvPr>
            <p:ph type="dt" sz="half" idx="2"/>
          </p:nvPr>
        </p:nvSpPr>
        <p:spPr bwMode="auto">
          <a:xfrm>
            <a:off x="7186637" y="138200"/>
            <a:ext cx="1201737" cy="134937"/>
          </a:xfrm>
          <a:prstGeom prst="rect">
            <a:avLst/>
          </a:prstGeom>
          <a:noFill/>
          <a:ln>
            <a:noFill/>
          </a:ln>
          <a:effectLst/>
          <a:extLst/>
        </p:spPr>
        <p:txBody>
          <a:bodyPr vert="horz" wrap="square" lIns="0" tIns="0" rIns="0" bIns="0" numCol="1" anchor="ctr" anchorCtr="0" compatLnSpc="1">
            <a:prstTxWarp prst="textNoShape">
              <a:avLst/>
            </a:prstTxWarp>
          </a:bodyPr>
          <a:lstStyle>
            <a:lvl1pPr algn="r" eaLnBrk="1" hangingPunct="1">
              <a:defRPr sz="600">
                <a:solidFill>
                  <a:srgbClr val="82786F"/>
                </a:solidFill>
                <a:latin typeface="+mn-lt"/>
                <a:ea typeface="ＭＳ Ｐゴシック" pitchFamily="34" charset="-128"/>
                <a:cs typeface="+mn-cs"/>
              </a:defRPr>
            </a:lvl1pPr>
          </a:lstStyle>
          <a:p>
            <a:pPr>
              <a:defRPr/>
            </a:pPr>
            <a:r>
              <a:rPr lang="en-GB"/>
              <a:t>Date</a:t>
            </a:r>
          </a:p>
        </p:txBody>
      </p:sp>
    </p:spTree>
    <p:extLst>
      <p:ext uri="{BB962C8B-B14F-4D97-AF65-F5344CB8AC3E}">
        <p14:creationId xmlns:p14="http://schemas.microsoft.com/office/powerpoint/2010/main" val="2610759928"/>
      </p:ext>
    </p:extLst>
  </p:cSld>
  <p:clrMap bg1="lt1" tx1="dk1" bg2="lt2" tx2="dk2" accent1="accent1" accent2="accent2" accent3="accent3" accent4="accent4" accent5="accent5" accent6="accent6" hlink="hlink" folHlink="folHlink"/>
  <p:sldLayoutIdLst>
    <p:sldLayoutId id="2147490706" r:id="rId1"/>
    <p:sldLayoutId id="2147490707" r:id="rId2"/>
    <p:sldLayoutId id="2147490708" r:id="rId3"/>
    <p:sldLayoutId id="2147490709" r:id="rId4"/>
    <p:sldLayoutId id="2147490710" r:id="rId5"/>
    <p:sldLayoutId id="2147490711" r:id="rId6"/>
    <p:sldLayoutId id="2147490712" r:id="rId7"/>
    <p:sldLayoutId id="2147490713" r:id="rId8"/>
    <p:sldLayoutId id="2147490714" r:id="rId9"/>
    <p:sldLayoutId id="2147490715" r:id="rId10"/>
    <p:sldLayoutId id="2147490716" r:id="rId11"/>
    <p:sldLayoutId id="2147490717" r:id="rId12"/>
    <p:sldLayoutId id="2147490718" r:id="rId13"/>
    <p:sldLayoutId id="2147490719" r:id="rId14"/>
    <p:sldLayoutId id="2147490720" r:id="rId15"/>
    <p:sldLayoutId id="2147490721" r:id="rId16"/>
    <p:sldLayoutId id="2147490722" r:id="rId17"/>
    <p:sldLayoutId id="2147490723" r:id="rId18"/>
    <p:sldLayoutId id="2147490724" r:id="rId19"/>
    <p:sldLayoutId id="2147490725" r:id="rId20"/>
    <p:sldLayoutId id="2147490726" r:id="rId21"/>
    <p:sldLayoutId id="2147490727" r:id="rId22"/>
    <p:sldLayoutId id="2147490728" r:id="rId23"/>
    <p:sldLayoutId id="2147490729" r:id="rId24"/>
    <p:sldLayoutId id="2147490730" r:id="rId25"/>
    <p:sldLayoutId id="2147490731" r:id="rId26"/>
    <p:sldLayoutId id="2147490732" r:id="rId27"/>
    <p:sldLayoutId id="2147490733" r:id="rId28"/>
    <p:sldLayoutId id="2147490734" r:id="rId29"/>
    <p:sldLayoutId id="2147490735" r:id="rId30"/>
    <p:sldLayoutId id="2147490736" r:id="rId31"/>
    <p:sldLayoutId id="2147490737" r:id="rId32"/>
    <p:sldLayoutId id="2147490738" r:id="rId33"/>
    <p:sldLayoutId id="2147490739" r:id="rId34"/>
    <p:sldLayoutId id="2147490740" r:id="rId35"/>
  </p:sldLayoutIdLst>
  <p:transition/>
  <p:hf hdr="0"/>
  <p:txStyles>
    <p:titleStyle>
      <a:lvl1pPr algn="l" rtl="0" eaLnBrk="0" fontAlgn="base" hangingPunct="0">
        <a:spcBef>
          <a:spcPct val="0"/>
        </a:spcBef>
        <a:spcAft>
          <a:spcPct val="0"/>
        </a:spcAft>
        <a:defRPr sz="2400" b="1" kern="1200">
          <a:solidFill>
            <a:schemeClr val="accent2"/>
          </a:solidFill>
          <a:latin typeface="+mj-lt"/>
          <a:ea typeface="+mj-ea"/>
          <a:cs typeface="+mj-cs"/>
        </a:defRPr>
      </a:lvl1pPr>
      <a:lvl2pPr algn="l" rtl="0" eaLnBrk="0" fontAlgn="base" hangingPunct="0">
        <a:spcBef>
          <a:spcPct val="0"/>
        </a:spcBef>
        <a:spcAft>
          <a:spcPct val="0"/>
        </a:spcAft>
        <a:defRPr sz="2400" b="1">
          <a:solidFill>
            <a:schemeClr val="accent2"/>
          </a:solidFill>
          <a:latin typeface="Verdana" pitchFamily="34" charset="0"/>
        </a:defRPr>
      </a:lvl2pPr>
      <a:lvl3pPr algn="l" rtl="0" eaLnBrk="0" fontAlgn="base" hangingPunct="0">
        <a:spcBef>
          <a:spcPct val="0"/>
        </a:spcBef>
        <a:spcAft>
          <a:spcPct val="0"/>
        </a:spcAft>
        <a:defRPr sz="2400" b="1">
          <a:solidFill>
            <a:schemeClr val="accent2"/>
          </a:solidFill>
          <a:latin typeface="Verdana" pitchFamily="34" charset="0"/>
        </a:defRPr>
      </a:lvl3pPr>
      <a:lvl4pPr algn="l" rtl="0" eaLnBrk="0" fontAlgn="base" hangingPunct="0">
        <a:spcBef>
          <a:spcPct val="0"/>
        </a:spcBef>
        <a:spcAft>
          <a:spcPct val="0"/>
        </a:spcAft>
        <a:defRPr sz="2400" b="1">
          <a:solidFill>
            <a:schemeClr val="accent2"/>
          </a:solidFill>
          <a:latin typeface="Verdana" pitchFamily="34" charset="0"/>
        </a:defRPr>
      </a:lvl4pPr>
      <a:lvl5pPr algn="l" rtl="0" eaLnBrk="0" fontAlgn="base" hangingPunct="0">
        <a:spcBef>
          <a:spcPct val="0"/>
        </a:spcBef>
        <a:spcAft>
          <a:spcPct val="0"/>
        </a:spcAft>
        <a:defRPr sz="2400" b="1">
          <a:solidFill>
            <a:schemeClr val="accent2"/>
          </a:solidFill>
          <a:latin typeface="Verdana" pitchFamily="34" charset="0"/>
        </a:defRPr>
      </a:lvl5pPr>
      <a:lvl6pPr marL="457200" algn="l" rtl="0" fontAlgn="base">
        <a:spcBef>
          <a:spcPct val="0"/>
        </a:spcBef>
        <a:spcAft>
          <a:spcPct val="0"/>
        </a:spcAft>
        <a:defRPr sz="2400" b="1">
          <a:solidFill>
            <a:schemeClr val="accent2"/>
          </a:solidFill>
          <a:latin typeface="Verdana" pitchFamily="34" charset="0"/>
        </a:defRPr>
      </a:lvl6pPr>
      <a:lvl7pPr marL="914400" algn="l" rtl="0" fontAlgn="base">
        <a:spcBef>
          <a:spcPct val="0"/>
        </a:spcBef>
        <a:spcAft>
          <a:spcPct val="0"/>
        </a:spcAft>
        <a:defRPr sz="2400" b="1">
          <a:solidFill>
            <a:schemeClr val="accent2"/>
          </a:solidFill>
          <a:latin typeface="Verdana" pitchFamily="34" charset="0"/>
        </a:defRPr>
      </a:lvl7pPr>
      <a:lvl8pPr marL="1371600" algn="l" rtl="0" fontAlgn="base">
        <a:spcBef>
          <a:spcPct val="0"/>
        </a:spcBef>
        <a:spcAft>
          <a:spcPct val="0"/>
        </a:spcAft>
        <a:defRPr sz="2400" b="1">
          <a:solidFill>
            <a:schemeClr val="accent2"/>
          </a:solidFill>
          <a:latin typeface="Verdana" pitchFamily="34" charset="0"/>
        </a:defRPr>
      </a:lvl8pPr>
      <a:lvl9pPr marL="1828800" algn="l" rtl="0" fontAlgn="base">
        <a:spcBef>
          <a:spcPct val="0"/>
        </a:spcBef>
        <a:spcAft>
          <a:spcPct val="0"/>
        </a:spcAft>
        <a:defRPr sz="2400" b="1">
          <a:solidFill>
            <a:schemeClr val="accent2"/>
          </a:solidFill>
          <a:latin typeface="Verdana" pitchFamily="34" charset="0"/>
        </a:defRPr>
      </a:lvl9pPr>
    </p:titleStyle>
    <p:bodyStyle>
      <a:lvl1pPr marL="265113" indent="-265113" algn="l" rtl="0" eaLnBrk="0" fontAlgn="base" hangingPunct="0">
        <a:spcBef>
          <a:spcPct val="20000"/>
        </a:spcBef>
        <a:spcAft>
          <a:spcPct val="0"/>
        </a:spcAft>
        <a:buClr>
          <a:schemeClr val="accent1"/>
        </a:buClr>
        <a:buFont typeface="Verdana" pitchFamily="34" charset="0"/>
        <a:buChar char="•"/>
        <a:defRPr kern="1200">
          <a:solidFill>
            <a:schemeClr val="accent2"/>
          </a:solidFill>
          <a:latin typeface="+mn-lt"/>
          <a:ea typeface="+mn-ea"/>
          <a:cs typeface="+mn-cs"/>
        </a:defRPr>
      </a:lvl1pPr>
      <a:lvl2pPr marL="536575" indent="-271463" algn="l" rtl="0" eaLnBrk="0" fontAlgn="base" hangingPunct="0">
        <a:spcBef>
          <a:spcPct val="20000"/>
        </a:spcBef>
        <a:spcAft>
          <a:spcPct val="0"/>
        </a:spcAft>
        <a:buClr>
          <a:schemeClr val="tx2"/>
        </a:buClr>
        <a:buFont typeface="Verdana" pitchFamily="34" charset="0"/>
        <a:buChar char="•"/>
        <a:defRPr sz="1600" kern="1200">
          <a:solidFill>
            <a:schemeClr val="accent2"/>
          </a:solidFill>
          <a:latin typeface="+mn-lt"/>
          <a:ea typeface="+mn-ea"/>
          <a:cs typeface="+mn-cs"/>
        </a:defRPr>
      </a:lvl2pPr>
      <a:lvl3pPr marL="808038" indent="-271463" algn="l" rtl="0" eaLnBrk="0" fontAlgn="base" hangingPunct="0">
        <a:spcBef>
          <a:spcPct val="20000"/>
        </a:spcBef>
        <a:spcAft>
          <a:spcPct val="0"/>
        </a:spcAft>
        <a:buClr>
          <a:srgbClr val="E64A0E"/>
        </a:buClr>
        <a:buFont typeface="Verdana" pitchFamily="34" charset="0"/>
        <a:buChar char="•"/>
        <a:defRPr sz="1400" kern="1200">
          <a:solidFill>
            <a:schemeClr val="accent2"/>
          </a:solidFill>
          <a:latin typeface="+mn-lt"/>
          <a:ea typeface="+mn-ea"/>
          <a:cs typeface="+mn-cs"/>
        </a:defRPr>
      </a:lvl3pPr>
      <a:lvl4pPr marL="985838" indent="-177800" algn="l" rtl="0" eaLnBrk="0" fontAlgn="base" hangingPunct="0">
        <a:spcBef>
          <a:spcPct val="20000"/>
        </a:spcBef>
        <a:spcAft>
          <a:spcPct val="0"/>
        </a:spcAft>
        <a:buClr>
          <a:srgbClr val="82786F"/>
        </a:buClr>
        <a:buFont typeface="Verdana" pitchFamily="34" charset="0"/>
        <a:buChar char="•"/>
        <a:defRPr sz="1200" kern="1200">
          <a:solidFill>
            <a:schemeClr val="accent2"/>
          </a:solidFill>
          <a:latin typeface="+mn-lt"/>
          <a:ea typeface="+mn-ea"/>
          <a:cs typeface="+mn-cs"/>
        </a:defRPr>
      </a:lvl4pPr>
      <a:lvl5pPr marL="1257300" indent="-184150" algn="l" rtl="0" eaLnBrk="0" fontAlgn="base" hangingPunct="0">
        <a:spcBef>
          <a:spcPct val="20000"/>
        </a:spcBef>
        <a:spcAft>
          <a:spcPct val="0"/>
        </a:spcAft>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C1989E73-F3DF-4DF8-A2E1-14F263B0B27C}"/>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a:extLst>
              <a:ext uri="{FF2B5EF4-FFF2-40B4-BE49-F238E27FC236}">
                <a16:creationId xmlns:a16="http://schemas.microsoft.com/office/drawing/2014/main" id="{2382B87B-93E2-48BA-AA4F-8991859BD17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0337F4EA-D7B2-4610-9BA7-002B4E7955DB}"/>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0A80564-18DF-44AD-837A-9A1F503F7317}" type="datetimeFigureOut">
              <a:rPr lang="cs-CZ" smtClean="0"/>
              <a:t>29.01.2019</a:t>
            </a:fld>
            <a:endParaRPr lang="cs-CZ"/>
          </a:p>
        </p:txBody>
      </p:sp>
      <p:sp>
        <p:nvSpPr>
          <p:cNvPr id="5" name="Zástupný symbol pro zápatí 4">
            <a:extLst>
              <a:ext uri="{FF2B5EF4-FFF2-40B4-BE49-F238E27FC236}">
                <a16:creationId xmlns:a16="http://schemas.microsoft.com/office/drawing/2014/main" id="{CD33E900-642D-414F-9B65-2B3B25A0CCA9}"/>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5C3FCFF4-474B-45DB-BD56-19350A80587F}"/>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D86CC54-DAF3-4867-99BE-1974401EAD4A}" type="slidenum">
              <a:rPr lang="cs-CZ" smtClean="0"/>
              <a:t>‹#›</a:t>
            </a:fld>
            <a:endParaRPr lang="cs-CZ"/>
          </a:p>
        </p:txBody>
      </p:sp>
    </p:spTree>
    <p:extLst>
      <p:ext uri="{BB962C8B-B14F-4D97-AF65-F5344CB8AC3E}">
        <p14:creationId xmlns:p14="http://schemas.microsoft.com/office/powerpoint/2010/main" val="899702809"/>
      </p:ext>
    </p:extLst>
  </p:cSld>
  <p:clrMap bg1="lt1" tx1="dk1" bg2="lt2" tx2="dk2" accent1="accent1" accent2="accent2" accent3="accent3" accent4="accent4" accent5="accent5" accent6="accent6" hlink="hlink" folHlink="folHlink"/>
  <p:sldLayoutIdLst>
    <p:sldLayoutId id="2147490745" r:id="rId1"/>
    <p:sldLayoutId id="2147490746" r:id="rId2"/>
    <p:sldLayoutId id="2147490747" r:id="rId3"/>
    <p:sldLayoutId id="2147490748" r:id="rId4"/>
    <p:sldLayoutId id="2147490749" r:id="rId5"/>
    <p:sldLayoutId id="2147490750" r:id="rId6"/>
    <p:sldLayoutId id="2147490751" r:id="rId7"/>
    <p:sldLayoutId id="2147490752" r:id="rId8"/>
    <p:sldLayoutId id="2147490753" r:id="rId9"/>
    <p:sldLayoutId id="2147490754" r:id="rId10"/>
    <p:sldLayoutId id="2147490755"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cs-CZ"/>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8"/>
          <p:cNvPicPr>
            <a:picLocks noChangeAspect="1"/>
          </p:cNvPicPr>
          <p:nvPr/>
        </p:nvPicPr>
        <p:blipFill>
          <a:blip r:embed="rId6" cstate="email">
            <a:extLst>
              <a:ext uri="{28A0092B-C50C-407E-A947-70E740481C1C}">
                <a14:useLocalDpi xmlns:a14="http://schemas.microsoft.com/office/drawing/2010/main" val="0"/>
              </a:ext>
            </a:extLst>
          </a:blip>
          <a:srcRect b="14449"/>
          <a:stretch>
            <a:fillRect/>
          </a:stretch>
        </p:blipFill>
        <p:spPr bwMode="auto">
          <a:xfrm>
            <a:off x="0" y="0"/>
            <a:ext cx="9144000" cy="586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ext Placeholder 2"/>
          <p:cNvSpPr>
            <a:spLocks noGrp="1"/>
          </p:cNvSpPr>
          <p:nvPr>
            <p:ph type="body" idx="1"/>
          </p:nvPr>
        </p:nvSpPr>
        <p:spPr bwMode="auto">
          <a:xfrm>
            <a:off x="509589" y="1204913"/>
            <a:ext cx="8112125" cy="448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cxnSp>
        <p:nvCxnSpPr>
          <p:cNvPr id="4" name="Straight Connector 3"/>
          <p:cNvCxnSpPr/>
          <p:nvPr/>
        </p:nvCxnSpPr>
        <p:spPr>
          <a:xfrm>
            <a:off x="509589"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029" name="TextBox 4"/>
          <p:cNvSpPr txBox="1">
            <a:spLocks noChangeArrowheads="1"/>
          </p:cNvSpPr>
          <p:nvPr/>
        </p:nvSpPr>
        <p:spPr bwMode="auto">
          <a:xfrm>
            <a:off x="666528" y="6072203"/>
            <a:ext cx="341760" cy="246221"/>
          </a:xfrm>
          <a:prstGeom prst="rect">
            <a:avLst/>
          </a:prstGeom>
          <a:noFill/>
          <a:ln>
            <a:noFill/>
          </a:ln>
          <a:extLst/>
        </p:spPr>
        <p:txBody>
          <a:bodyPr wrap="none">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algn="ctr">
              <a:buFont typeface="Arial" pitchFamily="34" charset="0"/>
              <a:buNone/>
              <a:defRPr/>
            </a:pPr>
            <a:fld id="{73581F35-D8B0-4B0A-8C5E-A3DDE792EF9E}" type="slidenum">
              <a:rPr lang="en-GB" sz="1000" b="0" smtClean="0">
                <a:solidFill>
                  <a:srgbClr val="FFFFFF"/>
                </a:solidFill>
              </a:rPr>
              <a:pPr algn="ctr">
                <a:buFont typeface="Arial" pitchFamily="34" charset="0"/>
                <a:buNone/>
                <a:defRPr/>
              </a:pPr>
              <a:t>‹#›</a:t>
            </a:fld>
            <a:endParaRPr lang="en-GB" sz="1000" b="0">
              <a:solidFill>
                <a:srgbClr val="FFFFFF"/>
              </a:solidFill>
            </a:endParaRPr>
          </a:p>
        </p:txBody>
      </p:sp>
      <p:cxnSp>
        <p:nvCxnSpPr>
          <p:cNvPr id="11" name="Straight Connector 10"/>
          <p:cNvCxnSpPr/>
          <p:nvPr/>
        </p:nvCxnSpPr>
        <p:spPr>
          <a:xfrm>
            <a:off x="509589"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2" name="Title 1"/>
          <p:cNvSpPr txBox="1">
            <a:spLocks/>
          </p:cNvSpPr>
          <p:nvPr/>
        </p:nvSpPr>
        <p:spPr>
          <a:xfrm>
            <a:off x="515942" y="280988"/>
            <a:ext cx="8112125" cy="690563"/>
          </a:xfrm>
          <a:prstGeom prst="rect">
            <a:avLst/>
          </a:prstGeom>
        </p:spPr>
        <p:txBody>
          <a:bodyPr lIns="0" tIns="0" rIns="0" bIns="0" anchor="b">
            <a:normAutofit/>
          </a:bodyPr>
          <a:lstStyle>
            <a:lvl1pPr algn="l" defTabSz="457200" rtl="0" eaLnBrk="1" fontAlgn="base" hangingPunct="1">
              <a:spcBef>
                <a:spcPct val="0"/>
              </a:spcBef>
              <a:spcAft>
                <a:spcPct val="0"/>
              </a:spcAft>
              <a:defRPr sz="2400" kern="1200" baseline="0">
                <a:solidFill>
                  <a:schemeClr val="accent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2pPr>
            <a:lvl3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3pPr>
            <a:lvl4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4pPr>
            <a:lvl5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9pPr>
          </a:lstStyle>
          <a:p>
            <a:pPr>
              <a:defRPr/>
            </a:pPr>
            <a:endParaRPr lang="en-US" b="0" dirty="0">
              <a:solidFill>
                <a:srgbClr val="830051"/>
              </a:solidFill>
            </a:endParaRPr>
          </a:p>
        </p:txBody>
      </p:sp>
      <p:pic>
        <p:nvPicPr>
          <p:cNvPr id="1032" name="Picture 2" descr="Z:\Clients\AZ-BMS\2014\5. Forxiga-Xigduo\3. Global projects\1. 360\786205172_Forxiga 2014 Speaker Training\4. Templates\Logo_19Aug14.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0164" y="5578489"/>
            <a:ext cx="2098675" cy="121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8" descr="C:\Users\inam\Desktop\SF\AZ_DIAB_RGB_H_COL_LG.png"/>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7704138" y="6210315"/>
            <a:ext cx="1439862" cy="666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Title Placeholder 1"/>
          <p:cNvSpPr>
            <a:spLocks noGrp="1"/>
          </p:cNvSpPr>
          <p:nvPr>
            <p:ph type="title"/>
          </p:nvPr>
        </p:nvSpPr>
        <p:spPr bwMode="auto">
          <a:xfrm>
            <a:off x="457200" y="274637"/>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Tree>
    <p:extLst>
      <p:ext uri="{BB962C8B-B14F-4D97-AF65-F5344CB8AC3E}">
        <p14:creationId xmlns:p14="http://schemas.microsoft.com/office/powerpoint/2010/main" val="105278850"/>
      </p:ext>
    </p:extLst>
  </p:cSld>
  <p:clrMap bg1="lt1" tx1="dk1" bg2="lt2" tx2="dk2" accent1="accent1" accent2="accent2" accent3="accent3" accent4="accent4" accent5="accent5" accent6="accent6" hlink="hlink" folHlink="folHlink"/>
  <p:sldLayoutIdLst>
    <p:sldLayoutId id="2147490336" r:id="rId1"/>
    <p:sldLayoutId id="2147490337" r:id="rId2"/>
    <p:sldLayoutId id="2147490338" r:id="rId3"/>
    <p:sldLayoutId id="2147490339" r:id="rId4"/>
  </p:sldLayoutIdLst>
  <p:txStyles>
    <p:titleStyle>
      <a:lvl1pPr algn="l" defTabSz="457200" rtl="0" eaLnBrk="0" fontAlgn="base" hangingPunct="0">
        <a:spcBef>
          <a:spcPct val="0"/>
        </a:spcBef>
        <a:spcAft>
          <a:spcPct val="0"/>
        </a:spcAft>
        <a:defRPr sz="2400" kern="1200">
          <a:solidFill>
            <a:schemeClr val="accent1"/>
          </a:solidFill>
          <a:latin typeface="Arial" pitchFamily="34" charset="0"/>
          <a:ea typeface="+mj-ea"/>
          <a:cs typeface="+mj-cs"/>
        </a:defRPr>
      </a:lvl1pPr>
      <a:lvl2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2pPr>
      <a:lvl3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3pPr>
      <a:lvl4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4pPr>
      <a:lvl5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9pPr>
    </p:titleStyle>
    <p:bodyStyle>
      <a:lvl1pPr marL="195263" indent="-195263" algn="l" defTabSz="457200" rtl="0" eaLnBrk="0" fontAlgn="base" hangingPunct="0">
        <a:spcBef>
          <a:spcPct val="0"/>
        </a:spcBef>
        <a:spcAft>
          <a:spcPts val="600"/>
        </a:spcAft>
        <a:buClr>
          <a:schemeClr val="accent1"/>
        </a:buClr>
        <a:buFont typeface="Arial" pitchFamily="34" charset="0"/>
        <a:buChar char="•"/>
        <a:defRPr kern="1200">
          <a:solidFill>
            <a:schemeClr val="tx1"/>
          </a:solidFill>
          <a:latin typeface="Arial" pitchFamily="34" charset="0"/>
          <a:ea typeface="+mn-ea"/>
          <a:cs typeface="+mn-cs"/>
        </a:defRPr>
      </a:lvl1pPr>
      <a:lvl2pPr marL="479425" indent="-273050" algn="l" defTabSz="457200" rtl="0" eaLnBrk="0" fontAlgn="base" hangingPunct="0">
        <a:spcBef>
          <a:spcPct val="0"/>
        </a:spcBef>
        <a:spcAft>
          <a:spcPts val="600"/>
        </a:spcAft>
        <a:buClr>
          <a:schemeClr val="accent2"/>
        </a:buClr>
        <a:buFont typeface="Arial" pitchFamily="34" charset="0"/>
        <a:buChar char="•"/>
        <a:defRPr kern="1200">
          <a:solidFill>
            <a:schemeClr val="tx1"/>
          </a:solidFill>
          <a:latin typeface="Arial" pitchFamily="34" charset="0"/>
          <a:ea typeface="+mn-ea"/>
          <a:cs typeface="+mn-cs"/>
        </a:defRPr>
      </a:lvl2pPr>
      <a:lvl3pPr marL="708025" indent="-207963" algn="l" defTabSz="457200" rtl="0" eaLnBrk="0" fontAlgn="base" hangingPunct="0">
        <a:spcBef>
          <a:spcPct val="0"/>
        </a:spcBef>
        <a:spcAft>
          <a:spcPts val="600"/>
        </a:spcAft>
        <a:buClr>
          <a:srgbClr val="4B306A"/>
        </a:buClr>
        <a:buFont typeface="Wingdings" pitchFamily="2" charset="2"/>
        <a:buChar char="§"/>
        <a:defRPr kern="1200">
          <a:solidFill>
            <a:schemeClr val="tx1"/>
          </a:solidFill>
          <a:latin typeface="Arial" pitchFamily="34" charset="0"/>
          <a:ea typeface="+mn-ea"/>
          <a:cs typeface="+mn-cs"/>
        </a:defRPr>
      </a:lvl3pPr>
      <a:lvl4pPr marL="1003300" indent="-285750" algn="l" defTabSz="457200" rtl="0" eaLnBrk="0" fontAlgn="base" hangingPunct="0">
        <a:spcBef>
          <a:spcPct val="0"/>
        </a:spcBef>
        <a:spcAft>
          <a:spcPts val="600"/>
        </a:spcAft>
        <a:buClr>
          <a:schemeClr val="accent1"/>
        </a:buClr>
        <a:buFont typeface="Wingdings" pitchFamily="2" charset="2"/>
        <a:buChar char="§"/>
        <a:defRPr kern="1200">
          <a:solidFill>
            <a:schemeClr val="tx1"/>
          </a:solidFill>
          <a:latin typeface="Arial" pitchFamily="34" charset="0"/>
          <a:ea typeface="+mn-ea"/>
          <a:cs typeface="+mn-cs"/>
        </a:defRPr>
      </a:lvl4pPr>
      <a:lvl5pPr marL="1284288" indent="-271463" algn="l" defTabSz="457200" rtl="0" eaLnBrk="0" fontAlgn="base" hangingPunct="0">
        <a:spcBef>
          <a:spcPct val="0"/>
        </a:spcBef>
        <a:spcAft>
          <a:spcPts val="600"/>
        </a:spcAft>
        <a:buClr>
          <a:schemeClr val="accent2"/>
        </a:buClr>
        <a:buSzPct val="90000"/>
        <a:buFont typeface="Courier New" pitchFamily="49" charset="0"/>
        <a:buChar char="o"/>
        <a:defRPr kern="1200">
          <a:solidFill>
            <a:schemeClr val="tx1"/>
          </a:solidFill>
          <a:latin typeface="Arial"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9589" y="274642"/>
            <a:ext cx="8112125" cy="741363"/>
          </a:xfrm>
          <a:prstGeom prst="rect">
            <a:avLst/>
          </a:prstGeom>
        </p:spPr>
        <p:txBody>
          <a:bodyPr vert="horz" lIns="0" tIns="45720" rIns="0" bIns="45720" rtlCol="0" anchor="b">
            <a:normAutofit/>
          </a:bodyPr>
          <a:lstStyle/>
          <a:p>
            <a:r>
              <a:rPr lang="en-US" dirty="0"/>
              <a:t>Click to edit Master title style</a:t>
            </a:r>
            <a:endParaRPr lang="en-GB" dirty="0"/>
          </a:p>
        </p:txBody>
      </p:sp>
      <p:sp>
        <p:nvSpPr>
          <p:cNvPr id="3" name="Text Placeholder 2"/>
          <p:cNvSpPr>
            <a:spLocks noGrp="1"/>
          </p:cNvSpPr>
          <p:nvPr>
            <p:ph type="body" idx="1"/>
          </p:nvPr>
        </p:nvSpPr>
        <p:spPr>
          <a:xfrm>
            <a:off x="509589" y="1204915"/>
            <a:ext cx="8112125" cy="4487068"/>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4" name="Straight Connector 3"/>
          <p:cNvCxnSpPr/>
          <p:nvPr/>
        </p:nvCxnSpPr>
        <p:spPr>
          <a:xfrm>
            <a:off x="509589" y="1014414"/>
            <a:ext cx="8112125" cy="1587"/>
          </a:xfrm>
          <a:prstGeom prst="line">
            <a:avLst/>
          </a:prstGeom>
          <a:ln w="12700">
            <a:solidFill>
              <a:srgbClr val="E32727"/>
            </a:solidFill>
          </a:ln>
          <a:effectLst/>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666228" y="6071535"/>
            <a:ext cx="341760" cy="246221"/>
          </a:xfrm>
          <a:prstGeom prst="rect">
            <a:avLst/>
          </a:prstGeom>
          <a:noFill/>
        </p:spPr>
        <p:txBody>
          <a:bodyPr wrap="none" rtlCol="0">
            <a:spAutoFit/>
          </a:bodyPr>
          <a:lstStyle/>
          <a:p>
            <a:pPr algn="ctr" defTabSz="457200">
              <a:buFont typeface="Arial" pitchFamily="34" charset="0"/>
              <a:buNone/>
            </a:pPr>
            <a:fld id="{F51042A9-2062-4F46-80DA-7D77685504C2}" type="slidenum">
              <a:rPr lang="en-GB" sz="1000" b="0">
                <a:solidFill>
                  <a:prstClr val="white"/>
                </a:solidFill>
                <a:latin typeface="Arial" pitchFamily="34" charset="0"/>
                <a:ea typeface="ＭＳ Ｐゴシック"/>
              </a:rPr>
              <a:pPr algn="ctr" defTabSz="457200">
                <a:buFont typeface="Arial" pitchFamily="34" charset="0"/>
                <a:buNone/>
              </a:pPr>
              <a:t>‹#›</a:t>
            </a:fld>
            <a:endParaRPr lang="en-GB" sz="1000" b="0" dirty="0">
              <a:solidFill>
                <a:prstClr val="white"/>
              </a:solidFill>
              <a:latin typeface="Arial" pitchFamily="34" charset="0"/>
              <a:ea typeface="ＭＳ Ｐゴシック"/>
            </a:endParaRPr>
          </a:p>
        </p:txBody>
      </p:sp>
    </p:spTree>
    <p:extLst>
      <p:ext uri="{BB962C8B-B14F-4D97-AF65-F5344CB8AC3E}">
        <p14:creationId xmlns:p14="http://schemas.microsoft.com/office/powerpoint/2010/main" val="3392805192"/>
      </p:ext>
    </p:extLst>
  </p:cSld>
  <p:clrMap bg1="lt1" tx1="dk1" bg2="lt2" tx2="dk2" accent1="accent1" accent2="accent2" accent3="accent3" accent4="accent4" accent5="accent5" accent6="accent6" hlink="hlink" folHlink="folHlink"/>
  <p:sldLayoutIdLst>
    <p:sldLayoutId id="2147490342" r:id="rId1"/>
    <p:sldLayoutId id="2147490343" r:id="rId2"/>
    <p:sldLayoutId id="2147490344" r:id="rId3"/>
    <p:sldLayoutId id="2147490345" r:id="rId4"/>
    <p:sldLayoutId id="2147490346" r:id="rId5"/>
    <p:sldLayoutId id="2147490347" r:id="rId6"/>
    <p:sldLayoutId id="2147490348" r:id="rId7"/>
    <p:sldLayoutId id="2147490349" r:id="rId8"/>
    <p:sldLayoutId id="2147490350" r:id="rId9"/>
  </p:sldLayoutIdLst>
  <p:txStyles>
    <p:titleStyle>
      <a:lvl1pPr algn="l" defTabSz="457200" rtl="0" eaLnBrk="0" fontAlgn="base" hangingPunct="0">
        <a:spcBef>
          <a:spcPct val="0"/>
        </a:spcBef>
        <a:spcAft>
          <a:spcPct val="0"/>
        </a:spcAft>
        <a:defRPr sz="2400" kern="1200">
          <a:solidFill>
            <a:srgbClr val="EF4135"/>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2pPr>
      <a:lvl3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3pPr>
      <a:lvl4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4pPr>
      <a:lvl5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5pPr>
      <a:lvl6pPr marL="4572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9pPr>
    </p:titleStyle>
    <p:bodyStyle>
      <a:lvl1pPr marL="195263" indent="-195263" algn="l" defTabSz="457200" rtl="0" eaLnBrk="0" fontAlgn="base" hangingPunct="0">
        <a:spcBef>
          <a:spcPts val="0"/>
        </a:spcBef>
        <a:spcAft>
          <a:spcPts val="600"/>
        </a:spcAft>
        <a:buClr>
          <a:srgbClr val="EF4135"/>
        </a:buClr>
        <a:buFont typeface="Arial" pitchFamily="34" charset="0"/>
        <a:buChar char="•"/>
        <a:defRPr sz="1800" kern="1200">
          <a:solidFill>
            <a:srgbClr val="58595B"/>
          </a:solidFill>
          <a:latin typeface="+mn-lt"/>
          <a:ea typeface="+mn-ea"/>
          <a:cs typeface="+mn-cs"/>
        </a:defRPr>
      </a:lvl1pPr>
      <a:lvl2pPr marL="479425" indent="-273050" algn="l" defTabSz="457200" rtl="0" eaLnBrk="0" fontAlgn="base" hangingPunct="0">
        <a:spcBef>
          <a:spcPts val="0"/>
        </a:spcBef>
        <a:spcAft>
          <a:spcPts val="600"/>
        </a:spcAft>
        <a:buClr>
          <a:srgbClr val="0096DF"/>
        </a:buClr>
        <a:buFont typeface="Arial" pitchFamily="34" charset="0"/>
        <a:buChar char="•"/>
        <a:defRPr sz="1800" kern="1200">
          <a:solidFill>
            <a:srgbClr val="58595B"/>
          </a:solidFill>
          <a:latin typeface="+mn-lt"/>
          <a:ea typeface="+mn-ea"/>
          <a:cs typeface="+mn-cs"/>
        </a:defRPr>
      </a:lvl2pPr>
      <a:lvl3pPr marL="708025" indent="-207963" algn="l" defTabSz="457200" rtl="0" eaLnBrk="0" fontAlgn="base" hangingPunct="0">
        <a:spcBef>
          <a:spcPts val="0"/>
        </a:spcBef>
        <a:spcAft>
          <a:spcPts val="600"/>
        </a:spcAft>
        <a:buClr>
          <a:srgbClr val="EF4135"/>
        </a:buClr>
        <a:buFont typeface="Wingdings" pitchFamily="2" charset="2"/>
        <a:buChar char="§"/>
        <a:defRPr sz="1800" kern="1200">
          <a:solidFill>
            <a:srgbClr val="58595B"/>
          </a:solidFill>
          <a:latin typeface="+mn-lt"/>
          <a:ea typeface="+mn-ea"/>
          <a:cs typeface="+mn-cs"/>
        </a:defRPr>
      </a:lvl3pPr>
      <a:lvl4pPr marL="1004887" indent="-285750" algn="l" defTabSz="457200" rtl="0" eaLnBrk="0" fontAlgn="base" hangingPunct="0">
        <a:spcBef>
          <a:spcPts val="0"/>
        </a:spcBef>
        <a:spcAft>
          <a:spcPts val="600"/>
        </a:spcAft>
        <a:buClr>
          <a:srgbClr val="0096DF"/>
        </a:buClr>
        <a:buFont typeface="Wingdings" pitchFamily="2" charset="2"/>
        <a:buChar char="§"/>
        <a:defRPr sz="1800" kern="1200">
          <a:solidFill>
            <a:srgbClr val="58595B"/>
          </a:solidFill>
          <a:latin typeface="+mn-lt"/>
          <a:ea typeface="+mn-ea"/>
          <a:cs typeface="+mn-cs"/>
        </a:defRPr>
      </a:lvl4pPr>
      <a:lvl5pPr marL="1284288" indent="-271463" algn="l" defTabSz="457200" rtl="0" eaLnBrk="0" fontAlgn="base" hangingPunct="0">
        <a:spcBef>
          <a:spcPts val="0"/>
        </a:spcBef>
        <a:spcAft>
          <a:spcPts val="600"/>
        </a:spcAft>
        <a:buSzPct val="90000"/>
        <a:buFont typeface="Courier New" pitchFamily="49" charset="0"/>
        <a:buChar char="o"/>
        <a:defRPr sz="1800" kern="1200">
          <a:solidFill>
            <a:srgbClr val="58595B"/>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57200" y="274637"/>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cs-CZ" altLang="cs-CZ"/>
              <a:t>Klepnutím lze upravit styl předlohy nadpisů.</a:t>
            </a:r>
          </a:p>
        </p:txBody>
      </p:sp>
      <p:sp>
        <p:nvSpPr>
          <p:cNvPr id="4099" name="Rectangle 3"/>
          <p:cNvSpPr>
            <a:spLocks noGrp="1" noChangeArrowheads="1"/>
          </p:cNvSpPr>
          <p:nvPr>
            <p:ph type="body" idx="1"/>
          </p:nvPr>
        </p:nvSpPr>
        <p:spPr bwMode="auto">
          <a:xfrm>
            <a:off x="457200" y="1600204"/>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cs-CZ" altLang="cs-CZ"/>
              <a:t>Klepnutím lze upravit styly předlohy textu.</a:t>
            </a:r>
          </a:p>
          <a:p>
            <a:pPr lvl="1"/>
            <a:r>
              <a:rPr lang="cs-CZ" altLang="cs-CZ"/>
              <a:t>Druhá úroveň</a:t>
            </a:r>
          </a:p>
          <a:p>
            <a:pPr lvl="2"/>
            <a:r>
              <a:rPr lang="cs-CZ" altLang="cs-CZ"/>
              <a:t>Třetí úroveň</a:t>
            </a:r>
          </a:p>
          <a:p>
            <a:pPr lvl="3"/>
            <a:r>
              <a:rPr lang="cs-CZ" altLang="cs-CZ"/>
              <a:t>Čtvrtá úroveň</a:t>
            </a:r>
          </a:p>
          <a:p>
            <a:pPr lvl="4"/>
            <a:r>
              <a:rPr lang="cs-CZ" altLang="cs-CZ"/>
              <a:t>Pátá úroveň</a:t>
            </a:r>
          </a:p>
        </p:txBody>
      </p:sp>
      <p:sp>
        <p:nvSpPr>
          <p:cNvPr id="193540" name="Rectangle 4"/>
          <p:cNvSpPr>
            <a:spLocks noGrp="1" noChangeArrowheads="1"/>
          </p:cNvSpPr>
          <p:nvPr>
            <p:ph type="dt" sz="half" idx="2"/>
          </p:nvPr>
        </p:nvSpPr>
        <p:spPr bwMode="auto">
          <a:xfrm>
            <a:off x="457200" y="6245231"/>
            <a:ext cx="2133600" cy="476251"/>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400">
                <a:latin typeface="Arial" pitchFamily="34" charset="0"/>
              </a:defRPr>
            </a:lvl1pPr>
          </a:lstStyle>
          <a:p>
            <a:pPr>
              <a:defRPr/>
            </a:pPr>
            <a:endParaRPr lang="cs-CZ" altLang="cs-CZ" b="0">
              <a:solidFill>
                <a:srgbClr val="000000"/>
              </a:solidFill>
              <a:cs typeface="Arial" pitchFamily="34" charset="0"/>
            </a:endParaRPr>
          </a:p>
        </p:txBody>
      </p:sp>
      <p:sp>
        <p:nvSpPr>
          <p:cNvPr id="193541" name="Rectangle 5"/>
          <p:cNvSpPr>
            <a:spLocks noGrp="1" noChangeArrowheads="1"/>
          </p:cNvSpPr>
          <p:nvPr>
            <p:ph type="ftr" sz="quarter" idx="3"/>
          </p:nvPr>
        </p:nvSpPr>
        <p:spPr bwMode="auto">
          <a:xfrm>
            <a:off x="3124200" y="6245231"/>
            <a:ext cx="2895600" cy="476251"/>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1400">
                <a:latin typeface="Arial" pitchFamily="34" charset="0"/>
              </a:defRPr>
            </a:lvl1pPr>
          </a:lstStyle>
          <a:p>
            <a:pPr>
              <a:defRPr/>
            </a:pPr>
            <a:endParaRPr lang="cs-CZ" altLang="cs-CZ" b="0">
              <a:solidFill>
                <a:srgbClr val="000000"/>
              </a:solidFill>
              <a:cs typeface="Arial" pitchFamily="34" charset="0"/>
            </a:endParaRPr>
          </a:p>
        </p:txBody>
      </p:sp>
      <p:sp>
        <p:nvSpPr>
          <p:cNvPr id="193542" name="Rectangle 6"/>
          <p:cNvSpPr>
            <a:spLocks noGrp="1" noChangeArrowheads="1"/>
          </p:cNvSpPr>
          <p:nvPr>
            <p:ph type="sldNum" sz="quarter" idx="4"/>
          </p:nvPr>
        </p:nvSpPr>
        <p:spPr bwMode="auto">
          <a:xfrm>
            <a:off x="6553200" y="6245231"/>
            <a:ext cx="2133600" cy="476251"/>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400">
                <a:latin typeface="Arial" pitchFamily="34" charset="0"/>
              </a:defRPr>
            </a:lvl1pPr>
          </a:lstStyle>
          <a:p>
            <a:pPr>
              <a:defRPr/>
            </a:pPr>
            <a:fld id="{7C419A80-3A78-43F3-9FFE-4CC1C8C6F813}" type="slidenum">
              <a:rPr lang="cs-CZ" altLang="cs-CZ" b="0">
                <a:solidFill>
                  <a:srgbClr val="000000"/>
                </a:solidFill>
                <a:cs typeface="Arial" pitchFamily="34" charset="0"/>
              </a:rPr>
              <a:pPr>
                <a:defRPr/>
              </a:pPr>
              <a:t>‹#›</a:t>
            </a:fld>
            <a:endParaRPr lang="cs-CZ" altLang="cs-CZ" b="0">
              <a:solidFill>
                <a:srgbClr val="000000"/>
              </a:solidFill>
              <a:cs typeface="Arial" pitchFamily="34" charset="0"/>
            </a:endParaRPr>
          </a:p>
        </p:txBody>
      </p:sp>
    </p:spTree>
    <p:extLst>
      <p:ext uri="{BB962C8B-B14F-4D97-AF65-F5344CB8AC3E}">
        <p14:creationId xmlns:p14="http://schemas.microsoft.com/office/powerpoint/2010/main" val="1686211834"/>
      </p:ext>
    </p:extLst>
  </p:cSld>
  <p:clrMap bg1="lt1" tx1="dk1" bg2="lt2" tx2="dk2" accent1="accent1" accent2="accent2" accent3="accent3" accent4="accent4" accent5="accent5" accent6="accent6" hlink="hlink" folHlink="folHlink"/>
  <p:sldLayoutIdLst>
    <p:sldLayoutId id="2147490414" r:id="rId1"/>
    <p:sldLayoutId id="2147490415" r:id="rId2"/>
    <p:sldLayoutId id="2147490416" r:id="rId3"/>
    <p:sldLayoutId id="2147490417" r:id="rId4"/>
    <p:sldLayoutId id="2147490418" r:id="rId5"/>
    <p:sldLayoutId id="2147490419" r:id="rId6"/>
    <p:sldLayoutId id="2147490420" r:id="rId7"/>
    <p:sldLayoutId id="2147490421" r:id="rId8"/>
    <p:sldLayoutId id="2147490422" r:id="rId9"/>
    <p:sldLayoutId id="2147490423" r:id="rId10"/>
    <p:sldLayoutId id="2147490424" r:id="rId11"/>
    <p:sldLayoutId id="2147490425" r:id="rId12"/>
    <p:sldLayoutId id="2147490426" r:id="rId13"/>
    <p:sldLayoutId id="2147490427" r:id="rId14"/>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8"/>
          <p:cNvPicPr>
            <a:picLocks noChangeAspect="1"/>
          </p:cNvPicPr>
          <p:nvPr/>
        </p:nvPicPr>
        <p:blipFill>
          <a:blip r:embed="rId10" cstate="email">
            <a:extLst>
              <a:ext uri="{28A0092B-C50C-407E-A947-70E740481C1C}">
                <a14:useLocalDpi xmlns:a14="http://schemas.microsoft.com/office/drawing/2010/main" val="0"/>
              </a:ext>
            </a:extLst>
          </a:blip>
          <a:srcRect b="14449"/>
          <a:stretch>
            <a:fillRect/>
          </a:stretch>
        </p:blipFill>
        <p:spPr bwMode="auto">
          <a:xfrm>
            <a:off x="0" y="0"/>
            <a:ext cx="9144000" cy="586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ext Placeholder 2"/>
          <p:cNvSpPr>
            <a:spLocks noGrp="1"/>
          </p:cNvSpPr>
          <p:nvPr>
            <p:ph type="body" idx="1"/>
          </p:nvPr>
        </p:nvSpPr>
        <p:spPr bwMode="auto">
          <a:xfrm>
            <a:off x="509616" y="1204916"/>
            <a:ext cx="8112125" cy="448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ltLang="en-US" dirty="0"/>
              <a:t>Click to edit Master text styles</a:t>
            </a:r>
          </a:p>
          <a:p>
            <a:pPr lvl="0"/>
            <a:endParaRPr lang="en-US" altLang="en-US" dirty="0"/>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endParaRPr lang="en-GB" altLang="en-US" dirty="0"/>
          </a:p>
        </p:txBody>
      </p:sp>
      <p:cxnSp>
        <p:nvCxnSpPr>
          <p:cNvPr id="4" name="Straight Connector 3"/>
          <p:cNvCxnSpPr/>
          <p:nvPr/>
        </p:nvCxnSpPr>
        <p:spPr>
          <a:xfrm>
            <a:off x="509616"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053" name="TextBox 4"/>
          <p:cNvSpPr txBox="1">
            <a:spLocks noChangeArrowheads="1"/>
          </p:cNvSpPr>
          <p:nvPr/>
        </p:nvSpPr>
        <p:spPr bwMode="auto">
          <a:xfrm>
            <a:off x="666527" y="6072251"/>
            <a:ext cx="3417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buFont typeface="Arial" pitchFamily="34" charset="0"/>
              <a:buNone/>
              <a:defRPr/>
            </a:pPr>
            <a:fld id="{EBDDBB45-3803-495F-A200-7CA86B104E4D}" type="slidenum">
              <a:rPr lang="en-GB" sz="1000" b="0" smtClean="0">
                <a:solidFill>
                  <a:srgbClr val="FFFFFF"/>
                </a:solidFill>
              </a:rPr>
              <a:pPr algn="ctr" eaLnBrk="1" hangingPunct="1">
                <a:buFont typeface="Arial" pitchFamily="34" charset="0"/>
                <a:buNone/>
                <a:defRPr/>
              </a:pPr>
              <a:t>‹#›</a:t>
            </a:fld>
            <a:endParaRPr lang="en-GB" sz="1000" b="0">
              <a:solidFill>
                <a:srgbClr val="FFFFFF"/>
              </a:solidFill>
            </a:endParaRPr>
          </a:p>
        </p:txBody>
      </p:sp>
      <p:cxnSp>
        <p:nvCxnSpPr>
          <p:cNvPr id="11" name="Straight Connector 10"/>
          <p:cNvCxnSpPr/>
          <p:nvPr/>
        </p:nvCxnSpPr>
        <p:spPr>
          <a:xfrm>
            <a:off x="509616" y="1014414"/>
            <a:ext cx="8112125" cy="1587"/>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2" name="Title 1"/>
          <p:cNvSpPr txBox="1">
            <a:spLocks/>
          </p:cNvSpPr>
          <p:nvPr/>
        </p:nvSpPr>
        <p:spPr>
          <a:xfrm>
            <a:off x="515958" y="280988"/>
            <a:ext cx="8112125" cy="690563"/>
          </a:xfrm>
          <a:prstGeom prst="rect">
            <a:avLst/>
          </a:prstGeom>
        </p:spPr>
        <p:txBody>
          <a:bodyPr lIns="0" tIns="0" rIns="0" bIns="0" anchor="b">
            <a:normAutofit/>
          </a:bodyPr>
          <a:lstStyle>
            <a:lvl1pPr algn="l" defTabSz="457200" rtl="0" eaLnBrk="1" fontAlgn="base" hangingPunct="1">
              <a:spcBef>
                <a:spcPct val="0"/>
              </a:spcBef>
              <a:spcAft>
                <a:spcPct val="0"/>
              </a:spcAft>
              <a:defRPr sz="2400" kern="1200" baseline="0">
                <a:solidFill>
                  <a:schemeClr val="accent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2pPr>
            <a:lvl3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3pPr>
            <a:lvl4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4pPr>
            <a:lvl5pPr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9pPr>
          </a:lstStyle>
          <a:p>
            <a:pPr>
              <a:defRPr/>
            </a:pPr>
            <a:endParaRPr lang="en-US" b="0" dirty="0">
              <a:solidFill>
                <a:srgbClr val="830051"/>
              </a:solidFill>
            </a:endParaRPr>
          </a:p>
        </p:txBody>
      </p:sp>
      <p:pic>
        <p:nvPicPr>
          <p:cNvPr id="2056" name="Picture 2" descr="Z:\Clients\AZ-BMS\2014\5. Forxiga-Xigduo\3. Global projects\1. 360\786205172_Forxiga 2014 Speaker Training\4. Templates\Logo_19Aug14.png"/>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30185" y="5578489"/>
            <a:ext cx="2098675" cy="1214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Picture 8" descr="C:\Users\inam\Desktop\SF\AZ_DIAB_RGB_H_COL_LG.png"/>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7704138" y="6210315"/>
            <a:ext cx="1439862" cy="666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Tree>
    <p:extLst>
      <p:ext uri="{BB962C8B-B14F-4D97-AF65-F5344CB8AC3E}">
        <p14:creationId xmlns:p14="http://schemas.microsoft.com/office/powerpoint/2010/main" val="3578771984"/>
      </p:ext>
    </p:extLst>
  </p:cSld>
  <p:clrMap bg1="lt1" tx1="dk1" bg2="lt2" tx2="dk2" accent1="accent1" accent2="accent2" accent3="accent3" accent4="accent4" accent5="accent5" accent6="accent6" hlink="hlink" folHlink="folHlink"/>
  <p:sldLayoutIdLst>
    <p:sldLayoutId id="2147490429" r:id="rId1"/>
    <p:sldLayoutId id="2147490430" r:id="rId2"/>
    <p:sldLayoutId id="2147490431" r:id="rId3"/>
    <p:sldLayoutId id="2147490432" r:id="rId4"/>
    <p:sldLayoutId id="2147490433" r:id="rId5"/>
    <p:sldLayoutId id="2147490434" r:id="rId6"/>
    <p:sldLayoutId id="2147490435" r:id="rId7"/>
    <p:sldLayoutId id="2147490437" r:id="rId8"/>
  </p:sldLayoutIdLst>
  <p:txStyles>
    <p:titleStyle>
      <a:lvl1pPr algn="l" defTabSz="457200" rtl="0" eaLnBrk="0" fontAlgn="base" hangingPunct="0">
        <a:spcBef>
          <a:spcPct val="0"/>
        </a:spcBef>
        <a:spcAft>
          <a:spcPct val="0"/>
        </a:spcAft>
        <a:defRPr sz="2400" kern="1200">
          <a:solidFill>
            <a:schemeClr val="accent1"/>
          </a:solidFill>
          <a:latin typeface="Arial" pitchFamily="34" charset="0"/>
          <a:ea typeface="+mj-ea"/>
          <a:cs typeface="+mj-cs"/>
        </a:defRPr>
      </a:lvl1pPr>
      <a:lvl2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2pPr>
      <a:lvl3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3pPr>
      <a:lvl4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4pPr>
      <a:lvl5pPr algn="l" defTabSz="457200" rtl="0" eaLnBrk="0" fontAlgn="base" hangingPunct="0">
        <a:spcBef>
          <a:spcPct val="0"/>
        </a:spcBef>
        <a:spcAft>
          <a:spcPct val="0"/>
        </a:spcAft>
        <a:defRPr sz="2400">
          <a:solidFill>
            <a:schemeClr val="accent1"/>
          </a:solidFill>
          <a:latin typeface="Arial" pitchFamily="34" charset="0"/>
          <a:ea typeface="ＭＳ Ｐゴシック" charset="-128"/>
          <a:cs typeface="ＭＳ Ｐゴシック" charset="-128"/>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128"/>
          <a:cs typeface="ＭＳ Ｐゴシック" charset="-128"/>
        </a:defRPr>
      </a:lvl9pPr>
    </p:titleStyle>
    <p:bodyStyle>
      <a:lvl1pPr marL="0" indent="0" algn="l" defTabSz="457200" rtl="0" eaLnBrk="0" fontAlgn="base" hangingPunct="0">
        <a:spcBef>
          <a:spcPct val="0"/>
        </a:spcBef>
        <a:spcAft>
          <a:spcPts val="600"/>
        </a:spcAft>
        <a:buClr>
          <a:schemeClr val="accent1"/>
        </a:buClr>
        <a:buFont typeface="Arial" pitchFamily="34" charset="0"/>
        <a:buNone/>
        <a:defRPr kern="1200">
          <a:solidFill>
            <a:schemeClr val="tx1"/>
          </a:solidFill>
          <a:latin typeface="Arial" pitchFamily="34" charset="0"/>
          <a:ea typeface="+mn-ea"/>
          <a:cs typeface="+mn-cs"/>
        </a:defRPr>
      </a:lvl1pPr>
      <a:lvl2pPr marL="479425" indent="-273050" algn="l" defTabSz="457200" rtl="0" eaLnBrk="0" fontAlgn="base" hangingPunct="0">
        <a:spcBef>
          <a:spcPct val="0"/>
        </a:spcBef>
        <a:spcAft>
          <a:spcPts val="600"/>
        </a:spcAft>
        <a:buClr>
          <a:schemeClr val="accent2"/>
        </a:buClr>
        <a:buFont typeface="Arial" pitchFamily="34" charset="0"/>
        <a:buChar char="•"/>
        <a:defRPr kern="1200">
          <a:solidFill>
            <a:schemeClr val="tx1"/>
          </a:solidFill>
          <a:latin typeface="Arial" pitchFamily="34" charset="0"/>
          <a:ea typeface="+mn-ea"/>
          <a:cs typeface="+mn-cs"/>
        </a:defRPr>
      </a:lvl2pPr>
      <a:lvl3pPr marL="708025" indent="-207963" algn="l" defTabSz="457200" rtl="0" eaLnBrk="0" fontAlgn="base" hangingPunct="0">
        <a:spcBef>
          <a:spcPct val="0"/>
        </a:spcBef>
        <a:spcAft>
          <a:spcPts val="600"/>
        </a:spcAft>
        <a:buClr>
          <a:srgbClr val="4B306A"/>
        </a:buClr>
        <a:buFont typeface="Wingdings" pitchFamily="2" charset="2"/>
        <a:buChar char="§"/>
        <a:defRPr kern="1200">
          <a:solidFill>
            <a:schemeClr val="tx1"/>
          </a:solidFill>
          <a:latin typeface="Arial" pitchFamily="34" charset="0"/>
          <a:ea typeface="+mn-ea"/>
          <a:cs typeface="+mn-cs"/>
        </a:defRPr>
      </a:lvl3pPr>
      <a:lvl4pPr marL="1003300" indent="-285750" algn="l" defTabSz="457200" rtl="0" eaLnBrk="0" fontAlgn="base" hangingPunct="0">
        <a:spcBef>
          <a:spcPct val="0"/>
        </a:spcBef>
        <a:spcAft>
          <a:spcPts val="600"/>
        </a:spcAft>
        <a:buClr>
          <a:schemeClr val="accent1"/>
        </a:buClr>
        <a:buFont typeface="Wingdings" pitchFamily="2" charset="2"/>
        <a:buChar char="§"/>
        <a:defRPr kern="1200">
          <a:solidFill>
            <a:schemeClr val="tx1"/>
          </a:solidFill>
          <a:latin typeface="Arial" pitchFamily="34" charset="0"/>
          <a:ea typeface="+mn-ea"/>
          <a:cs typeface="+mn-cs"/>
        </a:defRPr>
      </a:lvl4pPr>
      <a:lvl5pPr marL="1284288" indent="-271463" algn="l" defTabSz="457200" rtl="0" eaLnBrk="0" fontAlgn="base" hangingPunct="0">
        <a:spcBef>
          <a:spcPct val="0"/>
        </a:spcBef>
        <a:spcAft>
          <a:spcPts val="600"/>
        </a:spcAft>
        <a:buClr>
          <a:schemeClr val="accent2"/>
        </a:buClr>
        <a:buSzPct val="90000"/>
        <a:buFont typeface="Courier New" pitchFamily="49" charset="0"/>
        <a:buChar char="o"/>
        <a:defRPr kern="1200">
          <a:solidFill>
            <a:schemeClr val="tx1"/>
          </a:solidFill>
          <a:latin typeface="Arial"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Z_SYMBOL_RGB.jp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440596" y="5997141"/>
            <a:ext cx="453600" cy="696215"/>
          </a:xfrm>
          <a:prstGeom prst="rect">
            <a:avLst/>
          </a:prstGeom>
        </p:spPr>
      </p:pic>
      <p:sp>
        <p:nvSpPr>
          <p:cNvPr id="8" name="Slide Number Placeholder 5"/>
          <p:cNvSpPr>
            <a:spLocks noGrp="1"/>
          </p:cNvSpPr>
          <p:nvPr>
            <p:ph type="sldNum" sz="quarter" idx="4"/>
          </p:nvPr>
        </p:nvSpPr>
        <p:spPr>
          <a:xfrm>
            <a:off x="318375" y="6462339"/>
            <a:ext cx="396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pPr defTabSz="457200" fontAlgn="auto">
              <a:spcBef>
                <a:spcPts val="0"/>
              </a:spcBef>
              <a:spcAft>
                <a:spcPts val="0"/>
              </a:spcAft>
            </a:pPr>
            <a:fld id="{3C4F54F3-C349-4609-AFEE-01462D5C7942}" type="slidenum">
              <a:rPr lang="en-GB" smtClean="0">
                <a:solidFill>
                  <a:srgbClr val="000000"/>
                </a:solidFill>
              </a:rPr>
              <a:pPr defTabSz="457200" fontAlgn="auto">
                <a:spcBef>
                  <a:spcPts val="0"/>
                </a:spcBef>
                <a:spcAft>
                  <a:spcPts val="0"/>
                </a:spcAft>
              </a:pPr>
              <a:t>‹#›</a:t>
            </a:fld>
            <a:endParaRPr lang="en-GB" dirty="0">
              <a:solidFill>
                <a:srgbClr val="000000"/>
              </a:solidFill>
            </a:endParaRPr>
          </a:p>
        </p:txBody>
      </p:sp>
    </p:spTree>
    <p:extLst>
      <p:ext uri="{BB962C8B-B14F-4D97-AF65-F5344CB8AC3E}">
        <p14:creationId xmlns:p14="http://schemas.microsoft.com/office/powerpoint/2010/main" val="2289301411"/>
      </p:ext>
    </p:extLst>
  </p:cSld>
  <p:clrMap bg1="lt1" tx1="dk1" bg2="lt2" tx2="dk2" accent1="accent1" accent2="accent2" accent3="accent3" accent4="accent4" accent5="accent5" accent6="accent6" hlink="hlink" folHlink="folHlink"/>
  <p:sldLayoutIdLst>
    <p:sldLayoutId id="2147490466" r:id="rId1"/>
    <p:sldLayoutId id="2147490467" r:id="rId2"/>
    <p:sldLayoutId id="2147490468" r:id="rId3"/>
    <p:sldLayoutId id="2147490469" r:id="rId4"/>
    <p:sldLayoutId id="2147490470" r:id="rId5"/>
    <p:sldLayoutId id="2147490471" r:id="rId6"/>
    <p:sldLayoutId id="2147490472" r:id="rId7"/>
    <p:sldLayoutId id="2147490473" r:id="rId8"/>
    <p:sldLayoutId id="2147490474" r:id="rId9"/>
    <p:sldLayoutId id="2147490475" r:id="rId10"/>
    <p:sldLayoutId id="2147490476" r:id="rId11"/>
    <p:sldLayoutId id="2147490477" r:id="rId12"/>
    <p:sldLayoutId id="2147490478" r:id="rId1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6591303"/>
            <a:ext cx="365760" cy="266700"/>
          </a:xfrm>
          <a:prstGeom prst="rect">
            <a:avLst/>
          </a:prstGeom>
        </p:spPr>
        <p:txBody>
          <a:bodyPr vert="horz" lIns="91440" tIns="45720" rIns="45720" bIns="45720" rtlCol="0" anchor="b"/>
          <a:lstStyle>
            <a:lvl1pPr algn="r">
              <a:defRPr sz="1000">
                <a:solidFill>
                  <a:schemeClr val="tx1"/>
                </a:solidFill>
              </a:defRPr>
            </a:lvl1pPr>
          </a:lstStyle>
          <a:p>
            <a:pPr fontAlgn="auto">
              <a:spcBef>
                <a:spcPts val="0"/>
              </a:spcBef>
              <a:spcAft>
                <a:spcPts val="0"/>
              </a:spcAft>
            </a:pPr>
            <a:fld id="{CC7432E5-F8E0-41AE-9A6B-AD730338B005}" type="slidenum">
              <a:rPr lang="en-US" b="0" smtClean="0">
                <a:solidFill>
                  <a:srgbClr val="000000"/>
                </a:solidFill>
                <a:latin typeface="Arial"/>
              </a:rPr>
              <a:pPr fontAlgn="auto">
                <a:spcBef>
                  <a:spcPts val="0"/>
                </a:spcBef>
                <a:spcAft>
                  <a:spcPts val="0"/>
                </a:spcAft>
              </a:pPr>
              <a:t>‹#›</a:t>
            </a:fld>
            <a:endParaRPr lang="en-US" b="0" dirty="0">
              <a:solidFill>
                <a:srgbClr val="000000"/>
              </a:solidFill>
              <a:latin typeface="Arial"/>
            </a:endParaRPr>
          </a:p>
        </p:txBody>
      </p:sp>
      <p:sp>
        <p:nvSpPr>
          <p:cNvPr id="2" name="Title Placeholder 1"/>
          <p:cNvSpPr>
            <a:spLocks noGrp="1"/>
          </p:cNvSpPr>
          <p:nvPr>
            <p:ph type="title"/>
          </p:nvPr>
        </p:nvSpPr>
        <p:spPr>
          <a:xfrm>
            <a:off x="342900" y="228601"/>
            <a:ext cx="8458200" cy="800099"/>
          </a:xfrm>
          <a:prstGeom prst="rect">
            <a:avLst/>
          </a:prstGeom>
        </p:spPr>
        <p:txBody>
          <a:bodyPr vert="horz" lIns="9144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342900" y="1257300"/>
            <a:ext cx="8458200" cy="4572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403350" y="6534155"/>
            <a:ext cx="971550" cy="323851"/>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CB7F32F2-BF2B-44A8-9A3C-E615DA763306}" type="datetime1">
              <a:rPr lang="en-US" b="0" smtClean="0">
                <a:solidFill>
                  <a:srgbClr val="000000">
                    <a:tint val="75000"/>
                  </a:srgbClr>
                </a:solidFill>
                <a:latin typeface="Arial"/>
              </a:rPr>
              <a:pPr fontAlgn="auto">
                <a:spcBef>
                  <a:spcPts val="0"/>
                </a:spcBef>
                <a:spcAft>
                  <a:spcPts val="0"/>
                </a:spcAft>
              </a:pPr>
              <a:t>1/29/2019</a:t>
            </a:fld>
            <a:endParaRPr lang="en-US" b="0">
              <a:solidFill>
                <a:srgbClr val="000000">
                  <a:tint val="75000"/>
                </a:srgbClr>
              </a:solidFill>
              <a:latin typeface="Arial"/>
            </a:endParaRPr>
          </a:p>
        </p:txBody>
      </p:sp>
      <p:sp>
        <p:nvSpPr>
          <p:cNvPr id="5" name="Footer Placeholder 4"/>
          <p:cNvSpPr>
            <a:spLocks noGrp="1"/>
          </p:cNvSpPr>
          <p:nvPr>
            <p:ph type="ftr" sz="quarter" idx="3"/>
          </p:nvPr>
        </p:nvSpPr>
        <p:spPr>
          <a:xfrm>
            <a:off x="-1403350" y="6004530"/>
            <a:ext cx="971550" cy="427673"/>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b="0">
              <a:solidFill>
                <a:srgbClr val="000000">
                  <a:tint val="75000"/>
                </a:srgbClr>
              </a:solidFill>
              <a:latin typeface="Arial"/>
            </a:endParaRPr>
          </a:p>
        </p:txBody>
      </p:sp>
      <p:sp>
        <p:nvSpPr>
          <p:cNvPr id="8" name="TextBox 7"/>
          <p:cNvSpPr txBox="1"/>
          <p:nvPr userDrawn="1"/>
        </p:nvSpPr>
        <p:spPr>
          <a:xfrm>
            <a:off x="7620000" y="6611795"/>
            <a:ext cx="1524000" cy="246221"/>
          </a:xfrm>
          <a:prstGeom prst="rect">
            <a:avLst/>
          </a:prstGeom>
          <a:noFill/>
        </p:spPr>
        <p:txBody>
          <a:bodyPr wrap="square" rtlCol="0">
            <a:spAutoFit/>
          </a:bodyPr>
          <a:lstStyle/>
          <a:p>
            <a:pPr algn="r" fontAlgn="auto">
              <a:spcBef>
                <a:spcPts val="0"/>
              </a:spcBef>
              <a:spcAft>
                <a:spcPts val="0"/>
              </a:spcAft>
            </a:pPr>
            <a:r>
              <a:rPr lang="en-US" sz="1000" b="0" dirty="0">
                <a:solidFill>
                  <a:srgbClr val="000000"/>
                </a:solidFill>
                <a:latin typeface="Arial" pitchFamily="34" charset="0"/>
                <a:cs typeface="Arial" pitchFamily="34" charset="0"/>
              </a:rPr>
              <a:t>© AstraZeneca 2017</a:t>
            </a:r>
          </a:p>
        </p:txBody>
      </p:sp>
      <p:sp>
        <p:nvSpPr>
          <p:cNvPr id="9" name="Rectangle 8"/>
          <p:cNvSpPr/>
          <p:nvPr userDrawn="1"/>
        </p:nvSpPr>
        <p:spPr>
          <a:xfrm>
            <a:off x="342900" y="1129284"/>
            <a:ext cx="8801100" cy="18288"/>
          </a:xfrm>
          <a:prstGeom prst="rect">
            <a:avLst/>
          </a:prstGeom>
          <a:gradFill flip="none" rotWithShape="1">
            <a:gsLst>
              <a:gs pos="26000">
                <a:schemeClr val="accent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Tree>
    <p:extLst>
      <p:ext uri="{BB962C8B-B14F-4D97-AF65-F5344CB8AC3E}">
        <p14:creationId xmlns:p14="http://schemas.microsoft.com/office/powerpoint/2010/main" val="541320745"/>
      </p:ext>
    </p:extLst>
  </p:cSld>
  <p:clrMap bg1="lt1" tx1="dk1" bg2="lt2" tx2="dk2" accent1="accent1" accent2="accent2" accent3="accent3" accent4="accent4" accent5="accent5" accent6="accent6" hlink="hlink" folHlink="folHlink"/>
  <p:sldLayoutIdLst>
    <p:sldLayoutId id="2147490481" r:id="rId1"/>
    <p:sldLayoutId id="2147490482" r:id="rId2"/>
    <p:sldLayoutId id="2147490483" r:id="rId3"/>
    <p:sldLayoutId id="2147490484" r:id="rId4"/>
    <p:sldLayoutId id="2147490485" r:id="rId5"/>
    <p:sldLayoutId id="2147490486" r:id="rId6"/>
    <p:sldLayoutId id="2147490487" r:id="rId7"/>
    <p:sldLayoutId id="2147490488" r:id="rId8"/>
    <p:sldLayoutId id="2147490489" r:id="rId9"/>
    <p:sldLayoutId id="2147490490" r:id="rId10"/>
    <p:sldLayoutId id="2147490491" r:id="rId11"/>
    <p:sldLayoutId id="2147490492" r:id="rId12"/>
  </p:sldLayoutIdLst>
  <p:hf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9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pos="216">
          <p15:clr>
            <a:srgbClr val="F26B43"/>
          </p15:clr>
        </p15:guide>
        <p15:guide id="4" pos="5544">
          <p15:clr>
            <a:srgbClr val="F26B43"/>
          </p15:clr>
        </p15:guide>
        <p15:guide id="5" orient="horz" pos="144">
          <p15:clr>
            <a:srgbClr val="F26B43"/>
          </p15:clr>
        </p15:guide>
        <p15:guide id="6" orient="horz" pos="648">
          <p15:clr>
            <a:srgbClr val="F26B43"/>
          </p15:clr>
        </p15:guide>
        <p15:guide id="7" orient="horz" pos="792">
          <p15:clr>
            <a:srgbClr val="F26B43"/>
          </p15:clr>
        </p15:guide>
        <p15:guide id="8" orient="horz" pos="367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6591303"/>
            <a:ext cx="365760" cy="266700"/>
          </a:xfrm>
          <a:prstGeom prst="rect">
            <a:avLst/>
          </a:prstGeom>
        </p:spPr>
        <p:txBody>
          <a:bodyPr vert="horz" lIns="91440" tIns="45720" rIns="45720" bIns="45720" rtlCol="0" anchor="b"/>
          <a:lstStyle>
            <a:lvl1pPr algn="r">
              <a:defRPr sz="1000">
                <a:solidFill>
                  <a:schemeClr val="tx1"/>
                </a:solidFill>
              </a:defRPr>
            </a:lvl1pPr>
          </a:lstStyle>
          <a:p>
            <a:pPr fontAlgn="auto">
              <a:spcBef>
                <a:spcPts val="0"/>
              </a:spcBef>
              <a:spcAft>
                <a:spcPts val="0"/>
              </a:spcAft>
            </a:pPr>
            <a:fld id="{CC7432E5-F8E0-41AE-9A6B-AD730338B005}" type="slidenum">
              <a:rPr lang="en-US" b="0" smtClean="0">
                <a:solidFill>
                  <a:srgbClr val="000000"/>
                </a:solidFill>
                <a:latin typeface="Arial"/>
              </a:rPr>
              <a:pPr fontAlgn="auto">
                <a:spcBef>
                  <a:spcPts val="0"/>
                </a:spcBef>
                <a:spcAft>
                  <a:spcPts val="0"/>
                </a:spcAft>
              </a:pPr>
              <a:t>‹#›</a:t>
            </a:fld>
            <a:endParaRPr lang="en-US" b="0" dirty="0">
              <a:solidFill>
                <a:srgbClr val="000000"/>
              </a:solidFill>
              <a:latin typeface="Arial"/>
            </a:endParaRPr>
          </a:p>
        </p:txBody>
      </p:sp>
      <p:sp>
        <p:nvSpPr>
          <p:cNvPr id="2" name="Title Placeholder 1"/>
          <p:cNvSpPr>
            <a:spLocks noGrp="1"/>
          </p:cNvSpPr>
          <p:nvPr>
            <p:ph type="title"/>
          </p:nvPr>
        </p:nvSpPr>
        <p:spPr>
          <a:xfrm>
            <a:off x="342900" y="228601"/>
            <a:ext cx="8458200" cy="800099"/>
          </a:xfrm>
          <a:prstGeom prst="rect">
            <a:avLst/>
          </a:prstGeom>
        </p:spPr>
        <p:txBody>
          <a:bodyPr vert="horz" lIns="9144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342900" y="1257300"/>
            <a:ext cx="8458200" cy="4572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403350" y="6534155"/>
            <a:ext cx="971550" cy="323851"/>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BA3EB8CF-41A1-4287-9D2D-E3AAE9AD3174}" type="datetime1">
              <a:rPr lang="en-US" b="0" smtClean="0">
                <a:solidFill>
                  <a:srgbClr val="000000">
                    <a:tint val="75000"/>
                  </a:srgbClr>
                </a:solidFill>
                <a:latin typeface="Arial"/>
              </a:rPr>
              <a:pPr fontAlgn="auto">
                <a:spcBef>
                  <a:spcPts val="0"/>
                </a:spcBef>
                <a:spcAft>
                  <a:spcPts val="0"/>
                </a:spcAft>
              </a:pPr>
              <a:t>1/29/2019</a:t>
            </a:fld>
            <a:endParaRPr lang="en-US" b="0">
              <a:solidFill>
                <a:srgbClr val="000000">
                  <a:tint val="75000"/>
                </a:srgbClr>
              </a:solidFill>
              <a:latin typeface="Arial"/>
            </a:endParaRPr>
          </a:p>
        </p:txBody>
      </p:sp>
      <p:sp>
        <p:nvSpPr>
          <p:cNvPr id="5" name="Footer Placeholder 4"/>
          <p:cNvSpPr>
            <a:spLocks noGrp="1"/>
          </p:cNvSpPr>
          <p:nvPr>
            <p:ph type="ftr" sz="quarter" idx="3"/>
          </p:nvPr>
        </p:nvSpPr>
        <p:spPr>
          <a:xfrm>
            <a:off x="-1403350" y="6004530"/>
            <a:ext cx="971550" cy="427673"/>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b="0">
              <a:solidFill>
                <a:srgbClr val="000000">
                  <a:tint val="75000"/>
                </a:srgbClr>
              </a:solidFill>
              <a:latin typeface="Arial"/>
            </a:endParaRPr>
          </a:p>
        </p:txBody>
      </p:sp>
      <p:sp>
        <p:nvSpPr>
          <p:cNvPr id="8" name="TextBox 7"/>
          <p:cNvSpPr txBox="1"/>
          <p:nvPr userDrawn="1"/>
        </p:nvSpPr>
        <p:spPr>
          <a:xfrm>
            <a:off x="7620000" y="6611795"/>
            <a:ext cx="1524000" cy="246221"/>
          </a:xfrm>
          <a:prstGeom prst="rect">
            <a:avLst/>
          </a:prstGeom>
          <a:noFill/>
        </p:spPr>
        <p:txBody>
          <a:bodyPr wrap="square" rtlCol="0">
            <a:spAutoFit/>
          </a:bodyPr>
          <a:lstStyle/>
          <a:p>
            <a:pPr algn="r" fontAlgn="auto">
              <a:spcBef>
                <a:spcPts val="0"/>
              </a:spcBef>
              <a:spcAft>
                <a:spcPts val="0"/>
              </a:spcAft>
            </a:pPr>
            <a:r>
              <a:rPr lang="en-US" sz="1000" b="0" dirty="0">
                <a:solidFill>
                  <a:srgbClr val="000000"/>
                </a:solidFill>
                <a:latin typeface="Arial" pitchFamily="34" charset="0"/>
                <a:cs typeface="Arial" pitchFamily="34" charset="0"/>
              </a:rPr>
              <a:t>© AstraZeneca 2017</a:t>
            </a:r>
          </a:p>
        </p:txBody>
      </p:sp>
      <p:sp>
        <p:nvSpPr>
          <p:cNvPr id="9" name="Rectangle 8"/>
          <p:cNvSpPr/>
          <p:nvPr userDrawn="1"/>
        </p:nvSpPr>
        <p:spPr>
          <a:xfrm>
            <a:off x="342900" y="1129284"/>
            <a:ext cx="8801100" cy="18288"/>
          </a:xfrm>
          <a:prstGeom prst="rect">
            <a:avLst/>
          </a:prstGeom>
          <a:gradFill flip="none" rotWithShape="1">
            <a:gsLst>
              <a:gs pos="26000">
                <a:schemeClr val="accent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srgbClr val="FFFFFF"/>
              </a:solidFill>
            </a:endParaRPr>
          </a:p>
        </p:txBody>
      </p:sp>
    </p:spTree>
    <p:extLst>
      <p:ext uri="{BB962C8B-B14F-4D97-AF65-F5344CB8AC3E}">
        <p14:creationId xmlns:p14="http://schemas.microsoft.com/office/powerpoint/2010/main" val="3932479406"/>
      </p:ext>
    </p:extLst>
  </p:cSld>
  <p:clrMap bg1="lt1" tx1="dk1" bg2="lt2" tx2="dk2" accent1="accent1" accent2="accent2" accent3="accent3" accent4="accent4" accent5="accent5" accent6="accent6" hlink="hlink" folHlink="folHlink"/>
  <p:sldLayoutIdLst>
    <p:sldLayoutId id="2147490495" r:id="rId1"/>
    <p:sldLayoutId id="2147490496" r:id="rId2"/>
    <p:sldLayoutId id="2147490497" r:id="rId3"/>
    <p:sldLayoutId id="2147490498" r:id="rId4"/>
    <p:sldLayoutId id="2147490499" r:id="rId5"/>
    <p:sldLayoutId id="2147490500" r:id="rId6"/>
    <p:sldLayoutId id="2147490501" r:id="rId7"/>
    <p:sldLayoutId id="2147490502" r:id="rId8"/>
    <p:sldLayoutId id="2147490503" r:id="rId9"/>
    <p:sldLayoutId id="2147490504" r:id="rId10"/>
    <p:sldLayoutId id="2147490505" r:id="rId11"/>
    <p:sldLayoutId id="2147490506" r:id="rId12"/>
    <p:sldLayoutId id="2147490507" r:id="rId13"/>
  </p:sldLayoutIdLst>
  <p:hf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9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pos="216">
          <p15:clr>
            <a:srgbClr val="F26B43"/>
          </p15:clr>
        </p15:guide>
        <p15:guide id="4" pos="5544">
          <p15:clr>
            <a:srgbClr val="F26B43"/>
          </p15:clr>
        </p15:guide>
        <p15:guide id="5" orient="horz" pos="144">
          <p15:clr>
            <a:srgbClr val="F26B43"/>
          </p15:clr>
        </p15:guide>
        <p15:guide id="6" orient="horz" pos="648">
          <p15:clr>
            <a:srgbClr val="F26B43"/>
          </p15:clr>
        </p15:guide>
        <p15:guide id="7" orient="horz" pos="792">
          <p15:clr>
            <a:srgbClr val="F26B43"/>
          </p15:clr>
        </p15:guide>
        <p15:guide id="8" orient="horz" pos="367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201.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98.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99.xml"/></Relationships>
</file>

<file path=ppt/slides/_rels/slide13.xml.rels><?xml version="1.0" encoding="UTF-8" standalone="yes"?>
<Relationships xmlns="http://schemas.openxmlformats.org/package/2006/relationships"><Relationship Id="rId3" Type="http://schemas.openxmlformats.org/officeDocument/2006/relationships/hyperlink" Target="https://www.sciencedirect.com/topics/medicine-and-dentistry/myocardial-infarction" TargetMode="External"/><Relationship Id="rId2" Type="http://schemas.openxmlformats.org/officeDocument/2006/relationships/hyperlink" Target="https://www.sciencedirect.com/topics/medicine-and-dentistry/cardiovascular-system" TargetMode="External"/><Relationship Id="rId1" Type="http://schemas.openxmlformats.org/officeDocument/2006/relationships/slideLayout" Target="../slideLayouts/slideLayout200.xml"/><Relationship Id="rId4" Type="http://schemas.openxmlformats.org/officeDocument/2006/relationships/image" Target="../media/image53.jpg"/></Relationships>
</file>

<file path=ppt/slides/_rels/slide1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00.xml"/></Relationships>
</file>

<file path=ppt/slides/_rels/slide1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3" Type="http://schemas.openxmlformats.org/officeDocument/2006/relationships/image" Target="../media/image56.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 Type="http://schemas.openxmlformats.org/officeDocument/2006/relationships/notesSlide" Target="../notesSlides/notesSlide8.xml"/><Relationship Id="rId16" Type="http://schemas.openxmlformats.org/officeDocument/2006/relationships/image" Target="../media/image69.png"/><Relationship Id="rId20" Type="http://schemas.openxmlformats.org/officeDocument/2006/relationships/image" Target="../media/image73.png"/><Relationship Id="rId1" Type="http://schemas.openxmlformats.org/officeDocument/2006/relationships/slideLayout" Target="../slideLayouts/slideLayout218.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pn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s>
</file>

<file path=ppt/slides/_rels/slide17.xml.rels><?xml version="1.0" encoding="UTF-8" standalone="yes"?>
<Relationships xmlns="http://schemas.openxmlformats.org/package/2006/relationships"><Relationship Id="rId8" Type="http://schemas.openxmlformats.org/officeDocument/2006/relationships/slide" Target="slide13.xml"/><Relationship Id="rId13" Type="http://schemas.openxmlformats.org/officeDocument/2006/relationships/image" Target="../media/image80.emf"/><Relationship Id="rId3" Type="http://schemas.openxmlformats.org/officeDocument/2006/relationships/image" Target="../media/image77.emf"/><Relationship Id="rId7" Type="http://schemas.openxmlformats.org/officeDocument/2006/relationships/slide" Target="slide16.xml"/><Relationship Id="rId12" Type="http://schemas.openxmlformats.org/officeDocument/2006/relationships/slide" Target="slide21.xml"/><Relationship Id="rId2" Type="http://schemas.openxmlformats.org/officeDocument/2006/relationships/notesSlide" Target="../notesSlides/notesSlide9.xml"/><Relationship Id="rId16" Type="http://schemas.openxmlformats.org/officeDocument/2006/relationships/image" Target="../media/image82.emf"/><Relationship Id="rId1" Type="http://schemas.openxmlformats.org/officeDocument/2006/relationships/slideLayout" Target="../slideLayouts/slideLayout228.xml"/><Relationship Id="rId6" Type="http://schemas.openxmlformats.org/officeDocument/2006/relationships/slide" Target="slide15.xml"/><Relationship Id="rId11" Type="http://schemas.openxmlformats.org/officeDocument/2006/relationships/slide" Target="slide24.xml"/><Relationship Id="rId5" Type="http://schemas.openxmlformats.org/officeDocument/2006/relationships/image" Target="../media/image78.emf"/><Relationship Id="rId15" Type="http://schemas.openxmlformats.org/officeDocument/2006/relationships/image" Target="../media/image81.emf"/><Relationship Id="rId10" Type="http://schemas.openxmlformats.org/officeDocument/2006/relationships/image" Target="../media/image79.emf"/><Relationship Id="rId4" Type="http://schemas.openxmlformats.org/officeDocument/2006/relationships/slide" Target="slide12.xml"/><Relationship Id="rId9" Type="http://schemas.openxmlformats.org/officeDocument/2006/relationships/slide" Target="slide14.xml"/><Relationship Id="rId14" Type="http://schemas.openxmlformats.org/officeDocument/2006/relationships/slide" Target="slide3.xml"/></Relationships>
</file>

<file path=ppt/slides/_rels/slide18.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slideLayout" Target="../slideLayouts/slideLayout38.xml"/><Relationship Id="rId1" Type="http://schemas.openxmlformats.org/officeDocument/2006/relationships/tags" Target="../tags/tag37.xml"/></Relationships>
</file>

<file path=ppt/slides/_rels/slide19.xml.rels><?xml version="1.0" encoding="UTF-8" standalone="yes"?>
<Relationships xmlns="http://schemas.openxmlformats.org/package/2006/relationships"><Relationship Id="rId8" Type="http://schemas.openxmlformats.org/officeDocument/2006/relationships/image" Target="../media/image80.emf"/><Relationship Id="rId3" Type="http://schemas.openxmlformats.org/officeDocument/2006/relationships/hyperlink" Target="https://clinicaltrials.gov/ct2/show/NCT01730534.%20Accessed%20March%202016" TargetMode="External"/><Relationship Id="rId7" Type="http://schemas.openxmlformats.org/officeDocument/2006/relationships/slide" Target="slide23.xml"/><Relationship Id="rId12" Type="http://schemas.openxmlformats.org/officeDocument/2006/relationships/image" Target="../media/image84.png"/><Relationship Id="rId2" Type="http://schemas.openxmlformats.org/officeDocument/2006/relationships/notesSlide" Target="../notesSlides/notesSlide10.xml"/><Relationship Id="rId1" Type="http://schemas.openxmlformats.org/officeDocument/2006/relationships/slideLayout" Target="../slideLayouts/slideLayout35.xml"/><Relationship Id="rId6" Type="http://schemas.openxmlformats.org/officeDocument/2006/relationships/image" Target="../media/image79.emf"/><Relationship Id="rId11" Type="http://schemas.openxmlformats.org/officeDocument/2006/relationships/image" Target="../media/image82.emf"/><Relationship Id="rId5" Type="http://schemas.openxmlformats.org/officeDocument/2006/relationships/slide" Target="slide15.xml"/><Relationship Id="rId10" Type="http://schemas.openxmlformats.org/officeDocument/2006/relationships/image" Target="../media/image81.emf"/><Relationship Id="rId4" Type="http://schemas.openxmlformats.org/officeDocument/2006/relationships/slide" Target="slide16.xml"/><Relationship Id="rId9" Type="http://schemas.openxmlformats.org/officeDocument/2006/relationships/slide" Target="slide26.xml"/></Relationships>
</file>

<file path=ppt/slides/_rels/slide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71.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3.xml"/></Relationships>
</file>

<file path=ppt/slides/_rels/slide2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60.xml"/></Relationships>
</file>

<file path=ppt/slides/_rels/slide6.xml.rels><?xml version="1.0" encoding="UTF-8" standalone="yes"?>
<Relationships xmlns="http://schemas.openxmlformats.org/package/2006/relationships"><Relationship Id="rId3" Type="http://schemas.openxmlformats.org/officeDocument/2006/relationships/image" Target="../media/image47.wmf"/><Relationship Id="rId2" Type="http://schemas.openxmlformats.org/officeDocument/2006/relationships/notesSlide" Target="../notesSlides/notesSlide2.xml"/><Relationship Id="rId1" Type="http://schemas.openxmlformats.org/officeDocument/2006/relationships/slideLayout" Target="../slideLayouts/slideLayout263.xml"/><Relationship Id="rId5" Type="http://schemas.openxmlformats.org/officeDocument/2006/relationships/image" Target="../media/image48.jpeg"/><Relationship Id="rId4" Type="http://schemas.openxmlformats.org/officeDocument/2006/relationships/hyperlink" Target="http://www.google.cz/url?sa=i&amp;rct=j&amp;q=&amp;esrc=s&amp;source=images&amp;cd=&amp;cad=rja&amp;uact=8&amp;ved=0ahUKEwixwM6ry9TKAhXEvRoKHb-SBZEQjRwIBw&amp;url=http://content.time.com/time/specials/2007/time100/article/0,28804,1595326_1595329_1616143,00.html&amp;bvm=bv.113034660,d.bGQ&amp;psig=AFQjCNE_xquVLOR9HDhBqNnR3hs5vYQeyw&amp;ust=1454348150653552"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notesSlide" Target="../notesSlides/notesSlide3.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slideLayout" Target="../slideLayouts/slideLayout188.xml"/><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51.jpeg"/><Relationship Id="rId2" Type="http://schemas.openxmlformats.org/officeDocument/2006/relationships/slideLayout" Target="../slideLayouts/slideLayout197.xml"/><Relationship Id="rId1" Type="http://schemas.openxmlformats.org/officeDocument/2006/relationships/vmlDrawing" Target="../drawings/vmlDrawing6.vml"/><Relationship Id="rId6" Type="http://schemas.openxmlformats.org/officeDocument/2006/relationships/image" Target="../media/image50.png"/><Relationship Id="rId5" Type="http://schemas.openxmlformats.org/officeDocument/2006/relationships/image" Target="../media/image49.w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1"/>
          <p:cNvSpPr>
            <a:spLocks noGrp="1"/>
          </p:cNvSpPr>
          <p:nvPr>
            <p:ph type="title"/>
          </p:nvPr>
        </p:nvSpPr>
        <p:spPr>
          <a:xfrm>
            <a:off x="-36512" y="-840932"/>
            <a:ext cx="9144000" cy="1200151"/>
          </a:xfrm>
        </p:spPr>
        <p:txBody>
          <a:bodyPr/>
          <a:lstStyle/>
          <a:p>
            <a:pPr>
              <a:defRPr/>
            </a:pPr>
            <a:br>
              <a:rPr lang="cs-CZ" sz="2700" dirty="0"/>
            </a:br>
            <a:r>
              <a:rPr lang="cs-CZ" sz="2700" dirty="0"/>
              <a:t> </a:t>
            </a:r>
            <a:br>
              <a:rPr lang="cs-CZ" dirty="0"/>
            </a:br>
            <a:r>
              <a:rPr lang="cs-CZ" sz="3600" b="1" dirty="0"/>
              <a:t> </a:t>
            </a:r>
            <a:r>
              <a:rPr lang="cs-CZ" sz="3200" b="1" dirty="0"/>
              <a:t>DIABETES JE VYŘEŠEN – SGLT2 INHIBITORY A GLP1 AGONISTÉ A JE TO….</a:t>
            </a:r>
            <a:endParaRPr lang="cs-CZ" sz="2400" b="1" dirty="0">
              <a:solidFill>
                <a:schemeClr val="accent5">
                  <a:lumMod val="10000"/>
                </a:schemeClr>
              </a:solidFill>
            </a:endParaRPr>
          </a:p>
        </p:txBody>
      </p:sp>
      <p:sp>
        <p:nvSpPr>
          <p:cNvPr id="5" name="Podnadpis 2"/>
          <p:cNvSpPr txBox="1">
            <a:spLocks/>
          </p:cNvSpPr>
          <p:nvPr/>
        </p:nvSpPr>
        <p:spPr>
          <a:xfrm>
            <a:off x="395288" y="4970463"/>
            <a:ext cx="8280400" cy="762000"/>
          </a:xfrm>
          <a:prstGeom prst="rect">
            <a:avLst/>
          </a:prstGeom>
        </p:spPr>
        <p:txBody>
          <a:bodyPr/>
          <a:lstStyle>
            <a:lvl1pPr marL="342900" indent="-342900" algn="l" rtl="0" eaLnBrk="1" fontAlgn="base" hangingPunct="1">
              <a:spcBef>
                <a:spcPct val="20000"/>
              </a:spcBef>
              <a:spcAft>
                <a:spcPct val="0"/>
              </a:spcAft>
              <a:buFont typeface="Arial" charset="0"/>
              <a:buChar char="•"/>
              <a:defRPr sz="1900" kern="1200">
                <a:solidFill>
                  <a:srgbClr val="988F86"/>
                </a:solidFill>
                <a:latin typeface="Cambria" pitchFamily="18" charset="0"/>
                <a:ea typeface="+mn-ea"/>
                <a:cs typeface="Times New Roman" pitchFamily="18" charset="0"/>
              </a:defRPr>
            </a:lvl1pPr>
            <a:lvl2pPr marL="742950" indent="-285750" algn="l" rtl="0" eaLnBrk="1" fontAlgn="base" hangingPunct="1">
              <a:spcBef>
                <a:spcPct val="20000"/>
              </a:spcBef>
              <a:spcAft>
                <a:spcPct val="0"/>
              </a:spcAft>
              <a:buFont typeface="Arial" charset="0"/>
              <a:buChar char="–"/>
              <a:defRPr kern="1200">
                <a:solidFill>
                  <a:srgbClr val="988F86"/>
                </a:solidFill>
                <a:latin typeface="Cambria" pitchFamily="18" charset="0"/>
                <a:ea typeface="+mn-ea"/>
                <a:cs typeface="Times New Roman" pitchFamily="18" charset="0"/>
              </a:defRPr>
            </a:lvl2pPr>
            <a:lvl3pPr marL="1143000" indent="-228600" algn="l" rtl="0" eaLnBrk="1" fontAlgn="base" hangingPunct="1">
              <a:spcBef>
                <a:spcPct val="20000"/>
              </a:spcBef>
              <a:spcAft>
                <a:spcPct val="0"/>
              </a:spcAft>
              <a:buFont typeface="Arial" charset="0"/>
              <a:buChar char="•"/>
              <a:defRPr sz="1600" kern="1200">
                <a:solidFill>
                  <a:srgbClr val="988F86"/>
                </a:solidFill>
                <a:latin typeface="Cambria" pitchFamily="18" charset="0"/>
                <a:ea typeface="+mn-ea"/>
                <a:cs typeface="Times New Roman" pitchFamily="18" charset="0"/>
              </a:defRPr>
            </a:lvl3pPr>
            <a:lvl4pPr marL="1600200" indent="-228600" algn="l" rtl="0" eaLnBrk="1" fontAlgn="base" hangingPunct="1">
              <a:spcBef>
                <a:spcPct val="20000"/>
              </a:spcBef>
              <a:spcAft>
                <a:spcPct val="0"/>
              </a:spcAft>
              <a:buFont typeface="Arial" charset="0"/>
              <a:buChar char="–"/>
              <a:defRPr sz="1400" kern="1200">
                <a:solidFill>
                  <a:srgbClr val="988F86"/>
                </a:solidFill>
                <a:latin typeface="Cambria" pitchFamily="18" charset="0"/>
                <a:ea typeface="+mn-ea"/>
                <a:cs typeface="Times New Roman" pitchFamily="18" charset="0"/>
              </a:defRPr>
            </a:lvl4pPr>
            <a:lvl5pPr marL="2057400" indent="-228600" algn="l" rtl="0" eaLnBrk="1" fontAlgn="base" hangingPunct="1">
              <a:spcBef>
                <a:spcPct val="20000"/>
              </a:spcBef>
              <a:spcAft>
                <a:spcPct val="0"/>
              </a:spcAft>
              <a:buFont typeface="Arial" charset="0"/>
              <a:buChar char="»"/>
              <a:defRPr sz="1200" kern="1200">
                <a:solidFill>
                  <a:srgbClr val="988F86"/>
                </a:solidFill>
                <a:latin typeface="Cambria" pitchFamily="18" charset="0"/>
                <a:ea typeface="+mn-ea"/>
                <a:cs typeface="Times New Roman" pitchFamily="18"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buFont typeface="Arial" charset="0"/>
              <a:buNone/>
              <a:defRPr/>
            </a:pPr>
            <a:r>
              <a:rPr lang="cs-CZ" sz="3200" b="1" dirty="0">
                <a:solidFill>
                  <a:srgbClr val="000000"/>
                </a:solidFill>
              </a:rPr>
              <a:t>Martin Haluzík</a:t>
            </a:r>
          </a:p>
          <a:p>
            <a:pPr marL="257175" indent="-257175" algn="ctr" defTabSz="685800">
              <a:defRPr/>
            </a:pPr>
            <a:endParaRPr lang="cs-CZ" sz="1800" dirty="0"/>
          </a:p>
          <a:p>
            <a:pPr marL="0" indent="0" algn="ctr" defTabSz="685800">
              <a:buFont typeface="Arial" charset="0"/>
              <a:buNone/>
              <a:defRPr/>
            </a:pPr>
            <a:r>
              <a:rPr lang="cs-CZ" sz="2000" dirty="0">
                <a:solidFill>
                  <a:srgbClr val="000000"/>
                </a:solidFill>
              </a:rPr>
              <a:t>Centrum diabetologie a Centrum experimentální </a:t>
            </a:r>
            <a:r>
              <a:rPr lang="cs-CZ" sz="2000" dirty="0" err="1">
                <a:solidFill>
                  <a:srgbClr val="000000"/>
                </a:solidFill>
              </a:rPr>
              <a:t>mediciny</a:t>
            </a:r>
            <a:r>
              <a:rPr lang="cs-CZ" sz="2000" dirty="0">
                <a:solidFill>
                  <a:srgbClr val="000000"/>
                </a:solidFill>
              </a:rPr>
              <a:t>, IKEM a Endokrinologický ústav Praha </a:t>
            </a:r>
          </a:p>
        </p:txBody>
      </p:sp>
      <p:pic>
        <p:nvPicPr>
          <p:cNvPr id="33796" name="Zástupný symbol pro obsah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06550" y="1268413"/>
            <a:ext cx="5486400"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74473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55301" y="468434"/>
            <a:ext cx="8510400" cy="521883"/>
          </a:xfrm>
        </p:spPr>
        <p:txBody>
          <a:bodyPr/>
          <a:lstStyle/>
          <a:p>
            <a:r>
              <a:rPr lang="cs-CZ" sz="2500" dirty="0" err="1">
                <a:solidFill>
                  <a:srgbClr val="001423"/>
                </a:solidFill>
              </a:rPr>
              <a:t>Liraglutid</a:t>
            </a:r>
            <a:r>
              <a:rPr lang="cs-CZ" sz="2500" dirty="0">
                <a:solidFill>
                  <a:srgbClr val="001423"/>
                </a:solidFill>
              </a:rPr>
              <a:t> – studie LEADER: primární cíl</a:t>
            </a:r>
            <a:br>
              <a:rPr lang="en-GB" sz="2500" dirty="0">
                <a:solidFill>
                  <a:srgbClr val="001423"/>
                </a:solidFill>
              </a:rPr>
            </a:br>
            <a:r>
              <a:rPr lang="cs-CZ" sz="1800" b="0" dirty="0">
                <a:solidFill>
                  <a:srgbClr val="001423"/>
                </a:solidFill>
              </a:rPr>
              <a:t>Smrt z KV příčin, nefatální IM, nefatální CMP</a:t>
            </a:r>
            <a:endParaRPr lang="en-GB" sz="1200" b="0" dirty="0">
              <a:solidFill>
                <a:srgbClr val="001423"/>
              </a:solidFill>
            </a:endParaRPr>
          </a:p>
        </p:txBody>
      </p:sp>
      <p:sp>
        <p:nvSpPr>
          <p:cNvPr id="32" name="TextBox 31"/>
          <p:cNvSpPr txBox="1"/>
          <p:nvPr/>
        </p:nvSpPr>
        <p:spPr>
          <a:xfrm>
            <a:off x="1494405" y="5978667"/>
            <a:ext cx="7472176" cy="607391"/>
          </a:xfrm>
          <a:prstGeom prst="roundRect">
            <a:avLst>
              <a:gd name="adj" fmla="val 7346"/>
            </a:avLst>
          </a:prstGeom>
          <a:noFill/>
          <a:ln>
            <a:noFill/>
          </a:ln>
        </p:spPr>
        <p:txBody>
          <a:bodyPr wrap="square" lIns="91434" tIns="45717" rIns="91434" bIns="45717" rtlCol="0" anchor="b" anchorCtr="0">
            <a:spAutoFit/>
          </a:bodyPr>
          <a:lstStyle/>
          <a:p>
            <a:pPr defTabSz="913937" fontAlgn="auto">
              <a:spcBef>
                <a:spcPts val="0"/>
              </a:spcBef>
              <a:spcAft>
                <a:spcPts val="0"/>
              </a:spcAft>
            </a:pPr>
            <a:r>
              <a:rPr lang="en-GB" sz="800" dirty="0">
                <a:solidFill>
                  <a:srgbClr val="000000"/>
                </a:solidFill>
                <a:latin typeface="Arial"/>
                <a:cs typeface="+mn-cs"/>
              </a:rPr>
              <a:t>The primary composite outcome in the time-to-event analysis was the first occurrence of death from cardiovascular causes, non-fatal</a:t>
            </a:r>
          </a:p>
          <a:p>
            <a:pPr defTabSz="913937" fontAlgn="auto">
              <a:spcBef>
                <a:spcPts val="0"/>
              </a:spcBef>
              <a:spcAft>
                <a:spcPts val="0"/>
              </a:spcAft>
            </a:pPr>
            <a:r>
              <a:rPr lang="en-GB" sz="800" dirty="0">
                <a:solidFill>
                  <a:srgbClr val="000000"/>
                </a:solidFill>
                <a:latin typeface="Arial"/>
                <a:cs typeface="+mn-cs"/>
              </a:rPr>
              <a:t>myocardial infarction, or non-fatal stroke. The cumulative incidences were estimated with the use of the Kaplan–Meier method, and the</a:t>
            </a:r>
          </a:p>
          <a:p>
            <a:pPr defTabSz="913937" fontAlgn="auto">
              <a:spcBef>
                <a:spcPts val="0"/>
              </a:spcBef>
              <a:spcAft>
                <a:spcPts val="0"/>
              </a:spcAft>
            </a:pPr>
            <a:r>
              <a:rPr lang="en-GB" sz="800" dirty="0">
                <a:solidFill>
                  <a:srgbClr val="000000"/>
                </a:solidFill>
                <a:latin typeface="Arial"/>
                <a:cs typeface="+mn-cs"/>
              </a:rPr>
              <a:t>hazard ratios with the use of the Cox proportional-hazard regression model. The data analyses are truncated at 54 months, because less</a:t>
            </a:r>
          </a:p>
          <a:p>
            <a:pPr defTabSz="913937" fontAlgn="auto">
              <a:spcBef>
                <a:spcPts val="0"/>
              </a:spcBef>
              <a:spcAft>
                <a:spcPts val="0"/>
              </a:spcAft>
            </a:pPr>
            <a:r>
              <a:rPr lang="en-GB" sz="800" dirty="0">
                <a:solidFill>
                  <a:srgbClr val="000000"/>
                </a:solidFill>
                <a:latin typeface="Arial"/>
                <a:cs typeface="+mn-cs"/>
              </a:rPr>
              <a:t>than 10% of the patients had an observation time beyond 54 months.</a:t>
            </a:r>
            <a:r>
              <a:rPr lang="en-GB" sz="800" dirty="0">
                <a:solidFill>
                  <a:srgbClr val="000000"/>
                </a:solidFill>
              </a:rPr>
              <a:t> CI: confidence interval; CV: cardiovascular; HR: hazard ratio.</a:t>
            </a:r>
            <a:endParaRPr lang="en-GB" sz="800" dirty="0">
              <a:solidFill>
                <a:srgbClr val="000000"/>
              </a:solidFill>
              <a:latin typeface="Arial"/>
            </a:endParaRPr>
          </a:p>
        </p:txBody>
      </p:sp>
      <p:sp>
        <p:nvSpPr>
          <p:cNvPr id="52" name="TextBox 51"/>
          <p:cNvSpPr txBox="1"/>
          <p:nvPr/>
        </p:nvSpPr>
        <p:spPr>
          <a:xfrm>
            <a:off x="216226" y="6634270"/>
            <a:ext cx="6963082" cy="223730"/>
          </a:xfrm>
          <a:prstGeom prst="roundRect">
            <a:avLst>
              <a:gd name="adj" fmla="val 7346"/>
            </a:avLst>
          </a:prstGeom>
          <a:noFill/>
          <a:ln>
            <a:noFill/>
          </a:ln>
        </p:spPr>
        <p:txBody>
          <a:bodyPr wrap="square" lIns="91394" tIns="45697" rIns="91394" bIns="45697" rtlCol="0" anchor="b" anchorCtr="0">
            <a:spAutoFit/>
          </a:bodyPr>
          <a:lstStyle/>
          <a:p>
            <a:pPr defTabSz="913937" fontAlgn="auto">
              <a:spcBef>
                <a:spcPts val="0"/>
              </a:spcBef>
              <a:spcAft>
                <a:spcPts val="0"/>
              </a:spcAft>
            </a:pPr>
            <a:r>
              <a:rPr lang="en-GB" sz="800" dirty="0">
                <a:solidFill>
                  <a:srgbClr val="000000"/>
                </a:solidFill>
                <a:latin typeface="Arial"/>
              </a:rPr>
              <a:t>Presented at the American Diabetes Association 76</a:t>
            </a:r>
            <a:r>
              <a:rPr lang="en-GB" sz="800" baseline="30000" dirty="0">
                <a:solidFill>
                  <a:srgbClr val="000000"/>
                </a:solidFill>
                <a:latin typeface="Arial"/>
              </a:rPr>
              <a:t>th</a:t>
            </a:r>
            <a:r>
              <a:rPr lang="en-GB" sz="800" dirty="0">
                <a:solidFill>
                  <a:srgbClr val="000000"/>
                </a:solidFill>
                <a:latin typeface="Arial"/>
              </a:rPr>
              <a:t> Scientific Sessions, Session </a:t>
            </a:r>
            <a:r>
              <a:rPr lang="en-GB" sz="800" dirty="0">
                <a:solidFill>
                  <a:srgbClr val="000000"/>
                </a:solidFill>
                <a:latin typeface="Arial"/>
                <a:cs typeface="+mn-cs"/>
              </a:rPr>
              <a:t>3-CT-SY24.</a:t>
            </a:r>
            <a:r>
              <a:rPr lang="en-GB" sz="800" dirty="0">
                <a:solidFill>
                  <a:srgbClr val="000000"/>
                </a:solidFill>
                <a:latin typeface="Arial"/>
              </a:rPr>
              <a:t> June 13 2016, New Orleans, LA, USA. </a:t>
            </a:r>
          </a:p>
        </p:txBody>
      </p:sp>
      <p:pic>
        <p:nvPicPr>
          <p:cNvPr id="124784" name="Picture 88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693" y="1440768"/>
            <a:ext cx="7961313" cy="429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33742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23528" y="404666"/>
            <a:ext cx="8510400" cy="521883"/>
          </a:xfrm>
        </p:spPr>
        <p:txBody>
          <a:bodyPr/>
          <a:lstStyle/>
          <a:p>
            <a:pPr algn="ctr"/>
            <a:r>
              <a:rPr lang="cs-CZ" dirty="0" err="1">
                <a:solidFill>
                  <a:schemeClr val="bg2">
                    <a:lumMod val="10000"/>
                  </a:schemeClr>
                </a:solidFill>
              </a:rPr>
              <a:t>Semaglutid</a:t>
            </a:r>
            <a:r>
              <a:rPr lang="cs-CZ" dirty="0">
                <a:solidFill>
                  <a:schemeClr val="bg2">
                    <a:lumMod val="10000"/>
                  </a:schemeClr>
                </a:solidFill>
              </a:rPr>
              <a:t> – studie </a:t>
            </a:r>
            <a:r>
              <a:rPr lang="en-GB" dirty="0">
                <a:solidFill>
                  <a:schemeClr val="bg2">
                    <a:lumMod val="10000"/>
                  </a:schemeClr>
                </a:solidFill>
              </a:rPr>
              <a:t>SUSTAIN 6: </a:t>
            </a:r>
            <a:r>
              <a:rPr lang="cs-CZ" dirty="0">
                <a:solidFill>
                  <a:schemeClr val="bg2">
                    <a:lumMod val="10000"/>
                  </a:schemeClr>
                </a:solidFill>
              </a:rPr>
              <a:t>primární cíl</a:t>
            </a:r>
            <a:br>
              <a:rPr lang="cs-CZ" sz="1800" dirty="0">
                <a:solidFill>
                  <a:schemeClr val="bg2">
                    <a:lumMod val="10000"/>
                  </a:schemeClr>
                </a:solidFill>
              </a:rPr>
            </a:br>
            <a:r>
              <a:rPr lang="cs-CZ" sz="1800" dirty="0">
                <a:solidFill>
                  <a:schemeClr val="bg2">
                    <a:lumMod val="10000"/>
                  </a:schemeClr>
                </a:solidFill>
              </a:rPr>
              <a:t>(smrt z KV příčin, nefatální IM nebo CMP)</a:t>
            </a:r>
            <a:endParaRPr lang="en-GB" dirty="0">
              <a:solidFill>
                <a:schemeClr val="bg2">
                  <a:lumMod val="10000"/>
                </a:schemeClr>
              </a:solidFill>
            </a:endParaRPr>
          </a:p>
        </p:txBody>
      </p:sp>
      <p:sp>
        <p:nvSpPr>
          <p:cNvPr id="9" name="Text Placeholder 8"/>
          <p:cNvSpPr>
            <a:spLocks noGrp="1"/>
          </p:cNvSpPr>
          <p:nvPr>
            <p:ph type="body" sz="quarter" idx="18"/>
          </p:nvPr>
        </p:nvSpPr>
        <p:spPr/>
        <p:txBody>
          <a:bodyPr>
            <a:normAutofit fontScale="92500"/>
          </a:bodyPr>
          <a:lstStyle/>
          <a:p>
            <a:r>
              <a:rPr lang="en-GB" dirty="0"/>
              <a:t>Kaplan Meier plot for first event adjudication committee-confirmed CV death, non-fatal MI and non-fatal stroke using ‘in-trial’ data from subjects in the full analysis set. </a:t>
            </a:r>
            <a:br>
              <a:rPr lang="en-GB" dirty="0"/>
            </a:br>
            <a:r>
              <a:rPr lang="en-GB" dirty="0"/>
              <a:t>*Not prespecified. CI, confidence interval; CV, cardiovascular; HR, hazard ratio; MI, myocardial infarction. </a:t>
            </a:r>
            <a:br>
              <a:rPr lang="en-GB" dirty="0"/>
            </a:br>
            <a:r>
              <a:rPr lang="da-DK" dirty="0"/>
              <a:t>Marso SP, et al. </a:t>
            </a:r>
            <a:r>
              <a:rPr lang="da-DK" i="1" dirty="0"/>
              <a:t>N Engl J Med </a:t>
            </a:r>
            <a:r>
              <a:rPr lang="da-DK" dirty="0"/>
              <a:t>2016;375:1834–44.</a:t>
            </a:r>
            <a:endParaRPr lang="en-GB" dirty="0"/>
          </a:p>
        </p:txBody>
      </p:sp>
      <p:graphicFrame>
        <p:nvGraphicFramePr>
          <p:cNvPr id="17" name="Table 16"/>
          <p:cNvGraphicFramePr>
            <a:graphicFrameLocks noGrp="1"/>
          </p:cNvGraphicFramePr>
          <p:nvPr>
            <p:extLst>
              <p:ext uri="{D42A27DB-BD31-4B8C-83A1-F6EECF244321}">
                <p14:modId xmlns:p14="http://schemas.microsoft.com/office/powerpoint/2010/main" val="3401718650"/>
              </p:ext>
            </p:extLst>
          </p:nvPr>
        </p:nvGraphicFramePr>
        <p:xfrm>
          <a:off x="-6168" y="5022104"/>
          <a:ext cx="7743605" cy="1247784"/>
        </p:xfrm>
        <a:graphic>
          <a:graphicData uri="http://schemas.openxmlformats.org/drawingml/2006/table">
            <a:tbl>
              <a:tblPr firstRow="1" bandRow="1">
                <a:tableStyleId>{2D5ABB26-0587-4C30-8999-92F81FD0307C}</a:tableStyleId>
              </a:tblPr>
              <a:tblGrid>
                <a:gridCol w="1006628">
                  <a:extLst>
                    <a:ext uri="{9D8B030D-6E8A-4147-A177-3AD203B41FA5}">
                      <a16:colId xmlns:a16="http://schemas.microsoft.com/office/drawing/2014/main" val="20000"/>
                    </a:ext>
                  </a:extLst>
                </a:gridCol>
                <a:gridCol w="617744">
                  <a:extLst>
                    <a:ext uri="{9D8B030D-6E8A-4147-A177-3AD203B41FA5}">
                      <a16:colId xmlns:a16="http://schemas.microsoft.com/office/drawing/2014/main" val="20001"/>
                    </a:ext>
                  </a:extLst>
                </a:gridCol>
                <a:gridCol w="231943">
                  <a:extLst>
                    <a:ext uri="{9D8B030D-6E8A-4147-A177-3AD203B41FA5}">
                      <a16:colId xmlns:a16="http://schemas.microsoft.com/office/drawing/2014/main" val="20008"/>
                    </a:ext>
                  </a:extLst>
                </a:gridCol>
                <a:gridCol w="740570">
                  <a:extLst>
                    <a:ext uri="{9D8B030D-6E8A-4147-A177-3AD203B41FA5}">
                      <a16:colId xmlns:a16="http://schemas.microsoft.com/office/drawing/2014/main" val="20002"/>
                    </a:ext>
                  </a:extLst>
                </a:gridCol>
                <a:gridCol w="211326">
                  <a:extLst>
                    <a:ext uri="{9D8B030D-6E8A-4147-A177-3AD203B41FA5}">
                      <a16:colId xmlns:a16="http://schemas.microsoft.com/office/drawing/2014/main" val="20009"/>
                    </a:ext>
                  </a:extLst>
                </a:gridCol>
                <a:gridCol w="765764">
                  <a:extLst>
                    <a:ext uri="{9D8B030D-6E8A-4147-A177-3AD203B41FA5}">
                      <a16:colId xmlns:a16="http://schemas.microsoft.com/office/drawing/2014/main" val="20003"/>
                    </a:ext>
                  </a:extLst>
                </a:gridCol>
                <a:gridCol w="234609">
                  <a:extLst>
                    <a:ext uri="{9D8B030D-6E8A-4147-A177-3AD203B41FA5}">
                      <a16:colId xmlns:a16="http://schemas.microsoft.com/office/drawing/2014/main" val="20010"/>
                    </a:ext>
                  </a:extLst>
                </a:gridCol>
                <a:gridCol w="673789">
                  <a:extLst>
                    <a:ext uri="{9D8B030D-6E8A-4147-A177-3AD203B41FA5}">
                      <a16:colId xmlns:a16="http://schemas.microsoft.com/office/drawing/2014/main" val="20004"/>
                    </a:ext>
                  </a:extLst>
                </a:gridCol>
                <a:gridCol w="211326">
                  <a:extLst>
                    <a:ext uri="{9D8B030D-6E8A-4147-A177-3AD203B41FA5}">
                      <a16:colId xmlns:a16="http://schemas.microsoft.com/office/drawing/2014/main" val="20011"/>
                    </a:ext>
                  </a:extLst>
                </a:gridCol>
                <a:gridCol w="812423">
                  <a:extLst>
                    <a:ext uri="{9D8B030D-6E8A-4147-A177-3AD203B41FA5}">
                      <a16:colId xmlns:a16="http://schemas.microsoft.com/office/drawing/2014/main" val="20005"/>
                    </a:ext>
                  </a:extLst>
                </a:gridCol>
                <a:gridCol w="211326">
                  <a:extLst>
                    <a:ext uri="{9D8B030D-6E8A-4147-A177-3AD203B41FA5}">
                      <a16:colId xmlns:a16="http://schemas.microsoft.com/office/drawing/2014/main" val="20012"/>
                    </a:ext>
                  </a:extLst>
                </a:gridCol>
                <a:gridCol w="682499">
                  <a:extLst>
                    <a:ext uri="{9D8B030D-6E8A-4147-A177-3AD203B41FA5}">
                      <a16:colId xmlns:a16="http://schemas.microsoft.com/office/drawing/2014/main" val="20006"/>
                    </a:ext>
                  </a:extLst>
                </a:gridCol>
                <a:gridCol w="310925">
                  <a:extLst>
                    <a:ext uri="{9D8B030D-6E8A-4147-A177-3AD203B41FA5}">
                      <a16:colId xmlns:a16="http://schemas.microsoft.com/office/drawing/2014/main" val="20013"/>
                    </a:ext>
                  </a:extLst>
                </a:gridCol>
                <a:gridCol w="542199">
                  <a:extLst>
                    <a:ext uri="{9D8B030D-6E8A-4147-A177-3AD203B41FA5}">
                      <a16:colId xmlns:a16="http://schemas.microsoft.com/office/drawing/2014/main" val="20007"/>
                    </a:ext>
                  </a:extLst>
                </a:gridCol>
                <a:gridCol w="490534">
                  <a:extLst>
                    <a:ext uri="{9D8B030D-6E8A-4147-A177-3AD203B41FA5}">
                      <a16:colId xmlns:a16="http://schemas.microsoft.com/office/drawing/2014/main" val="49416241"/>
                    </a:ext>
                  </a:extLst>
                </a:gridCol>
              </a:tblGrid>
              <a:tr h="321440">
                <a:tc>
                  <a:txBody>
                    <a:bodyPr/>
                    <a:lstStyle/>
                    <a:p>
                      <a:endParaRPr lang="en-GB" sz="1100" dirty="0">
                        <a:solidFill>
                          <a:srgbClr val="001965"/>
                        </a:solidFil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5">
                  <a:txBody>
                    <a:bodyPr/>
                    <a:lstStyle/>
                    <a:p>
                      <a:r>
                        <a:rPr lang="en-GB" sz="1100" b="1" dirty="0">
                          <a:solidFill>
                            <a:srgbClr val="001965"/>
                          </a:solidFill>
                        </a:rPr>
                        <a:t>Number</a:t>
                      </a:r>
                      <a:r>
                        <a:rPr lang="en-GB" sz="1100" b="1" baseline="0" dirty="0">
                          <a:solidFill>
                            <a:srgbClr val="001965"/>
                          </a:solidFill>
                        </a:rPr>
                        <a:t> of subjects at risk</a:t>
                      </a:r>
                      <a:endParaRPr lang="en-GB" sz="1100" b="1" dirty="0">
                        <a:solidFill>
                          <a:srgbClr val="001965"/>
                        </a:solidFil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a:p>
                  </a:txBody>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sz="1100" b="1" dirty="0">
                        <a:solidFill>
                          <a:srgbClr val="001965"/>
                        </a:solidFil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69144">
                <a:tc>
                  <a:txBody>
                    <a:bodyPr/>
                    <a:lstStyle/>
                    <a:p>
                      <a:pPr algn="r"/>
                      <a:r>
                        <a:rPr lang="en-GB" sz="1100" b="1" dirty="0"/>
                        <a:t>Semaglutide</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1648</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1619</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1601</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1584</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1568</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1543</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1524</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1513</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57200">
                <a:tc>
                  <a:txBody>
                    <a:bodyPr/>
                    <a:lstStyle/>
                    <a:p>
                      <a:pPr algn="r"/>
                      <a:r>
                        <a:rPr lang="en-GB" sz="1100" b="1" dirty="0">
                          <a:solidFill>
                            <a:srgbClr val="82786F"/>
                          </a:solidFill>
                        </a:rPr>
                        <a:t>Placebo</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solidFill>
                            <a:srgbClr val="82786F"/>
                          </a:solidFill>
                        </a:rPr>
                        <a:t>1649</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solidFill>
                          <a:srgbClr val="82786F"/>
                        </a:solidFil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solidFill>
                            <a:srgbClr val="82786F"/>
                          </a:solidFill>
                        </a:rPr>
                        <a:t>1616</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solidFill>
                          <a:srgbClr val="82786F"/>
                        </a:solidFil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solidFill>
                            <a:srgbClr val="82786F"/>
                          </a:solidFill>
                        </a:rPr>
                        <a:t>1586</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solidFill>
                          <a:srgbClr val="82786F"/>
                        </a:solidFil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solidFill>
                            <a:srgbClr val="82786F"/>
                          </a:solidFill>
                        </a:rPr>
                        <a:t>1567</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solidFill>
                          <a:srgbClr val="82786F"/>
                        </a:solidFil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solidFill>
                            <a:srgbClr val="82786F"/>
                          </a:solidFill>
                        </a:rPr>
                        <a:t>1534</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solidFill>
                          <a:srgbClr val="82786F"/>
                        </a:solidFil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solidFill>
                            <a:srgbClr val="82786F"/>
                          </a:solidFill>
                        </a:rPr>
                        <a:t>1508</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100" b="1" dirty="0">
                        <a:solidFill>
                          <a:srgbClr val="82786F"/>
                        </a:solidFil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solidFill>
                            <a:srgbClr val="82786F"/>
                          </a:solidFill>
                        </a:rPr>
                        <a:t>1479</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solidFill>
                            <a:srgbClr val="82786F"/>
                          </a:solidFill>
                        </a:rPr>
                        <a:t>1466</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
        <p:nvSpPr>
          <p:cNvPr id="18" name="TextBox 17"/>
          <p:cNvSpPr txBox="1"/>
          <p:nvPr/>
        </p:nvSpPr>
        <p:spPr>
          <a:xfrm>
            <a:off x="1467283" y="1676953"/>
            <a:ext cx="3892268" cy="1009922"/>
          </a:xfrm>
          <a:prstGeom prst="roundRect">
            <a:avLst/>
          </a:prstGeom>
          <a:noFill/>
          <a:ln w="12700">
            <a:noFill/>
          </a:ln>
        </p:spPr>
        <p:txBody>
          <a:bodyPr wrap="square" lIns="96000" rIns="48000" rtlCol="0">
            <a:spAutoFit/>
          </a:bodyPr>
          <a:lstStyle/>
          <a:p>
            <a:pPr defTabSz="1219170" fontAlgn="auto">
              <a:spcBef>
                <a:spcPts val="0"/>
              </a:spcBef>
              <a:spcAft>
                <a:spcPts val="0"/>
              </a:spcAft>
            </a:pPr>
            <a:r>
              <a:rPr lang="en-GB" sz="1333" dirty="0">
                <a:solidFill>
                  <a:srgbClr val="001965"/>
                </a:solidFill>
                <a:latin typeface="Verdana"/>
                <a:cs typeface="Lucida Sans Unicode" pitchFamily="34" charset="0"/>
              </a:rPr>
              <a:t>HR: 0.74 [95% CI: 0.58;0.95]</a:t>
            </a:r>
          </a:p>
          <a:p>
            <a:pPr defTabSz="1219170" fontAlgn="auto">
              <a:spcBef>
                <a:spcPts val="0"/>
              </a:spcBef>
              <a:spcAft>
                <a:spcPts val="0"/>
              </a:spcAft>
            </a:pPr>
            <a:r>
              <a:rPr lang="en-GB" sz="1333" b="0" dirty="0">
                <a:solidFill>
                  <a:srgbClr val="001965"/>
                </a:solidFill>
                <a:latin typeface="Verdana"/>
                <a:cs typeface="Lucida Sans Unicode" pitchFamily="34" charset="0"/>
              </a:rPr>
              <a:t>Events: 108 </a:t>
            </a:r>
            <a:r>
              <a:rPr lang="en-GB" sz="1333" b="0" dirty="0" err="1">
                <a:solidFill>
                  <a:srgbClr val="001965"/>
                </a:solidFill>
                <a:latin typeface="Verdana"/>
                <a:cs typeface="Lucida Sans Unicode" pitchFamily="34" charset="0"/>
              </a:rPr>
              <a:t>semaglutide</a:t>
            </a:r>
            <a:r>
              <a:rPr lang="en-GB" sz="1333" b="0" dirty="0">
                <a:solidFill>
                  <a:srgbClr val="001965"/>
                </a:solidFill>
                <a:latin typeface="Verdana"/>
                <a:cs typeface="Lucida Sans Unicode" pitchFamily="34" charset="0"/>
              </a:rPr>
              <a:t>; 146 placebo</a:t>
            </a:r>
          </a:p>
          <a:p>
            <a:pPr defTabSz="1219170" fontAlgn="auto">
              <a:spcBef>
                <a:spcPts val="0"/>
              </a:spcBef>
              <a:spcAft>
                <a:spcPts val="0"/>
              </a:spcAft>
            </a:pPr>
            <a:r>
              <a:rPr lang="en-GB" sz="1333" b="0" dirty="0">
                <a:solidFill>
                  <a:srgbClr val="001965"/>
                </a:solidFill>
                <a:latin typeface="Verdana"/>
                <a:cs typeface="Lucida Sans Unicode" pitchFamily="34" charset="0"/>
              </a:rPr>
              <a:t>p&lt;0.001 for non-inferiority</a:t>
            </a:r>
          </a:p>
          <a:p>
            <a:pPr defTabSz="1219170" fontAlgn="auto">
              <a:spcBef>
                <a:spcPts val="0"/>
              </a:spcBef>
              <a:spcAft>
                <a:spcPts val="0"/>
              </a:spcAft>
            </a:pPr>
            <a:r>
              <a:rPr lang="en-GB" sz="1333" b="0" dirty="0">
                <a:solidFill>
                  <a:srgbClr val="001965"/>
                </a:solidFill>
                <a:latin typeface="Verdana"/>
                <a:cs typeface="Lucida Sans Unicode" pitchFamily="34" charset="0"/>
              </a:rPr>
              <a:t>p=0.02 for superiority*</a:t>
            </a:r>
          </a:p>
        </p:txBody>
      </p:sp>
      <p:sp>
        <p:nvSpPr>
          <p:cNvPr id="19" name="TextBox 18"/>
          <p:cNvSpPr txBox="1"/>
          <p:nvPr/>
        </p:nvSpPr>
        <p:spPr>
          <a:xfrm>
            <a:off x="7713003" y="3073048"/>
            <a:ext cx="1526260" cy="502573"/>
          </a:xfrm>
          <a:prstGeom prst="rect">
            <a:avLst/>
          </a:prstGeom>
          <a:noFill/>
        </p:spPr>
        <p:txBody>
          <a:bodyPr wrap="square" rtlCol="0">
            <a:spAutoFit/>
          </a:bodyPr>
          <a:lstStyle/>
          <a:p>
            <a:pPr defTabSz="1219170" fontAlgn="auto">
              <a:spcBef>
                <a:spcPts val="0"/>
              </a:spcBef>
              <a:spcAft>
                <a:spcPts val="0"/>
              </a:spcAft>
            </a:pPr>
            <a:r>
              <a:rPr lang="en-GB" sz="1333" b="0" dirty="0">
                <a:solidFill>
                  <a:srgbClr val="001965"/>
                </a:solidFill>
                <a:latin typeface="Verdana"/>
                <a:cs typeface="Lucida Sans Unicode" pitchFamily="34" charset="0"/>
              </a:rPr>
              <a:t>Semaglutide, 6.6%</a:t>
            </a:r>
          </a:p>
        </p:txBody>
      </p:sp>
      <p:sp>
        <p:nvSpPr>
          <p:cNvPr id="20" name="TextBox 19"/>
          <p:cNvSpPr txBox="1"/>
          <p:nvPr/>
        </p:nvSpPr>
        <p:spPr>
          <a:xfrm>
            <a:off x="7713001" y="2653040"/>
            <a:ext cx="1288352" cy="502573"/>
          </a:xfrm>
          <a:prstGeom prst="rect">
            <a:avLst/>
          </a:prstGeom>
          <a:noFill/>
        </p:spPr>
        <p:txBody>
          <a:bodyPr wrap="square" rtlCol="0">
            <a:spAutoFit/>
          </a:bodyPr>
          <a:lstStyle/>
          <a:p>
            <a:pPr defTabSz="1219170" fontAlgn="auto">
              <a:spcBef>
                <a:spcPts val="0"/>
              </a:spcBef>
              <a:spcAft>
                <a:spcPts val="0"/>
              </a:spcAft>
            </a:pPr>
            <a:r>
              <a:rPr lang="en-GB" sz="1333" b="0" dirty="0">
                <a:solidFill>
                  <a:srgbClr val="82786F"/>
                </a:solidFill>
                <a:latin typeface="Verdana"/>
                <a:cs typeface="Lucida Sans Unicode" pitchFamily="34" charset="0"/>
              </a:rPr>
              <a:t>Placebo, 8.9%</a:t>
            </a:r>
          </a:p>
        </p:txBody>
      </p:sp>
      <p:cxnSp>
        <p:nvCxnSpPr>
          <p:cNvPr id="21" name="Straight Connector 20"/>
          <p:cNvCxnSpPr/>
          <p:nvPr/>
        </p:nvCxnSpPr>
        <p:spPr>
          <a:xfrm>
            <a:off x="7762035" y="4431808"/>
            <a:ext cx="0" cy="54864"/>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608463" y="4499982"/>
            <a:ext cx="452424" cy="461665"/>
          </a:xfrm>
          <a:prstGeom prst="rect">
            <a:avLst/>
          </a:prstGeom>
          <a:noFill/>
        </p:spPr>
        <p:txBody>
          <a:bodyPr wrap="square" rtlCol="0">
            <a:spAutoFit/>
          </a:bodyPr>
          <a:lstStyle/>
          <a:p>
            <a:pPr defTabSz="1219170" fontAlgn="auto">
              <a:spcBef>
                <a:spcPts val="0"/>
              </a:spcBef>
              <a:spcAft>
                <a:spcPts val="0"/>
              </a:spcAft>
            </a:pPr>
            <a:r>
              <a:rPr lang="en-GB" sz="1200" b="0" dirty="0">
                <a:solidFill>
                  <a:srgbClr val="001965"/>
                </a:solidFill>
                <a:latin typeface="Verdana"/>
                <a:cs typeface="Lucida Sans Unicode" pitchFamily="34" charset="0"/>
              </a:rPr>
              <a:t>109</a:t>
            </a:r>
          </a:p>
        </p:txBody>
      </p:sp>
      <p:sp>
        <p:nvSpPr>
          <p:cNvPr id="2" name="Rectangle 1"/>
          <p:cNvSpPr/>
          <p:nvPr/>
        </p:nvSpPr>
        <p:spPr>
          <a:xfrm rot="16200000">
            <a:off x="-449582" y="2945187"/>
            <a:ext cx="2549224" cy="297454"/>
          </a:xfrm>
          <a:prstGeom prst="rect">
            <a:avLst/>
          </a:prstGeom>
        </p:spPr>
        <p:txBody>
          <a:bodyPr wrap="none">
            <a:spAutoFit/>
          </a:bodyPr>
          <a:lstStyle/>
          <a:p>
            <a:pPr algn="ctr" defTabSz="1219170" fontAlgn="auto">
              <a:spcBef>
                <a:spcPts val="0"/>
              </a:spcBef>
              <a:spcAft>
                <a:spcPts val="0"/>
              </a:spcAft>
              <a:defRPr lang="en-GB" sz="1000" b="0" i="0" u="none" strike="noStrike" kern="1200" baseline="0">
                <a:solidFill>
                  <a:srgbClr val="001965">
                    <a:lumMod val="65000"/>
                    <a:lumOff val="35000"/>
                  </a:srgbClr>
                </a:solidFill>
                <a:latin typeface="+mn-lt"/>
                <a:ea typeface="+mn-ea"/>
                <a:cs typeface="+mn-cs"/>
              </a:defRPr>
            </a:pPr>
            <a:r>
              <a:rPr lang="en-GB" sz="1333" b="0" dirty="0">
                <a:solidFill>
                  <a:srgbClr val="001965"/>
                </a:solidFill>
                <a:latin typeface="Verdana"/>
                <a:ea typeface="+mn-ea"/>
                <a:cs typeface="+mn-cs"/>
              </a:rPr>
              <a:t>Subjects with an event (%)</a:t>
            </a:r>
          </a:p>
        </p:txBody>
      </p:sp>
      <p:graphicFrame>
        <p:nvGraphicFramePr>
          <p:cNvPr id="13" name="Content Placeholder 6"/>
          <p:cNvGraphicFramePr>
            <a:graphicFrameLocks/>
          </p:cNvGraphicFramePr>
          <p:nvPr>
            <p:extLst>
              <p:ext uri="{D42A27DB-BD31-4B8C-83A1-F6EECF244321}">
                <p14:modId xmlns:p14="http://schemas.microsoft.com/office/powerpoint/2010/main" val="2523999903"/>
              </p:ext>
            </p:extLst>
          </p:nvPr>
        </p:nvGraphicFramePr>
        <p:xfrm>
          <a:off x="948142" y="1449599"/>
          <a:ext cx="7018700" cy="4924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598810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7502" y="404666"/>
            <a:ext cx="8509000" cy="520700"/>
          </a:xfrm>
        </p:spPr>
        <p:txBody>
          <a:bodyPr/>
          <a:lstStyle/>
          <a:p>
            <a:pPr algn="ctr"/>
            <a:r>
              <a:rPr lang="en-GB" sz="2800" dirty="0">
                <a:solidFill>
                  <a:schemeClr val="bg2">
                    <a:lumMod val="10000"/>
                  </a:schemeClr>
                </a:solidFill>
              </a:rPr>
              <a:t>SUSTAIN 6: </a:t>
            </a:r>
            <a:r>
              <a:rPr lang="cs-CZ" sz="2800" dirty="0">
                <a:solidFill>
                  <a:schemeClr val="bg2">
                    <a:lumMod val="10000"/>
                  </a:schemeClr>
                </a:solidFill>
              </a:rPr>
              <a:t>vznik nové nebo  zhoršení již přítomné nefropatie</a:t>
            </a:r>
            <a:endParaRPr lang="en-GB" sz="2800" dirty="0">
              <a:solidFill>
                <a:schemeClr val="bg2">
                  <a:lumMod val="10000"/>
                </a:schemeClr>
              </a:solidFill>
            </a:endParaRPr>
          </a:p>
        </p:txBody>
      </p:sp>
      <p:sp>
        <p:nvSpPr>
          <p:cNvPr id="8" name="Text Placeholder 7"/>
          <p:cNvSpPr>
            <a:spLocks noGrp="1"/>
          </p:cNvSpPr>
          <p:nvPr>
            <p:ph type="body" sz="quarter" idx="18"/>
          </p:nvPr>
        </p:nvSpPr>
        <p:spPr>
          <a:xfrm>
            <a:off x="107504" y="6453349"/>
            <a:ext cx="9289032" cy="391583"/>
          </a:xfrm>
        </p:spPr>
        <p:txBody>
          <a:bodyPr>
            <a:normAutofit fontScale="77500" lnSpcReduction="20000"/>
          </a:bodyPr>
          <a:lstStyle/>
          <a:p>
            <a:r>
              <a:rPr lang="en-GB" dirty="0"/>
              <a:t>*Protocol-defined assessments. </a:t>
            </a:r>
            <a:r>
              <a:rPr lang="en-US" dirty="0"/>
              <a:t>Additional assessments/eye examinations, which could also identify diabetic retinopathy events, could be performed by other healthcare professionals. </a:t>
            </a:r>
            <a:r>
              <a:rPr lang="en-GB" dirty="0" err="1"/>
              <a:t>Kaplan</a:t>
            </a:r>
            <a:r>
              <a:rPr lang="en-GB" dirty="0" err="1">
                <a:sym typeface="Symbol" panose="05050102010706020507" pitchFamily="18" charset="2"/>
              </a:rPr>
              <a:t></a:t>
            </a:r>
            <a:r>
              <a:rPr lang="en-GB" dirty="0" err="1"/>
              <a:t>Meier</a:t>
            </a:r>
            <a:r>
              <a:rPr lang="en-GB" dirty="0"/>
              <a:t> plot for time from randomisation to first EAC-confirmed diabetic retinopathy complication using ‘in-trial’ data from subjects in the full analysis set. </a:t>
            </a:r>
            <a:r>
              <a:rPr lang="en-US" dirty="0"/>
              <a:t>Fundoscopy or fundus photography was performed at baseline, unless undertaken within 90 days prior to </a:t>
            </a:r>
            <a:r>
              <a:rPr lang="en-US" dirty="0" err="1"/>
              <a:t>randomisation</a:t>
            </a:r>
            <a:r>
              <a:rPr lang="en-US" dirty="0"/>
              <a:t>, by the investigator or a local ophthalmologist or optometrist according to local practice. </a:t>
            </a:r>
            <a:r>
              <a:rPr lang="en-GB" dirty="0" err="1"/>
              <a:t>Kaplan</a:t>
            </a:r>
            <a:r>
              <a:rPr lang="en-GB" dirty="0" err="1">
                <a:sym typeface="Symbol" panose="05050102010706020507" pitchFamily="18" charset="2"/>
              </a:rPr>
              <a:t></a:t>
            </a:r>
            <a:r>
              <a:rPr lang="en-GB" dirty="0" err="1"/>
              <a:t>Meier</a:t>
            </a:r>
            <a:r>
              <a:rPr lang="en-GB" dirty="0"/>
              <a:t> plot for time from randomisation to first (external) event adjudication committee-confirmed diabetic retinopathy complication using ‘in-trial’ data from subjects in the full analysis set. HR is from a proportional hazard model. CI, confidence interval; HR, hazard ratio.</a:t>
            </a:r>
          </a:p>
          <a:p>
            <a:r>
              <a:rPr lang="en-GB" dirty="0"/>
              <a:t>Marso SP. et al. </a:t>
            </a:r>
            <a:r>
              <a:rPr lang="en-GB" i="1" dirty="0"/>
              <a:t>N </a:t>
            </a:r>
            <a:r>
              <a:rPr lang="en-GB" i="1" dirty="0" err="1"/>
              <a:t>Engl</a:t>
            </a:r>
            <a:r>
              <a:rPr lang="en-GB" i="1" dirty="0"/>
              <a:t> J Med </a:t>
            </a:r>
            <a:r>
              <a:rPr lang="en-GB" dirty="0"/>
              <a:t>2016; 375:1834–1844.</a:t>
            </a:r>
          </a:p>
        </p:txBody>
      </p:sp>
      <p:sp>
        <p:nvSpPr>
          <p:cNvPr id="21" name="TextBox 20"/>
          <p:cNvSpPr txBox="1"/>
          <p:nvPr/>
        </p:nvSpPr>
        <p:spPr>
          <a:xfrm>
            <a:off x="7606893" y="2650956"/>
            <a:ext cx="1537108" cy="533345"/>
          </a:xfrm>
          <a:prstGeom prst="rect">
            <a:avLst/>
          </a:prstGeom>
          <a:noFill/>
        </p:spPr>
        <p:txBody>
          <a:bodyPr wrap="square" lIns="121915" tIns="60957" rIns="121915" bIns="60957" rtlCol="0">
            <a:spAutoFit/>
          </a:bodyPr>
          <a:lstStyle/>
          <a:p>
            <a:pPr defTabSz="1219110" fontAlgn="auto">
              <a:spcBef>
                <a:spcPts val="0"/>
              </a:spcBef>
              <a:spcAft>
                <a:spcPts val="0"/>
              </a:spcAft>
            </a:pPr>
            <a:r>
              <a:rPr lang="en-GB" sz="1333" b="0" dirty="0">
                <a:solidFill>
                  <a:srgbClr val="001965"/>
                </a:solidFill>
                <a:latin typeface="Verdana"/>
                <a:cs typeface="Lucida Sans Unicode" pitchFamily="34" charset="0"/>
              </a:rPr>
              <a:t>Semaglutide, 3.8%</a:t>
            </a:r>
          </a:p>
        </p:txBody>
      </p:sp>
      <p:sp>
        <p:nvSpPr>
          <p:cNvPr id="22" name="TextBox 21"/>
          <p:cNvSpPr txBox="1"/>
          <p:nvPr/>
        </p:nvSpPr>
        <p:spPr>
          <a:xfrm>
            <a:off x="7005141" y="1987401"/>
            <a:ext cx="1157432" cy="533345"/>
          </a:xfrm>
          <a:prstGeom prst="rect">
            <a:avLst/>
          </a:prstGeom>
          <a:noFill/>
        </p:spPr>
        <p:txBody>
          <a:bodyPr wrap="square" lIns="121915" tIns="60957" rIns="121915" bIns="60957" rtlCol="0">
            <a:spAutoFit/>
          </a:bodyPr>
          <a:lstStyle/>
          <a:p>
            <a:pPr defTabSz="1219110" fontAlgn="auto">
              <a:spcBef>
                <a:spcPts val="0"/>
              </a:spcBef>
              <a:spcAft>
                <a:spcPts val="0"/>
              </a:spcAft>
            </a:pPr>
            <a:r>
              <a:rPr lang="en-GB" sz="1333" b="0" dirty="0">
                <a:solidFill>
                  <a:srgbClr val="E0DED8">
                    <a:lumMod val="50000"/>
                  </a:srgbClr>
                </a:solidFill>
                <a:latin typeface="Verdana"/>
                <a:cs typeface="Lucida Sans Unicode" pitchFamily="34" charset="0"/>
              </a:rPr>
              <a:t>Placebo, 6.1%</a:t>
            </a:r>
          </a:p>
        </p:txBody>
      </p:sp>
      <p:sp>
        <p:nvSpPr>
          <p:cNvPr id="29" name="TextBox 28">
            <a:extLst>
              <a:ext uri="{FF2B5EF4-FFF2-40B4-BE49-F238E27FC236}">
                <a16:creationId xmlns:a16="http://schemas.microsoft.com/office/drawing/2014/main" id="{AB1C4261-526C-43E2-8CAE-71C808EDF174}"/>
              </a:ext>
            </a:extLst>
          </p:cNvPr>
          <p:cNvSpPr txBox="1"/>
          <p:nvPr/>
        </p:nvSpPr>
        <p:spPr>
          <a:xfrm>
            <a:off x="1468800" y="1675200"/>
            <a:ext cx="3733800" cy="707694"/>
          </a:xfrm>
          <a:prstGeom prst="rect">
            <a:avLst/>
          </a:prstGeom>
          <a:noFill/>
        </p:spPr>
        <p:txBody>
          <a:bodyPr wrap="square" rtlCol="0">
            <a:spAutoFit/>
          </a:bodyPr>
          <a:lstStyle/>
          <a:p>
            <a:pPr defTabSz="1219110" fontAlgn="auto">
              <a:spcBef>
                <a:spcPts val="0"/>
              </a:spcBef>
              <a:spcAft>
                <a:spcPts val="0"/>
              </a:spcAft>
            </a:pPr>
            <a:r>
              <a:rPr lang="en-GB" sz="1333" dirty="0">
                <a:solidFill>
                  <a:srgbClr val="001965"/>
                </a:solidFill>
                <a:latin typeface="Verdana"/>
                <a:cs typeface="Lucida Sans Unicode" pitchFamily="34" charset="0"/>
              </a:rPr>
              <a:t>HR, 0.64 (95% CI, 0.46;0.88)</a:t>
            </a:r>
          </a:p>
          <a:p>
            <a:pPr defTabSz="1219110" fontAlgn="auto">
              <a:spcBef>
                <a:spcPts val="0"/>
              </a:spcBef>
              <a:spcAft>
                <a:spcPts val="0"/>
              </a:spcAft>
            </a:pPr>
            <a:r>
              <a:rPr lang="en-GB" sz="1333" b="0" dirty="0">
                <a:solidFill>
                  <a:srgbClr val="001965"/>
                </a:solidFill>
                <a:latin typeface="Verdana"/>
                <a:cs typeface="Lucida Sans Unicode" pitchFamily="34" charset="0"/>
              </a:rPr>
              <a:t>Events: 62 semaglutide; 100 placebo</a:t>
            </a:r>
          </a:p>
          <a:p>
            <a:pPr defTabSz="1219110" fontAlgn="auto">
              <a:spcBef>
                <a:spcPts val="0"/>
              </a:spcBef>
              <a:spcAft>
                <a:spcPts val="0"/>
              </a:spcAft>
            </a:pPr>
            <a:r>
              <a:rPr lang="en-GB" sz="1333" b="0" dirty="0">
                <a:solidFill>
                  <a:srgbClr val="001965"/>
                </a:solidFill>
                <a:latin typeface="Verdana"/>
                <a:cs typeface="Lucida Sans Unicode" pitchFamily="34" charset="0"/>
              </a:rPr>
              <a:t>p=0.005</a:t>
            </a:r>
          </a:p>
        </p:txBody>
      </p:sp>
      <p:sp>
        <p:nvSpPr>
          <p:cNvPr id="33" name="TextBox 32">
            <a:extLst>
              <a:ext uri="{FF2B5EF4-FFF2-40B4-BE49-F238E27FC236}">
                <a16:creationId xmlns:a16="http://schemas.microsoft.com/office/drawing/2014/main" id="{8BD85282-52E6-40E8-8981-E92809B4EF45}"/>
              </a:ext>
            </a:extLst>
          </p:cNvPr>
          <p:cNvSpPr txBox="1"/>
          <p:nvPr/>
        </p:nvSpPr>
        <p:spPr>
          <a:xfrm>
            <a:off x="7563933" y="4500605"/>
            <a:ext cx="563880" cy="284693"/>
          </a:xfrm>
          <a:prstGeom prst="rect">
            <a:avLst/>
          </a:prstGeom>
          <a:noFill/>
        </p:spPr>
        <p:txBody>
          <a:bodyPr wrap="square" rtlCol="0">
            <a:spAutoFit/>
          </a:bodyPr>
          <a:lstStyle/>
          <a:p>
            <a:pPr defTabSz="1219170" fontAlgn="auto">
              <a:spcBef>
                <a:spcPts val="0"/>
              </a:spcBef>
              <a:spcAft>
                <a:spcPts val="0"/>
              </a:spcAft>
              <a:defRPr/>
            </a:pPr>
            <a:r>
              <a:rPr lang="en-GB" sz="1250" b="0" dirty="0">
                <a:solidFill>
                  <a:srgbClr val="001965"/>
                </a:solidFill>
                <a:latin typeface="Verdana (body)"/>
                <a:cs typeface="Lucida Sans Unicode" pitchFamily="34" charset="0"/>
              </a:rPr>
              <a:t>109</a:t>
            </a:r>
          </a:p>
        </p:txBody>
      </p:sp>
      <p:cxnSp>
        <p:nvCxnSpPr>
          <p:cNvPr id="34" name="Straight Connector 33">
            <a:extLst>
              <a:ext uri="{FF2B5EF4-FFF2-40B4-BE49-F238E27FC236}">
                <a16:creationId xmlns:a16="http://schemas.microsoft.com/office/drawing/2014/main" id="{DD9A439B-5E7D-4FCD-8AA7-41E950742DB4}"/>
              </a:ext>
            </a:extLst>
          </p:cNvPr>
          <p:cNvCxnSpPr/>
          <p:nvPr/>
        </p:nvCxnSpPr>
        <p:spPr>
          <a:xfrm>
            <a:off x="7738571" y="4446655"/>
            <a:ext cx="0" cy="52436"/>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aphicFrame>
        <p:nvGraphicFramePr>
          <p:cNvPr id="36" name="Table 35">
            <a:extLst>
              <a:ext uri="{FF2B5EF4-FFF2-40B4-BE49-F238E27FC236}">
                <a16:creationId xmlns:a16="http://schemas.microsoft.com/office/drawing/2014/main" id="{0D1E0E74-D755-4650-8478-ABEF1EB927AD}"/>
              </a:ext>
            </a:extLst>
          </p:cNvPr>
          <p:cNvGraphicFramePr>
            <a:graphicFrameLocks noGrp="1"/>
          </p:cNvGraphicFramePr>
          <p:nvPr>
            <p:extLst>
              <p:ext uri="{D42A27DB-BD31-4B8C-83A1-F6EECF244321}">
                <p14:modId xmlns:p14="http://schemas.microsoft.com/office/powerpoint/2010/main" val="1378216948"/>
              </p:ext>
            </p:extLst>
          </p:nvPr>
        </p:nvGraphicFramePr>
        <p:xfrm>
          <a:off x="-606391" y="4974545"/>
          <a:ext cx="8429593" cy="1156021"/>
        </p:xfrm>
        <a:graphic>
          <a:graphicData uri="http://schemas.openxmlformats.org/drawingml/2006/table">
            <a:tbl>
              <a:tblPr firstRow="1" bandRow="1">
                <a:tableStyleId>{2D5ABB26-0587-4C30-8999-92F81FD0307C}</a:tableStyleId>
              </a:tblPr>
              <a:tblGrid>
                <a:gridCol w="1600788">
                  <a:extLst>
                    <a:ext uri="{9D8B030D-6E8A-4147-A177-3AD203B41FA5}">
                      <a16:colId xmlns:a16="http://schemas.microsoft.com/office/drawing/2014/main" val="20000"/>
                    </a:ext>
                  </a:extLst>
                </a:gridCol>
                <a:gridCol w="802654">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755556">
                  <a:extLst>
                    <a:ext uri="{9D8B030D-6E8A-4147-A177-3AD203B41FA5}">
                      <a16:colId xmlns:a16="http://schemas.microsoft.com/office/drawing/2014/main" val="20003"/>
                    </a:ext>
                  </a:extLst>
                </a:gridCol>
                <a:gridCol w="1125314">
                  <a:extLst>
                    <a:ext uri="{9D8B030D-6E8A-4147-A177-3AD203B41FA5}">
                      <a16:colId xmlns:a16="http://schemas.microsoft.com/office/drawing/2014/main" val="20004"/>
                    </a:ext>
                  </a:extLst>
                </a:gridCol>
                <a:gridCol w="805344">
                  <a:extLst>
                    <a:ext uri="{9D8B030D-6E8A-4147-A177-3AD203B41FA5}">
                      <a16:colId xmlns:a16="http://schemas.microsoft.com/office/drawing/2014/main" val="20005"/>
                    </a:ext>
                  </a:extLst>
                </a:gridCol>
                <a:gridCol w="1126961">
                  <a:extLst>
                    <a:ext uri="{9D8B030D-6E8A-4147-A177-3AD203B41FA5}">
                      <a16:colId xmlns:a16="http://schemas.microsoft.com/office/drawing/2014/main" val="20006"/>
                    </a:ext>
                  </a:extLst>
                </a:gridCol>
                <a:gridCol w="714375">
                  <a:extLst>
                    <a:ext uri="{9D8B030D-6E8A-4147-A177-3AD203B41FA5}">
                      <a16:colId xmlns:a16="http://schemas.microsoft.com/office/drawing/2014/main" val="20007"/>
                    </a:ext>
                  </a:extLst>
                </a:gridCol>
                <a:gridCol w="482601">
                  <a:extLst>
                    <a:ext uri="{9D8B030D-6E8A-4147-A177-3AD203B41FA5}">
                      <a16:colId xmlns:a16="http://schemas.microsoft.com/office/drawing/2014/main" val="20008"/>
                    </a:ext>
                  </a:extLst>
                </a:gridCol>
              </a:tblGrid>
              <a:tr h="389901">
                <a:tc>
                  <a:txBody>
                    <a:bodyPr/>
                    <a:lstStyle/>
                    <a:p>
                      <a:endParaRPr lang="en-GB" sz="1100" dirty="0">
                        <a:solidFill>
                          <a:srgbClr val="001965"/>
                        </a:solidFill>
                        <a:latin typeface="+mj-lt"/>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rgbClr val="001965"/>
                          </a:solidFill>
                          <a:latin typeface="+mj-lt"/>
                        </a:rPr>
                        <a:t>Number</a:t>
                      </a:r>
                      <a:r>
                        <a:rPr lang="en-GB" sz="1100" b="1" baseline="0" dirty="0">
                          <a:solidFill>
                            <a:srgbClr val="001965"/>
                          </a:solidFill>
                          <a:latin typeface="+mj-lt"/>
                        </a:rPr>
                        <a:t> of subjects at risk</a:t>
                      </a:r>
                      <a:endParaRPr lang="en-GB" sz="1100" b="1" dirty="0">
                        <a:solidFill>
                          <a:srgbClr val="001965"/>
                        </a:solidFill>
                        <a:latin typeface="+mj-lt"/>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sz="7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7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7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7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7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83060">
                <a:tc>
                  <a:txBody>
                    <a:bodyPr/>
                    <a:lstStyle/>
                    <a:p>
                      <a:pPr algn="r"/>
                      <a:r>
                        <a:rPr lang="en-GB" sz="1100" b="1" dirty="0">
                          <a:latin typeface="+mj-lt"/>
                        </a:rPr>
                        <a:t>Semaglutide</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001965"/>
                          </a:solidFill>
                          <a:latin typeface="+mj-lt"/>
                        </a:rPr>
                        <a:t>16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001965"/>
                          </a:solidFill>
                          <a:latin typeface="+mj-lt"/>
                        </a:rPr>
                        <a:t>16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001965"/>
                          </a:solidFill>
                          <a:latin typeface="+mj-lt"/>
                        </a:rPr>
                        <a:t>16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001965"/>
                          </a:solidFill>
                          <a:latin typeface="+mj-lt"/>
                        </a:rPr>
                        <a:t>15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001965"/>
                          </a:solidFill>
                          <a:latin typeface="+mj-lt"/>
                        </a:rPr>
                        <a:t>15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001965"/>
                          </a:solidFill>
                          <a:latin typeface="+mj-lt"/>
                        </a:rPr>
                        <a:t>15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001965"/>
                          </a:solidFill>
                          <a:latin typeface="+mj-lt"/>
                        </a:rPr>
                        <a:t>15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GB" sz="1100" b="1" dirty="0">
                          <a:latin typeface="+mj-lt"/>
                        </a:rPr>
                        <a:t>15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83060">
                <a:tc>
                  <a:txBody>
                    <a:bodyPr/>
                    <a:lstStyle/>
                    <a:p>
                      <a:pPr algn="r"/>
                      <a:r>
                        <a:rPr lang="en-GB" sz="1100" b="1" dirty="0">
                          <a:solidFill>
                            <a:srgbClr val="82786F"/>
                          </a:solidFill>
                          <a:latin typeface="+mj-lt"/>
                        </a:rPr>
                        <a:t>Placebo</a:t>
                      </a: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82786F"/>
                          </a:solidFill>
                          <a:latin typeface="+mj-lt"/>
                        </a:rPr>
                        <a:t>16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82786F"/>
                          </a:solidFill>
                          <a:latin typeface="+mj-lt"/>
                        </a:rPr>
                        <a:t>16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82786F"/>
                          </a:solidFill>
                          <a:latin typeface="+mj-lt"/>
                        </a:rPr>
                        <a:t>15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82786F"/>
                          </a:solidFill>
                          <a:latin typeface="+mj-lt"/>
                        </a:rPr>
                        <a:t>15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82786F"/>
                          </a:solidFill>
                          <a:latin typeface="+mj-lt"/>
                        </a:rPr>
                        <a:t>15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82786F"/>
                          </a:solidFill>
                          <a:latin typeface="+mj-lt"/>
                        </a:rPr>
                        <a:t>149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algn="ctr"/>
                      <a:r>
                        <a:rPr lang="en-GB" sz="1100" b="1" dirty="0">
                          <a:solidFill>
                            <a:srgbClr val="82786F"/>
                          </a:solidFill>
                          <a:latin typeface="+mj-lt"/>
                        </a:rPr>
                        <a:t>14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GB" sz="1100" b="1" dirty="0">
                          <a:solidFill>
                            <a:srgbClr val="82786F"/>
                          </a:solidFill>
                          <a:latin typeface="+mj-lt"/>
                        </a:rPr>
                        <a:t>14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graphicFrame>
        <p:nvGraphicFramePr>
          <p:cNvPr id="12" name="Content Placeholder 6"/>
          <p:cNvGraphicFramePr>
            <a:graphicFrameLocks/>
          </p:cNvGraphicFramePr>
          <p:nvPr>
            <p:extLst>
              <p:ext uri="{D42A27DB-BD31-4B8C-83A1-F6EECF244321}">
                <p14:modId xmlns:p14="http://schemas.microsoft.com/office/powerpoint/2010/main" val="3286741288"/>
              </p:ext>
            </p:extLst>
          </p:nvPr>
        </p:nvGraphicFramePr>
        <p:xfrm>
          <a:off x="587835" y="1247610"/>
          <a:ext cx="7487764" cy="542688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6058775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95536" y="242821"/>
            <a:ext cx="8510400" cy="521883"/>
          </a:xfrm>
        </p:spPr>
        <p:txBody>
          <a:bodyPr/>
          <a:lstStyle/>
          <a:p>
            <a:r>
              <a:rPr lang="cs-CZ" dirty="0" err="1">
                <a:solidFill>
                  <a:schemeClr val="bg2">
                    <a:lumMod val="10000"/>
                  </a:schemeClr>
                </a:solidFill>
              </a:rPr>
              <a:t>Albiglutid</a:t>
            </a:r>
            <a:r>
              <a:rPr lang="cs-CZ" dirty="0">
                <a:solidFill>
                  <a:schemeClr val="bg2">
                    <a:lumMod val="10000"/>
                  </a:schemeClr>
                </a:solidFill>
              </a:rPr>
              <a:t> – studie HARMONY</a:t>
            </a:r>
            <a:br>
              <a:rPr lang="cs-CZ" dirty="0">
                <a:solidFill>
                  <a:schemeClr val="bg2">
                    <a:lumMod val="10000"/>
                  </a:schemeClr>
                </a:solidFill>
              </a:rPr>
            </a:br>
            <a:r>
              <a:rPr lang="cs-CZ" sz="1400" dirty="0" err="1">
                <a:solidFill>
                  <a:schemeClr val="bg2">
                    <a:lumMod val="10000"/>
                  </a:schemeClr>
                </a:solidFill>
              </a:rPr>
              <a:t>Albiglutide</a:t>
            </a:r>
            <a:r>
              <a:rPr lang="cs-CZ" sz="1400" dirty="0">
                <a:solidFill>
                  <a:schemeClr val="bg2">
                    <a:lumMod val="10000"/>
                  </a:schemeClr>
                </a:solidFill>
              </a:rPr>
              <a:t> and </a:t>
            </a:r>
            <a:r>
              <a:rPr lang="cs-CZ" sz="1400" dirty="0" err="1">
                <a:solidFill>
                  <a:schemeClr val="bg2">
                    <a:lumMod val="10000"/>
                  </a:schemeClr>
                </a:solidFill>
              </a:rPr>
              <a:t>cardiovascular</a:t>
            </a:r>
            <a:r>
              <a:rPr lang="cs-CZ" sz="1400" dirty="0">
                <a:solidFill>
                  <a:schemeClr val="bg2">
                    <a:lumMod val="10000"/>
                  </a:schemeClr>
                </a:solidFill>
              </a:rPr>
              <a:t> </a:t>
            </a:r>
            <a:r>
              <a:rPr lang="cs-CZ" sz="1400" dirty="0" err="1">
                <a:solidFill>
                  <a:schemeClr val="bg2">
                    <a:lumMod val="10000"/>
                  </a:schemeClr>
                </a:solidFill>
              </a:rPr>
              <a:t>outcomes</a:t>
            </a:r>
            <a:r>
              <a:rPr lang="cs-CZ" sz="1400" dirty="0">
                <a:solidFill>
                  <a:schemeClr val="bg2">
                    <a:lumMod val="10000"/>
                  </a:schemeClr>
                </a:solidFill>
              </a:rPr>
              <a:t> in </a:t>
            </a:r>
            <a:r>
              <a:rPr lang="cs-CZ" sz="1400" dirty="0" err="1">
                <a:solidFill>
                  <a:schemeClr val="bg2">
                    <a:lumMod val="10000"/>
                  </a:schemeClr>
                </a:solidFill>
              </a:rPr>
              <a:t>patients</a:t>
            </a:r>
            <a:r>
              <a:rPr lang="cs-CZ" sz="1400" dirty="0">
                <a:solidFill>
                  <a:schemeClr val="bg2">
                    <a:lumMod val="10000"/>
                  </a:schemeClr>
                </a:solidFill>
              </a:rPr>
              <a:t> </a:t>
            </a:r>
            <a:r>
              <a:rPr lang="cs-CZ" sz="1400" dirty="0" err="1">
                <a:solidFill>
                  <a:schemeClr val="bg2">
                    <a:lumMod val="10000"/>
                  </a:schemeClr>
                </a:solidFill>
              </a:rPr>
              <a:t>with</a:t>
            </a:r>
            <a:r>
              <a:rPr lang="cs-CZ" sz="1400" dirty="0">
                <a:solidFill>
                  <a:schemeClr val="bg2">
                    <a:lumMod val="10000"/>
                  </a:schemeClr>
                </a:solidFill>
              </a:rPr>
              <a:t> type 2 diabetes and </a:t>
            </a:r>
            <a:r>
              <a:rPr lang="cs-CZ" sz="1400" dirty="0" err="1">
                <a:solidFill>
                  <a:schemeClr val="bg2">
                    <a:lumMod val="10000"/>
                  </a:schemeClr>
                </a:solidFill>
              </a:rPr>
              <a:t>cardiovascular</a:t>
            </a:r>
            <a:r>
              <a:rPr lang="cs-CZ" sz="1400" dirty="0">
                <a:solidFill>
                  <a:schemeClr val="bg2">
                    <a:lumMod val="10000"/>
                  </a:schemeClr>
                </a:solidFill>
              </a:rPr>
              <a:t> </a:t>
            </a:r>
            <a:r>
              <a:rPr lang="cs-CZ" sz="1400" dirty="0" err="1">
                <a:solidFill>
                  <a:schemeClr val="bg2">
                    <a:lumMod val="10000"/>
                  </a:schemeClr>
                </a:solidFill>
              </a:rPr>
              <a:t>disease</a:t>
            </a:r>
            <a:r>
              <a:rPr lang="cs-CZ" sz="1400" dirty="0">
                <a:solidFill>
                  <a:schemeClr val="bg2">
                    <a:lumMod val="10000"/>
                  </a:schemeClr>
                </a:solidFill>
              </a:rPr>
              <a:t>:</a:t>
            </a:r>
          </a:p>
        </p:txBody>
      </p:sp>
      <p:sp>
        <p:nvSpPr>
          <p:cNvPr id="3" name="Zástupný symbol pro text 2"/>
          <p:cNvSpPr>
            <a:spLocks noGrp="1"/>
          </p:cNvSpPr>
          <p:nvPr>
            <p:ph type="body" sz="quarter" idx="13"/>
          </p:nvPr>
        </p:nvSpPr>
        <p:spPr>
          <a:xfrm>
            <a:off x="241131" y="5830800"/>
            <a:ext cx="8510399" cy="1027200"/>
          </a:xfrm>
        </p:spPr>
        <p:txBody>
          <a:bodyPr/>
          <a:lstStyle/>
          <a:p>
            <a:r>
              <a:rPr lang="en-US" dirty="0"/>
              <a:t>(A) the primary outcome, which was a composite of death from </a:t>
            </a:r>
            <a:r>
              <a:rPr lang="en-US" dirty="0">
                <a:hlinkClick r:id="rId2" tooltip="Learn more about Cardiovascular System"/>
              </a:rPr>
              <a:t>cardiovascular</a:t>
            </a:r>
            <a:r>
              <a:rPr lang="en-US" dirty="0"/>
              <a:t> causes, </a:t>
            </a:r>
            <a:r>
              <a:rPr lang="en-US" dirty="0">
                <a:hlinkClick r:id="rId3" tooltip="Learn more about Myocardial infarction"/>
              </a:rPr>
              <a:t>myocardial infarction</a:t>
            </a:r>
            <a:r>
              <a:rPr lang="en-US" dirty="0"/>
              <a:t>, or stroke; and each of these components individually: (B) cardiovascular death, (C) myocardial infarction, and (D) stroke.</a:t>
            </a:r>
            <a:endParaRPr lang="cs-CZ" dirty="0"/>
          </a:p>
        </p:txBody>
      </p:sp>
      <p:pic>
        <p:nvPicPr>
          <p:cNvPr id="4" name="Obráze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553" y="1440867"/>
            <a:ext cx="7704856" cy="5074845"/>
          </a:xfrm>
          <a:prstGeom prst="rect">
            <a:avLst/>
          </a:prstGeom>
        </p:spPr>
      </p:pic>
      <p:sp>
        <p:nvSpPr>
          <p:cNvPr id="5" name="Obdélník 4"/>
          <p:cNvSpPr/>
          <p:nvPr/>
        </p:nvSpPr>
        <p:spPr>
          <a:xfrm>
            <a:off x="2418431" y="1009986"/>
            <a:ext cx="4572000" cy="430887"/>
          </a:xfrm>
          <a:prstGeom prst="rect">
            <a:avLst/>
          </a:prstGeom>
        </p:spPr>
        <p:txBody>
          <a:bodyPr>
            <a:spAutoFit/>
          </a:bodyPr>
          <a:lstStyle/>
          <a:p>
            <a:pPr defTabSz="685800" fontAlgn="auto">
              <a:spcBef>
                <a:spcPts val="0"/>
              </a:spcBef>
              <a:spcAft>
                <a:spcPts val="0"/>
              </a:spcAft>
            </a:pPr>
            <a:r>
              <a:rPr lang="cs-CZ" sz="1100" dirty="0" err="1">
                <a:solidFill>
                  <a:srgbClr val="E0DED8">
                    <a:lumMod val="10000"/>
                  </a:srgbClr>
                </a:solidFill>
                <a:latin typeface="Verdana"/>
                <a:cs typeface="Lucida Sans Unicode" pitchFamily="34" charset="0"/>
              </a:rPr>
              <a:t>Primary</a:t>
            </a:r>
            <a:r>
              <a:rPr lang="cs-CZ" sz="1100" dirty="0">
                <a:solidFill>
                  <a:srgbClr val="E0DED8">
                    <a:lumMod val="10000"/>
                  </a:srgbClr>
                </a:solidFill>
                <a:latin typeface="Verdana"/>
                <a:cs typeface="Lucida Sans Unicode" pitchFamily="34" charset="0"/>
              </a:rPr>
              <a:t> </a:t>
            </a:r>
            <a:r>
              <a:rPr lang="cs-CZ" sz="1100" dirty="0" err="1">
                <a:solidFill>
                  <a:srgbClr val="E0DED8">
                    <a:lumMod val="10000"/>
                  </a:srgbClr>
                </a:solidFill>
                <a:latin typeface="Verdana"/>
                <a:cs typeface="Lucida Sans Unicode" pitchFamily="34" charset="0"/>
              </a:rPr>
              <a:t>endpoint</a:t>
            </a:r>
            <a:r>
              <a:rPr lang="cs-CZ" sz="1100" dirty="0">
                <a:solidFill>
                  <a:srgbClr val="E0DED8">
                    <a:lumMod val="10000"/>
                  </a:srgbClr>
                </a:solidFill>
                <a:latin typeface="Verdana"/>
                <a:cs typeface="Lucida Sans Unicode" pitchFamily="34" charset="0"/>
              </a:rPr>
              <a:t>: </a:t>
            </a:r>
            <a:r>
              <a:rPr lang="cs-CZ" sz="1100" b="0" dirty="0">
                <a:solidFill>
                  <a:srgbClr val="E0DED8">
                    <a:lumMod val="10000"/>
                  </a:srgbClr>
                </a:solidFill>
                <a:latin typeface="Verdana"/>
                <a:cs typeface="Lucida Sans Unicode" pitchFamily="34" charset="0"/>
              </a:rPr>
              <a:t>CV </a:t>
            </a:r>
            <a:r>
              <a:rPr lang="cs-CZ" sz="1100" b="0" dirty="0" err="1">
                <a:solidFill>
                  <a:srgbClr val="E0DED8">
                    <a:lumMod val="10000"/>
                  </a:srgbClr>
                </a:solidFill>
                <a:latin typeface="Verdana"/>
                <a:cs typeface="Lucida Sans Unicode" pitchFamily="34" charset="0"/>
              </a:rPr>
              <a:t>death</a:t>
            </a:r>
            <a:r>
              <a:rPr lang="cs-CZ" sz="1100" b="0" dirty="0">
                <a:solidFill>
                  <a:srgbClr val="E0DED8">
                    <a:lumMod val="10000"/>
                  </a:srgbClr>
                </a:solidFill>
                <a:latin typeface="Verdana"/>
                <a:cs typeface="Lucida Sans Unicode" pitchFamily="34" charset="0"/>
              </a:rPr>
              <a:t>,</a:t>
            </a:r>
          </a:p>
          <a:p>
            <a:pPr defTabSz="685800" fontAlgn="auto">
              <a:spcBef>
                <a:spcPts val="0"/>
              </a:spcBef>
              <a:spcAft>
                <a:spcPts val="0"/>
              </a:spcAft>
            </a:pPr>
            <a:r>
              <a:rPr lang="cs-CZ" sz="1100" b="0" dirty="0">
                <a:solidFill>
                  <a:srgbClr val="E0DED8">
                    <a:lumMod val="10000"/>
                  </a:srgbClr>
                </a:solidFill>
                <a:latin typeface="Verdana"/>
                <a:cs typeface="Lucida Sans Unicode" pitchFamily="34" charset="0"/>
              </a:rPr>
              <a:t>MI</a:t>
            </a:r>
            <a:r>
              <a:rPr lang="en-US" sz="1100" b="0" dirty="0">
                <a:solidFill>
                  <a:srgbClr val="E0DED8">
                    <a:lumMod val="10000"/>
                  </a:srgbClr>
                </a:solidFill>
                <a:latin typeface="Verdana"/>
                <a:cs typeface="Lucida Sans Unicode" pitchFamily="34" charset="0"/>
              </a:rPr>
              <a:t> or stroke</a:t>
            </a:r>
            <a:endParaRPr lang="cs-CZ" sz="1100" b="0" dirty="0">
              <a:solidFill>
                <a:srgbClr val="E0DED8">
                  <a:lumMod val="10000"/>
                </a:srgbClr>
              </a:solidFill>
              <a:latin typeface="Verdana"/>
              <a:cs typeface="Lucida Sans Unicode" pitchFamily="34" charset="0"/>
            </a:endParaRPr>
          </a:p>
        </p:txBody>
      </p:sp>
      <p:sp>
        <p:nvSpPr>
          <p:cNvPr id="6" name="Obdélník 5"/>
          <p:cNvSpPr/>
          <p:nvPr/>
        </p:nvSpPr>
        <p:spPr>
          <a:xfrm>
            <a:off x="5879046" y="1040634"/>
            <a:ext cx="830677" cy="261610"/>
          </a:xfrm>
          <a:prstGeom prst="rect">
            <a:avLst/>
          </a:prstGeom>
        </p:spPr>
        <p:txBody>
          <a:bodyPr wrap="none">
            <a:spAutoFit/>
          </a:bodyPr>
          <a:lstStyle/>
          <a:p>
            <a:pPr defTabSz="685800" fontAlgn="auto">
              <a:spcBef>
                <a:spcPts val="0"/>
              </a:spcBef>
              <a:spcAft>
                <a:spcPts val="0"/>
              </a:spcAft>
            </a:pPr>
            <a:r>
              <a:rPr lang="cs-CZ" sz="1100" b="0" dirty="0">
                <a:solidFill>
                  <a:srgbClr val="E0DED8">
                    <a:lumMod val="10000"/>
                  </a:srgbClr>
                </a:solidFill>
                <a:latin typeface="Verdana"/>
                <a:cs typeface="Lucida Sans Unicode" pitchFamily="34" charset="0"/>
              </a:rPr>
              <a:t>CV </a:t>
            </a:r>
            <a:r>
              <a:rPr lang="cs-CZ" sz="1100" b="0" dirty="0" err="1">
                <a:solidFill>
                  <a:srgbClr val="E0DED8">
                    <a:lumMod val="10000"/>
                  </a:srgbClr>
                </a:solidFill>
                <a:latin typeface="Verdana"/>
                <a:cs typeface="Lucida Sans Unicode" pitchFamily="34" charset="0"/>
              </a:rPr>
              <a:t>death</a:t>
            </a:r>
            <a:endParaRPr lang="cs-CZ" sz="1100" b="0" dirty="0">
              <a:solidFill>
                <a:srgbClr val="001965"/>
              </a:solidFill>
              <a:latin typeface="Verdana"/>
              <a:cs typeface="Lucida Sans Unicode" pitchFamily="34" charset="0"/>
            </a:endParaRPr>
          </a:p>
        </p:txBody>
      </p:sp>
      <p:sp>
        <p:nvSpPr>
          <p:cNvPr id="7" name="Obdélník 6"/>
          <p:cNvSpPr/>
          <p:nvPr/>
        </p:nvSpPr>
        <p:spPr>
          <a:xfrm>
            <a:off x="2467672" y="3829212"/>
            <a:ext cx="4060727" cy="261610"/>
          </a:xfrm>
          <a:prstGeom prst="rect">
            <a:avLst/>
          </a:prstGeom>
        </p:spPr>
        <p:txBody>
          <a:bodyPr wrap="none">
            <a:spAutoFit/>
          </a:bodyPr>
          <a:lstStyle/>
          <a:p>
            <a:pPr defTabSz="685800" fontAlgn="auto">
              <a:spcBef>
                <a:spcPts val="0"/>
              </a:spcBef>
              <a:spcAft>
                <a:spcPts val="0"/>
              </a:spcAft>
            </a:pPr>
            <a:r>
              <a:rPr lang="cs-CZ" sz="1100" b="0" dirty="0" err="1">
                <a:solidFill>
                  <a:srgbClr val="E0DED8">
                    <a:lumMod val="10000"/>
                  </a:srgbClr>
                </a:solidFill>
                <a:latin typeface="Verdana"/>
                <a:cs typeface="Lucida Sans Unicode" pitchFamily="34" charset="0"/>
              </a:rPr>
              <a:t>Myocardial</a:t>
            </a:r>
            <a:r>
              <a:rPr lang="cs-CZ" sz="1100" b="0" dirty="0">
                <a:solidFill>
                  <a:srgbClr val="E0DED8">
                    <a:lumMod val="10000"/>
                  </a:srgbClr>
                </a:solidFill>
                <a:latin typeface="Verdana"/>
                <a:cs typeface="Lucida Sans Unicode" pitchFamily="34" charset="0"/>
              </a:rPr>
              <a:t> </a:t>
            </a:r>
            <a:r>
              <a:rPr lang="cs-CZ" sz="1100" b="0" dirty="0" err="1">
                <a:solidFill>
                  <a:srgbClr val="E0DED8">
                    <a:lumMod val="10000"/>
                  </a:srgbClr>
                </a:solidFill>
                <a:latin typeface="Verdana"/>
                <a:cs typeface="Lucida Sans Unicode" pitchFamily="34" charset="0"/>
              </a:rPr>
              <a:t>infarction</a:t>
            </a:r>
            <a:r>
              <a:rPr lang="cs-CZ" sz="1100" b="0" dirty="0">
                <a:solidFill>
                  <a:srgbClr val="E0DED8">
                    <a:lumMod val="10000"/>
                  </a:srgbClr>
                </a:solidFill>
                <a:latin typeface="Verdana"/>
                <a:cs typeface="Lucida Sans Unicode" pitchFamily="34" charset="0"/>
              </a:rPr>
              <a:t>                                       S</a:t>
            </a:r>
            <a:r>
              <a:rPr lang="en-US" sz="1100" b="0" dirty="0" err="1">
                <a:solidFill>
                  <a:srgbClr val="E0DED8">
                    <a:lumMod val="10000"/>
                  </a:srgbClr>
                </a:solidFill>
                <a:latin typeface="Verdana"/>
                <a:cs typeface="Lucida Sans Unicode" pitchFamily="34" charset="0"/>
              </a:rPr>
              <a:t>troke</a:t>
            </a:r>
            <a:endParaRPr lang="cs-CZ" sz="1100" b="0" dirty="0">
              <a:solidFill>
                <a:srgbClr val="E0DED8">
                  <a:lumMod val="10000"/>
                </a:srgbClr>
              </a:solidFill>
              <a:latin typeface="Verdana"/>
              <a:cs typeface="Lucida Sans Unicode" pitchFamily="34" charset="0"/>
            </a:endParaRPr>
          </a:p>
        </p:txBody>
      </p:sp>
    </p:spTree>
    <p:extLst>
      <p:ext uri="{BB962C8B-B14F-4D97-AF65-F5344CB8AC3E}">
        <p14:creationId xmlns:p14="http://schemas.microsoft.com/office/powerpoint/2010/main" val="230458834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16801" y="203424"/>
            <a:ext cx="8510400" cy="521883"/>
          </a:xfrm>
        </p:spPr>
        <p:txBody>
          <a:bodyPr/>
          <a:lstStyle/>
          <a:p>
            <a:r>
              <a:rPr lang="cs-CZ" sz="3200" dirty="0">
                <a:solidFill>
                  <a:schemeClr val="bg2">
                    <a:lumMod val="10000"/>
                  </a:schemeClr>
                </a:solidFill>
              </a:rPr>
              <a:t>REWIND</a:t>
            </a:r>
            <a:br>
              <a:rPr lang="cs-CZ" sz="3200" dirty="0">
                <a:solidFill>
                  <a:schemeClr val="bg2">
                    <a:lumMod val="10000"/>
                  </a:schemeClr>
                </a:solidFill>
              </a:rPr>
            </a:br>
            <a:r>
              <a:rPr lang="cs-CZ" dirty="0" err="1">
                <a:solidFill>
                  <a:schemeClr val="bg2">
                    <a:lumMod val="10000"/>
                  </a:schemeClr>
                </a:solidFill>
              </a:rPr>
              <a:t>press</a:t>
            </a:r>
            <a:r>
              <a:rPr lang="cs-CZ" dirty="0">
                <a:solidFill>
                  <a:schemeClr val="bg2">
                    <a:lumMod val="10000"/>
                  </a:schemeClr>
                </a:solidFill>
              </a:rPr>
              <a:t> </a:t>
            </a:r>
            <a:r>
              <a:rPr lang="cs-CZ" dirty="0" err="1">
                <a:solidFill>
                  <a:schemeClr val="bg2">
                    <a:lumMod val="10000"/>
                  </a:schemeClr>
                </a:solidFill>
              </a:rPr>
              <a:t>release</a:t>
            </a:r>
            <a:endParaRPr lang="cs-CZ" sz="3200" dirty="0">
              <a:solidFill>
                <a:schemeClr val="bg2">
                  <a:lumMod val="10000"/>
                </a:schemeClr>
              </a:solidFill>
            </a:endParaRPr>
          </a:p>
        </p:txBody>
      </p:sp>
      <p:pic>
        <p:nvPicPr>
          <p:cNvPr id="4" name="Obrázek 3"/>
          <p:cNvPicPr>
            <a:picLocks noChangeAspect="1"/>
          </p:cNvPicPr>
          <p:nvPr/>
        </p:nvPicPr>
        <p:blipFill>
          <a:blip r:embed="rId2"/>
          <a:stretch>
            <a:fillRect/>
          </a:stretch>
        </p:blipFill>
        <p:spPr>
          <a:xfrm>
            <a:off x="1251112" y="1294519"/>
            <a:ext cx="5538692" cy="4920615"/>
          </a:xfrm>
          <a:prstGeom prst="rect">
            <a:avLst/>
          </a:prstGeom>
        </p:spPr>
      </p:pic>
      <p:sp>
        <p:nvSpPr>
          <p:cNvPr id="5" name="TextovéPole 4"/>
          <p:cNvSpPr txBox="1"/>
          <p:nvPr/>
        </p:nvSpPr>
        <p:spPr>
          <a:xfrm>
            <a:off x="7003144" y="3261340"/>
            <a:ext cx="1707944" cy="923330"/>
          </a:xfrm>
          <a:prstGeom prst="rect">
            <a:avLst/>
          </a:prstGeom>
          <a:noFill/>
        </p:spPr>
        <p:txBody>
          <a:bodyPr wrap="square" rtlCol="0">
            <a:spAutoFit/>
          </a:bodyPr>
          <a:lstStyle/>
          <a:p>
            <a:pPr defTabSz="685800" fontAlgn="auto">
              <a:spcBef>
                <a:spcPts val="0"/>
              </a:spcBef>
              <a:spcAft>
                <a:spcPts val="0"/>
              </a:spcAft>
            </a:pPr>
            <a:r>
              <a:rPr lang="cs-CZ" sz="1350" b="0" dirty="0" err="1">
                <a:solidFill>
                  <a:schemeClr val="bg2">
                    <a:lumMod val="10000"/>
                  </a:schemeClr>
                </a:solidFill>
                <a:latin typeface="Verdana"/>
                <a:cs typeface="Lucida Sans Unicode" pitchFamily="34" charset="0"/>
              </a:rPr>
              <a:t>Only</a:t>
            </a:r>
            <a:r>
              <a:rPr lang="cs-CZ" sz="1350" b="0" dirty="0">
                <a:solidFill>
                  <a:schemeClr val="bg2">
                    <a:lumMod val="10000"/>
                  </a:schemeClr>
                </a:solidFill>
                <a:latin typeface="Verdana"/>
                <a:cs typeface="Lucida Sans Unicode" pitchFamily="34" charset="0"/>
              </a:rPr>
              <a:t> 31 % </a:t>
            </a:r>
            <a:r>
              <a:rPr lang="cs-CZ" sz="1350" b="0" dirty="0" err="1">
                <a:solidFill>
                  <a:schemeClr val="bg2">
                    <a:lumMod val="10000"/>
                  </a:schemeClr>
                </a:solidFill>
                <a:latin typeface="Verdana"/>
                <a:cs typeface="Lucida Sans Unicode" pitchFamily="34" charset="0"/>
              </a:rPr>
              <a:t>of</a:t>
            </a:r>
            <a:r>
              <a:rPr lang="cs-CZ" sz="1350" b="0" dirty="0">
                <a:solidFill>
                  <a:schemeClr val="bg2">
                    <a:lumMod val="10000"/>
                  </a:schemeClr>
                </a:solidFill>
                <a:latin typeface="Verdana"/>
                <a:cs typeface="Lucida Sans Unicode" pitchFamily="34" charset="0"/>
              </a:rPr>
              <a:t> </a:t>
            </a:r>
            <a:r>
              <a:rPr lang="cs-CZ" sz="1350" b="0" dirty="0" err="1">
                <a:solidFill>
                  <a:schemeClr val="bg2">
                    <a:lumMod val="10000"/>
                  </a:schemeClr>
                </a:solidFill>
                <a:latin typeface="Verdana"/>
                <a:cs typeface="Lucida Sans Unicode" pitchFamily="34" charset="0"/>
              </a:rPr>
              <a:t>patients</a:t>
            </a:r>
            <a:r>
              <a:rPr lang="cs-CZ" sz="1350" b="0" dirty="0">
                <a:solidFill>
                  <a:schemeClr val="bg2">
                    <a:lumMod val="10000"/>
                  </a:schemeClr>
                </a:solidFill>
                <a:latin typeface="Verdana"/>
                <a:cs typeface="Lucida Sans Unicode" pitchFamily="34" charset="0"/>
              </a:rPr>
              <a:t> </a:t>
            </a:r>
            <a:r>
              <a:rPr lang="cs-CZ" sz="1350" b="0" dirty="0" err="1">
                <a:solidFill>
                  <a:schemeClr val="bg2">
                    <a:lumMod val="10000"/>
                  </a:schemeClr>
                </a:solidFill>
                <a:latin typeface="Verdana"/>
                <a:cs typeface="Lucida Sans Unicode" pitchFamily="34" charset="0"/>
              </a:rPr>
              <a:t>with</a:t>
            </a:r>
            <a:r>
              <a:rPr lang="cs-CZ" sz="1350" b="0" dirty="0">
                <a:solidFill>
                  <a:schemeClr val="bg2">
                    <a:lumMod val="10000"/>
                  </a:schemeClr>
                </a:solidFill>
                <a:latin typeface="Verdana"/>
                <a:cs typeface="Lucida Sans Unicode" pitchFamily="34" charset="0"/>
              </a:rPr>
              <a:t> </a:t>
            </a:r>
            <a:r>
              <a:rPr lang="cs-CZ" sz="1350" b="0" dirty="0" err="1">
                <a:solidFill>
                  <a:schemeClr val="bg2">
                    <a:lumMod val="10000"/>
                  </a:schemeClr>
                </a:solidFill>
                <a:latin typeface="Verdana"/>
                <a:cs typeface="Lucida Sans Unicode" pitchFamily="34" charset="0"/>
              </a:rPr>
              <a:t>history</a:t>
            </a:r>
            <a:r>
              <a:rPr lang="cs-CZ" sz="1350" b="0" dirty="0">
                <a:solidFill>
                  <a:schemeClr val="bg2">
                    <a:lumMod val="10000"/>
                  </a:schemeClr>
                </a:solidFill>
                <a:latin typeface="Verdana"/>
                <a:cs typeface="Lucida Sans Unicode" pitchFamily="34" charset="0"/>
              </a:rPr>
              <a:t> </a:t>
            </a:r>
            <a:r>
              <a:rPr lang="cs-CZ" sz="1350" b="0" dirty="0" err="1">
                <a:solidFill>
                  <a:schemeClr val="bg2">
                    <a:lumMod val="10000"/>
                  </a:schemeClr>
                </a:solidFill>
                <a:latin typeface="Verdana"/>
                <a:cs typeface="Lucida Sans Unicode" pitchFamily="34" charset="0"/>
              </a:rPr>
              <a:t>of</a:t>
            </a:r>
            <a:r>
              <a:rPr lang="cs-CZ" sz="1350" b="0" dirty="0">
                <a:solidFill>
                  <a:schemeClr val="bg2">
                    <a:lumMod val="10000"/>
                  </a:schemeClr>
                </a:solidFill>
                <a:latin typeface="Verdana"/>
                <a:cs typeface="Lucida Sans Unicode" pitchFamily="34" charset="0"/>
              </a:rPr>
              <a:t> CV </a:t>
            </a:r>
            <a:r>
              <a:rPr lang="cs-CZ" sz="1350" b="0" dirty="0" err="1">
                <a:solidFill>
                  <a:schemeClr val="bg2">
                    <a:lumMod val="10000"/>
                  </a:schemeClr>
                </a:solidFill>
                <a:latin typeface="Verdana"/>
                <a:cs typeface="Lucida Sans Unicode" pitchFamily="34" charset="0"/>
              </a:rPr>
              <a:t>complications</a:t>
            </a:r>
            <a:endParaRPr lang="cs-CZ" sz="1350" b="0" dirty="0">
              <a:solidFill>
                <a:schemeClr val="bg2">
                  <a:lumMod val="10000"/>
                </a:schemeClr>
              </a:solidFill>
              <a:latin typeface="Verdana"/>
              <a:cs typeface="Lucida Sans Unicode" pitchFamily="34" charset="0"/>
            </a:endParaRPr>
          </a:p>
        </p:txBody>
      </p:sp>
    </p:spTree>
    <p:extLst>
      <p:ext uri="{BB962C8B-B14F-4D97-AF65-F5344CB8AC3E}">
        <p14:creationId xmlns:p14="http://schemas.microsoft.com/office/powerpoint/2010/main" val="72620564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3200" dirty="0" err="1"/>
              <a:t>Glifloziny</a:t>
            </a:r>
            <a:r>
              <a:rPr lang="cs-CZ" sz="3200" dirty="0"/>
              <a:t> v léčbě diabetu</a:t>
            </a:r>
          </a:p>
        </p:txBody>
      </p:sp>
      <p:pic>
        <p:nvPicPr>
          <p:cNvPr id="6146" name="Picture 2" descr="C:\Users\23939\Pictures\konvice do infuz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82526" y="1386675"/>
            <a:ext cx="6896837" cy="5375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57855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6" name="Round Diagonal Corner Rectangle 85"/>
          <p:cNvSpPr/>
          <p:nvPr/>
        </p:nvSpPr>
        <p:spPr bwMode="auto">
          <a:xfrm rot="16200000">
            <a:off x="722713" y="3759209"/>
            <a:ext cx="1180736" cy="1503850"/>
          </a:xfrm>
          <a:prstGeom prst="round2DiagRect">
            <a:avLst/>
          </a:prstGeom>
          <a:noFill/>
          <a:ln w="28575">
            <a:solidFill>
              <a:srgbClr val="00B8EA"/>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sz="1800" b="0" dirty="0">
              <a:solidFill>
                <a:prstClr val="white"/>
              </a:solidFill>
            </a:endParaRPr>
          </a:p>
        </p:txBody>
      </p:sp>
      <p:pic>
        <p:nvPicPr>
          <p:cNvPr id="76" name="Picture 28" descr="legend.png"/>
          <p:cNvPicPr>
            <a:picLocks noChangeAspect="1"/>
          </p:cNvPicPr>
          <p:nvPr/>
        </p:nvPicPr>
        <p:blipFill rotWithShape="1">
          <a:blip r:embed="rId3" cstate="email">
            <a:extLst>
              <a:ext uri="{28A0092B-C50C-407E-A947-70E740481C1C}">
                <a14:useLocalDpi xmlns:a14="http://schemas.microsoft.com/office/drawing/2010/main" val="0"/>
              </a:ext>
            </a:extLst>
          </a:blip>
          <a:srcRect l="9673" t="5046" r="62171" b="66632"/>
          <a:stretch/>
        </p:blipFill>
        <p:spPr bwMode="auto">
          <a:xfrm>
            <a:off x="585831" y="4633859"/>
            <a:ext cx="441158" cy="323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1043608" y="5848399"/>
            <a:ext cx="7632080" cy="504403"/>
          </a:xfrm>
        </p:spPr>
        <p:txBody>
          <a:bodyPr/>
          <a:lstStyle/>
          <a:p>
            <a:pPr lvl="0">
              <a:spcAft>
                <a:spcPts val="0"/>
              </a:spcAft>
            </a:pPr>
            <a:r>
              <a:rPr lang="en-GB" altLang="zh-CN" dirty="0">
                <a:ea typeface="SimSun" charset="0"/>
                <a:cs typeface="SimSun" charset="0"/>
              </a:rPr>
              <a:t>*</a:t>
            </a:r>
            <a:r>
              <a:rPr lang="cs-CZ" altLang="zh-CN" dirty="0">
                <a:cs typeface="宋体"/>
              </a:rPr>
              <a:t>Zvýšení objemu moči pouze o </a:t>
            </a:r>
            <a:r>
              <a:rPr lang="en-GB" altLang="zh-CN" dirty="0">
                <a:cs typeface="宋体"/>
              </a:rPr>
              <a:t>~1 </a:t>
            </a:r>
            <a:r>
              <a:rPr lang="cs-CZ" altLang="zh-CN" dirty="0">
                <a:cs typeface="宋体"/>
              </a:rPr>
              <a:t>další močení /den</a:t>
            </a:r>
            <a:r>
              <a:rPr lang="en-GB" altLang="zh-CN" dirty="0">
                <a:cs typeface="宋体"/>
              </a:rPr>
              <a:t> (~375 m</a:t>
            </a:r>
            <a:r>
              <a:rPr lang="cs-CZ" altLang="zh-CN" dirty="0">
                <a:cs typeface="宋体"/>
              </a:rPr>
              <a:t>l</a:t>
            </a:r>
            <a:r>
              <a:rPr lang="en-GB" altLang="zh-CN" dirty="0">
                <a:cs typeface="宋体"/>
              </a:rPr>
              <a:t>/</a:t>
            </a:r>
            <a:r>
              <a:rPr lang="cs-CZ" altLang="zh-CN" dirty="0">
                <a:cs typeface="宋体"/>
              </a:rPr>
              <a:t> </a:t>
            </a:r>
            <a:r>
              <a:rPr lang="en-GB" altLang="zh-CN" dirty="0">
                <a:cs typeface="宋体"/>
              </a:rPr>
              <a:t>d</a:t>
            </a:r>
            <a:r>
              <a:rPr lang="cs-CZ" altLang="zh-CN" dirty="0">
                <a:cs typeface="宋体"/>
              </a:rPr>
              <a:t>en</a:t>
            </a:r>
            <a:r>
              <a:rPr lang="en-GB" altLang="zh-CN" dirty="0">
                <a:cs typeface="宋体"/>
              </a:rPr>
              <a:t>) </a:t>
            </a:r>
            <a:r>
              <a:rPr lang="cs-CZ" altLang="zh-CN" dirty="0">
                <a:cs typeface="宋体"/>
              </a:rPr>
              <a:t>ve </a:t>
            </a:r>
            <a:r>
              <a:rPr lang="en-GB" altLang="zh-CN" dirty="0">
                <a:cs typeface="宋体"/>
              </a:rPr>
              <a:t>12</a:t>
            </a:r>
            <a:r>
              <a:rPr lang="cs-CZ" altLang="zh-CN" dirty="0">
                <a:cs typeface="宋体"/>
              </a:rPr>
              <a:t>týdenní studii u zdravých jedinců a pacientů s DM 2. typu</a:t>
            </a:r>
            <a:r>
              <a:rPr lang="en-GB" altLang="zh-CN" dirty="0">
                <a:cs typeface="宋体"/>
              </a:rPr>
              <a:t>.</a:t>
            </a:r>
            <a:r>
              <a:rPr lang="en-GB" altLang="zh-CN" baseline="30000" dirty="0">
                <a:cs typeface="宋体"/>
              </a:rPr>
              <a:t>4</a:t>
            </a:r>
            <a:endParaRPr lang="en-GB" altLang="zh-CN" baseline="30000" dirty="0">
              <a:ea typeface="SimSun" charset="0"/>
              <a:cs typeface="SimSun" charset="0"/>
            </a:endParaRPr>
          </a:p>
          <a:p>
            <a:pPr>
              <a:spcAft>
                <a:spcPts val="0"/>
              </a:spcAft>
            </a:pPr>
            <a:r>
              <a:rPr lang="en-GB" dirty="0" err="1"/>
              <a:t>Dapagliflozin</a:t>
            </a:r>
            <a:r>
              <a:rPr lang="en-GB" dirty="0"/>
              <a:t>. </a:t>
            </a:r>
            <a:r>
              <a:rPr lang="cs-CZ" dirty="0"/>
              <a:t>Souhrn údajů o přípravku</a:t>
            </a:r>
            <a:r>
              <a:rPr lang="en-GB" dirty="0"/>
              <a:t>, 2014.</a:t>
            </a:r>
          </a:p>
        </p:txBody>
      </p:sp>
      <p:sp>
        <p:nvSpPr>
          <p:cNvPr id="2" name="Title 1"/>
          <p:cNvSpPr>
            <a:spLocks noGrp="1"/>
          </p:cNvSpPr>
          <p:nvPr>
            <p:ph type="title"/>
          </p:nvPr>
        </p:nvSpPr>
        <p:spPr>
          <a:xfrm>
            <a:off x="142844" y="142854"/>
            <a:ext cx="8786874" cy="690363"/>
          </a:xfrm>
        </p:spPr>
        <p:txBody>
          <a:bodyPr>
            <a:noAutofit/>
          </a:bodyPr>
          <a:lstStyle/>
          <a:p>
            <a:pPr algn="ctr"/>
            <a:r>
              <a:rPr lang="en-GB" b="1" dirty="0" err="1">
                <a:solidFill>
                  <a:schemeClr val="tx1">
                    <a:lumMod val="50000"/>
                  </a:schemeClr>
                </a:solidFill>
                <a:latin typeface="Arial" charset="0"/>
                <a:ea typeface="ＭＳ Ｐゴシック" charset="0"/>
                <a:cs typeface="ＭＳ Ｐゴシック" charset="0"/>
              </a:rPr>
              <a:t>Dapagliflozin</a:t>
            </a:r>
            <a:r>
              <a:rPr lang="en-GB" b="1" dirty="0">
                <a:solidFill>
                  <a:schemeClr val="tx1">
                    <a:lumMod val="50000"/>
                  </a:schemeClr>
                </a:solidFill>
                <a:latin typeface="Arial" charset="0"/>
                <a:ea typeface="ＭＳ Ｐゴシック" charset="0"/>
                <a:cs typeface="ＭＳ Ｐゴシック" charset="0"/>
              </a:rPr>
              <a:t> </a:t>
            </a:r>
            <a:r>
              <a:rPr lang="en-GB" b="1" dirty="0" err="1">
                <a:solidFill>
                  <a:schemeClr val="tx1">
                    <a:lumMod val="50000"/>
                  </a:schemeClr>
                </a:solidFill>
                <a:latin typeface="Arial" charset="0"/>
                <a:ea typeface="ＭＳ Ｐゴシック" charset="0"/>
                <a:cs typeface="ＭＳ Ｐゴシック" charset="0"/>
              </a:rPr>
              <a:t>inhib</a:t>
            </a:r>
            <a:r>
              <a:rPr lang="cs-CZ" b="1" dirty="0" err="1">
                <a:solidFill>
                  <a:schemeClr val="tx1">
                    <a:lumMod val="50000"/>
                  </a:schemeClr>
                </a:solidFill>
                <a:latin typeface="Arial" charset="0"/>
                <a:ea typeface="ＭＳ Ｐゴシック" charset="0"/>
                <a:cs typeface="ＭＳ Ｐゴシック" charset="0"/>
              </a:rPr>
              <a:t>uje</a:t>
            </a:r>
            <a:r>
              <a:rPr lang="en-GB" b="1" dirty="0">
                <a:solidFill>
                  <a:schemeClr val="tx1">
                    <a:lumMod val="50000"/>
                  </a:schemeClr>
                </a:solidFill>
                <a:latin typeface="Arial" charset="0"/>
                <a:ea typeface="ＭＳ Ｐゴシック" charset="0"/>
                <a:cs typeface="ＭＳ Ｐゴシック" charset="0"/>
              </a:rPr>
              <a:t> SGLT2</a:t>
            </a:r>
            <a:r>
              <a:rPr lang="cs-CZ" b="1" dirty="0">
                <a:solidFill>
                  <a:schemeClr val="tx1">
                    <a:lumMod val="50000"/>
                  </a:schemeClr>
                </a:solidFill>
                <a:latin typeface="Arial" charset="0"/>
                <a:ea typeface="ＭＳ Ｐゴシック" charset="0"/>
                <a:cs typeface="ＭＳ Ｐゴシック" charset="0"/>
              </a:rPr>
              <a:t>,</a:t>
            </a:r>
            <a:r>
              <a:rPr lang="en-GB" b="1" dirty="0">
                <a:solidFill>
                  <a:schemeClr val="tx1">
                    <a:lumMod val="50000"/>
                  </a:schemeClr>
                </a:solidFill>
                <a:latin typeface="Arial" charset="0"/>
                <a:ea typeface="ＭＳ Ｐゴシック" charset="0"/>
                <a:cs typeface="ＭＳ Ｐゴシック" charset="0"/>
              </a:rPr>
              <a:t> </a:t>
            </a:r>
            <a:r>
              <a:rPr lang="cs-CZ" b="1" dirty="0">
                <a:solidFill>
                  <a:schemeClr val="tx1">
                    <a:lumMod val="50000"/>
                  </a:schemeClr>
                </a:solidFill>
                <a:latin typeface="Arial" charset="0"/>
                <a:ea typeface="ＭＳ Ｐゴシック" charset="0"/>
                <a:cs typeface="ＭＳ Ｐゴシック" charset="0"/>
              </a:rPr>
              <a:t>a tím odstraňuje nadbytečnou glukózu močí nezávisle na působení inzulinu</a:t>
            </a:r>
            <a:r>
              <a:rPr lang="en-US" b="1" dirty="0">
                <a:solidFill>
                  <a:schemeClr val="tx1">
                    <a:lumMod val="50000"/>
                  </a:schemeClr>
                </a:solidFill>
                <a:latin typeface="Arial" charset="0"/>
                <a:ea typeface="ＭＳ Ｐゴシック" charset="0"/>
                <a:cs typeface="ＭＳ Ｐゴシック" charset="0"/>
              </a:rPr>
              <a:t> </a:t>
            </a:r>
            <a:endParaRPr lang="en-GB" b="1" dirty="0">
              <a:solidFill>
                <a:schemeClr val="tx1">
                  <a:lumMod val="50000"/>
                </a:schemeClr>
              </a:solidFill>
            </a:endParaRPr>
          </a:p>
        </p:txBody>
      </p:sp>
      <p:pic>
        <p:nvPicPr>
          <p:cNvPr id="55" name="Picture 54" descr="inset.png"/>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724526" y="1020763"/>
            <a:ext cx="1985963" cy="142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TextBox 55"/>
          <p:cNvSpPr txBox="1">
            <a:spLocks noChangeArrowheads="1"/>
          </p:cNvSpPr>
          <p:nvPr/>
        </p:nvSpPr>
        <p:spPr bwMode="auto">
          <a:xfrm>
            <a:off x="3136141" y="1199782"/>
            <a:ext cx="217604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cs-CZ" altLang="en-US" sz="1400" b="0" i="1" dirty="0">
                <a:solidFill>
                  <a:srgbClr val="830051"/>
                </a:solidFill>
                <a:latin typeface=""/>
              </a:rPr>
              <a:t>Snížené zpětné vstřebávání glukózy</a:t>
            </a:r>
            <a:endParaRPr lang="en-US" altLang="en-US" sz="1400" b="0" i="1" dirty="0">
              <a:solidFill>
                <a:srgbClr val="830051"/>
              </a:solidFill>
              <a:latin typeface=""/>
            </a:endParaRPr>
          </a:p>
        </p:txBody>
      </p:sp>
      <p:grpSp>
        <p:nvGrpSpPr>
          <p:cNvPr id="3" name="Group 83"/>
          <p:cNvGrpSpPr/>
          <p:nvPr/>
        </p:nvGrpSpPr>
        <p:grpSpPr>
          <a:xfrm>
            <a:off x="2137908" y="1047083"/>
            <a:ext cx="6764664" cy="5360067"/>
            <a:chOff x="1574282" y="809527"/>
            <a:chExt cx="7441131" cy="5896073"/>
          </a:xfrm>
        </p:grpSpPr>
        <p:pic>
          <p:nvPicPr>
            <p:cNvPr id="60" name="Picture 32" descr="nephron_12Jul12.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574282" y="935038"/>
              <a:ext cx="7127875" cy="553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66"/>
            <p:cNvGrpSpPr>
              <a:grpSpLocks/>
            </p:cNvGrpSpPr>
            <p:nvPr/>
          </p:nvGrpSpPr>
          <p:grpSpPr bwMode="auto">
            <a:xfrm>
              <a:off x="3854450" y="1482725"/>
              <a:ext cx="377825" cy="1438275"/>
              <a:chOff x="3843760" y="1671933"/>
              <a:chExt cx="377825" cy="1438537"/>
            </a:xfrm>
          </p:grpSpPr>
          <p:pic>
            <p:nvPicPr>
              <p:cNvPr id="43" name="Picture 99" descr="05.png"/>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861545" y="1671933"/>
                <a:ext cx="359634" cy="143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50" descr="16.png"/>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843760" y="2082784"/>
                <a:ext cx="360530" cy="359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51" descr="17.png"/>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3861055" y="2434273"/>
                <a:ext cx="360530" cy="359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6" name="Picture 18" descr="05.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33788" y="1498600"/>
              <a:ext cx="865187" cy="143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3" descr="04.png"/>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4046538" y="2687638"/>
              <a:ext cx="1444625" cy="107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19" descr="07.png"/>
            <p:cNvPicPr>
              <a:picLocks noChangeAspect="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7389813" y="3321050"/>
              <a:ext cx="1079500" cy="143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28" descr="01.png"/>
            <p:cNvPicPr>
              <a:picLocks noChangeAspect="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4629150" y="2773363"/>
              <a:ext cx="914400" cy="122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Freeform 49"/>
            <p:cNvSpPr/>
            <p:nvPr/>
          </p:nvSpPr>
          <p:spPr>
            <a:xfrm>
              <a:off x="7337425" y="3724275"/>
              <a:ext cx="1368425" cy="1069975"/>
            </a:xfrm>
            <a:custGeom>
              <a:avLst/>
              <a:gdLst>
                <a:gd name="connsiteX0" fmla="*/ 353786 w 1368879"/>
                <a:gd name="connsiteY0" fmla="*/ 112939 h 1069522"/>
                <a:gd name="connsiteX1" fmla="*/ 459922 w 1368879"/>
                <a:gd name="connsiteY1" fmla="*/ 47625 h 1069522"/>
                <a:gd name="connsiteX2" fmla="*/ 549729 w 1368879"/>
                <a:gd name="connsiteY2" fmla="*/ 6803 h 1069522"/>
                <a:gd name="connsiteX3" fmla="*/ 737508 w 1368879"/>
                <a:gd name="connsiteY3" fmla="*/ 31296 h 1069522"/>
                <a:gd name="connsiteX4" fmla="*/ 1031422 w 1368879"/>
                <a:gd name="connsiteY4" fmla="*/ 186418 h 1069522"/>
                <a:gd name="connsiteX5" fmla="*/ 1243693 w 1368879"/>
                <a:gd name="connsiteY5" fmla="*/ 880382 h 1069522"/>
                <a:gd name="connsiteX6" fmla="*/ 280308 w 1368879"/>
                <a:gd name="connsiteY6" fmla="*/ 1043668 h 1069522"/>
                <a:gd name="connsiteX7" fmla="*/ 10886 w 1368879"/>
                <a:gd name="connsiteY7" fmla="*/ 725260 h 1069522"/>
                <a:gd name="connsiteX8" fmla="*/ 353786 w 1368879"/>
                <a:gd name="connsiteY8" fmla="*/ 112939 h 1069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8879" h="1069522">
                  <a:moveTo>
                    <a:pt x="353786" y="112939"/>
                  </a:moveTo>
                  <a:cubicBezTo>
                    <a:pt x="428625" y="0"/>
                    <a:pt x="427265" y="65314"/>
                    <a:pt x="459922" y="47625"/>
                  </a:cubicBezTo>
                  <a:cubicBezTo>
                    <a:pt x="492579" y="29936"/>
                    <a:pt x="503465" y="9524"/>
                    <a:pt x="549729" y="6803"/>
                  </a:cubicBezTo>
                  <a:cubicBezTo>
                    <a:pt x="595993" y="4082"/>
                    <a:pt x="657226" y="1360"/>
                    <a:pt x="737508" y="31296"/>
                  </a:cubicBezTo>
                  <a:cubicBezTo>
                    <a:pt x="817790" y="61232"/>
                    <a:pt x="947058" y="44904"/>
                    <a:pt x="1031422" y="186418"/>
                  </a:cubicBezTo>
                  <a:cubicBezTo>
                    <a:pt x="1115786" y="327932"/>
                    <a:pt x="1368879" y="737507"/>
                    <a:pt x="1243693" y="880382"/>
                  </a:cubicBezTo>
                  <a:cubicBezTo>
                    <a:pt x="1118507" y="1023257"/>
                    <a:pt x="485776" y="1069522"/>
                    <a:pt x="280308" y="1043668"/>
                  </a:cubicBezTo>
                  <a:cubicBezTo>
                    <a:pt x="74840" y="1017814"/>
                    <a:pt x="0" y="879021"/>
                    <a:pt x="10886" y="725260"/>
                  </a:cubicBezTo>
                  <a:cubicBezTo>
                    <a:pt x="21772" y="571499"/>
                    <a:pt x="278947" y="225878"/>
                    <a:pt x="353786" y="112939"/>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sz="2000" b="0">
                <a:solidFill>
                  <a:prstClr val="white"/>
                </a:solidFill>
              </a:endParaRPr>
            </a:p>
          </p:txBody>
        </p:sp>
        <p:sp>
          <p:nvSpPr>
            <p:cNvPr id="51" name="Down Arrow 50"/>
            <p:cNvSpPr>
              <a:spLocks noChangeArrowheads="1"/>
            </p:cNvSpPr>
            <p:nvPr/>
          </p:nvSpPr>
          <p:spPr bwMode="auto">
            <a:xfrm>
              <a:off x="7820025" y="3729038"/>
              <a:ext cx="215900" cy="1081087"/>
            </a:xfrm>
            <a:prstGeom prst="downArrow">
              <a:avLst>
                <a:gd name="adj1" fmla="val 50000"/>
                <a:gd name="adj2" fmla="val 49981"/>
              </a:avLst>
            </a:prstGeom>
            <a:solidFill>
              <a:schemeClr val="accent1">
                <a:alpha val="38823"/>
              </a:schemeClr>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GB" sz="2000" b="0">
                <a:solidFill>
                  <a:prstClr val="white"/>
                </a:solidFill>
                <a:latin typeface=""/>
                <a:ea typeface="ＭＳ Ｐゴシック"/>
              </a:endParaRPr>
            </a:p>
          </p:txBody>
        </p:sp>
        <p:pic>
          <p:nvPicPr>
            <p:cNvPr id="52" name="Picture 24" descr="03.png"/>
            <p:cNvPicPr>
              <a:picLocks noChangeAspect="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7540625" y="4098925"/>
              <a:ext cx="792163"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24" descr="03.png"/>
            <p:cNvPicPr>
              <a:picLocks noChangeAspect="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7540625" y="3457575"/>
              <a:ext cx="792163"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TextBox 53"/>
            <p:cNvSpPr txBox="1">
              <a:spLocks noChangeArrowheads="1"/>
            </p:cNvSpPr>
            <p:nvPr/>
          </p:nvSpPr>
          <p:spPr bwMode="auto">
            <a:xfrm>
              <a:off x="6332538" y="809527"/>
              <a:ext cx="812671"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altLang="en-US" sz="1400" b="0" i="1" dirty="0">
                  <a:solidFill>
                    <a:srgbClr val="830051"/>
                  </a:solidFill>
                  <a:latin typeface=""/>
                </a:rPr>
                <a:t>SGLT2</a:t>
              </a:r>
            </a:p>
          </p:txBody>
        </p:sp>
        <p:pic>
          <p:nvPicPr>
            <p:cNvPr id="57" name="Picture 56" descr="14.png"/>
            <p:cNvPicPr>
              <a:picLocks noChangeAspect="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7226300" y="3167063"/>
              <a:ext cx="1438275" cy="287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57" descr="11.png"/>
            <p:cNvPicPr>
              <a:picLocks noChangeAspect="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7092950" y="2760663"/>
              <a:ext cx="1665288" cy="352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58" descr="12.png"/>
            <p:cNvPicPr>
              <a:picLocks noChangeAspect="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6856413" y="5651500"/>
              <a:ext cx="2159000"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TextBox 60"/>
            <p:cNvSpPr txBox="1">
              <a:spLocks noChangeArrowheads="1"/>
            </p:cNvSpPr>
            <p:nvPr/>
          </p:nvSpPr>
          <p:spPr bwMode="auto">
            <a:xfrm>
              <a:off x="5795964" y="3743325"/>
              <a:ext cx="2160587" cy="1286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altLang="en-US" sz="1400" b="0" i="1" dirty="0">
                  <a:solidFill>
                    <a:srgbClr val="EF4130"/>
                  </a:solidFill>
                  <a:latin typeface=""/>
                </a:rPr>
                <a:t>Increased urinary excretion of excess glucose (~70 g/day, corresponding to </a:t>
              </a:r>
            </a:p>
            <a:p>
              <a:pPr algn="ctr" eaLnBrk="1" hangingPunct="1"/>
              <a:r>
                <a:rPr lang="en-US" altLang="en-US" sz="1400" b="0" i="1" dirty="0">
                  <a:solidFill>
                    <a:srgbClr val="EF4130"/>
                  </a:solidFill>
                  <a:latin typeface=""/>
                </a:rPr>
                <a:t>280 kcal/day*</a:t>
              </a:r>
              <a:r>
                <a:rPr lang="en-US" altLang="en-US" sz="1400" b="0" i="1" baseline="30000" dirty="0">
                  <a:solidFill>
                    <a:srgbClr val="EF4130"/>
                  </a:solidFill>
                  <a:latin typeface=""/>
                </a:rPr>
                <a:t>1</a:t>
              </a:r>
              <a:r>
                <a:rPr lang="en-US" altLang="en-US" sz="1400" b="0" i="1" dirty="0">
                  <a:solidFill>
                    <a:srgbClr val="EF4130"/>
                  </a:solidFill>
                  <a:latin typeface=""/>
                </a:rPr>
                <a:t>)</a:t>
              </a:r>
            </a:p>
          </p:txBody>
        </p:sp>
        <p:pic>
          <p:nvPicPr>
            <p:cNvPr id="62" name="Picture 12" descr="01.png"/>
            <p:cNvPicPr>
              <a:picLocks noChangeAspect="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3851275" y="1549400"/>
              <a:ext cx="288925" cy="147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TextBox 15"/>
            <p:cNvSpPr txBox="1">
              <a:spLocks noChangeArrowheads="1"/>
            </p:cNvSpPr>
            <p:nvPr/>
          </p:nvSpPr>
          <p:spPr bwMode="auto">
            <a:xfrm>
              <a:off x="3043850" y="2986088"/>
              <a:ext cx="1560877"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altLang="en-US" sz="1400" b="0" i="1">
                  <a:solidFill>
                    <a:srgbClr val="EF4130"/>
                  </a:solidFill>
                  <a:latin typeface="Avenir 55" charset="0"/>
                </a:rPr>
                <a:t>Proximal tubule</a:t>
              </a:r>
            </a:p>
          </p:txBody>
        </p:sp>
        <p:pic>
          <p:nvPicPr>
            <p:cNvPr id="64" name="Picture 20" descr="06.png"/>
            <p:cNvPicPr>
              <a:picLocks noChangeAspect="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2141538" y="3346450"/>
              <a:ext cx="35877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TextBox 21"/>
            <p:cNvSpPr txBox="1">
              <a:spLocks noChangeArrowheads="1"/>
            </p:cNvSpPr>
            <p:nvPr/>
          </p:nvSpPr>
          <p:spPr bwMode="auto">
            <a:xfrm>
              <a:off x="1727262" y="4230688"/>
              <a:ext cx="903165" cy="57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cs-CZ" altLang="en-US" sz="1400" b="0" i="1" dirty="0">
                  <a:solidFill>
                    <a:srgbClr val="830051"/>
                  </a:solidFill>
                  <a:latin typeface=""/>
                </a:rPr>
                <a:t>Filtrace </a:t>
              </a:r>
            </a:p>
            <a:p>
              <a:pPr algn="ctr" eaLnBrk="1" hangingPunct="1"/>
              <a:r>
                <a:rPr lang="cs-CZ" altLang="en-US" sz="1400" b="0" i="1" dirty="0">
                  <a:solidFill>
                    <a:srgbClr val="830051"/>
                  </a:solidFill>
                  <a:latin typeface=""/>
                </a:rPr>
                <a:t>glukózy</a:t>
              </a:r>
              <a:endParaRPr lang="en-US" altLang="en-US" sz="1400" b="0" i="1" dirty="0">
                <a:solidFill>
                  <a:srgbClr val="830051"/>
                </a:solidFill>
                <a:latin typeface=""/>
              </a:endParaRPr>
            </a:p>
          </p:txBody>
        </p:sp>
        <p:pic>
          <p:nvPicPr>
            <p:cNvPr id="67" name="Picture 66" descr="09.png"/>
            <p:cNvPicPr>
              <a:picLocks noChangeAspect="1"/>
            </p:cNvPicPr>
            <p:nvPr/>
          </p:nvPicPr>
          <p:blipFill>
            <a:blip r:embed="rId19" cstate="email">
              <a:extLst>
                <a:ext uri="{28A0092B-C50C-407E-A947-70E740481C1C}">
                  <a14:useLocalDpi xmlns:a14="http://schemas.microsoft.com/office/drawing/2010/main" val="0"/>
                </a:ext>
              </a:extLst>
            </a:blip>
            <a:srcRect/>
            <a:stretch>
              <a:fillRect/>
            </a:stretch>
          </p:blipFill>
          <p:spPr bwMode="auto">
            <a:xfrm>
              <a:off x="3563938" y="2303463"/>
              <a:ext cx="993775" cy="99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67" descr="16.png"/>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878013" y="2468563"/>
              <a:ext cx="360362"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68" descr="16.png"/>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rot="11318619">
              <a:off x="2840038" y="2422525"/>
              <a:ext cx="3603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69" descr="16.png"/>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rot="17702411">
              <a:off x="2502694" y="2574131"/>
              <a:ext cx="35877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3"/>
            <p:cNvPicPr>
              <a:picLocks noChangeAspect="1" noChangeArrowheads="1"/>
            </p:cNvPicPr>
            <p:nvPr/>
          </p:nvPicPr>
          <p:blipFill>
            <a:blip r:embed="rId20" cstate="email">
              <a:extLst>
                <a:ext uri="{28A0092B-C50C-407E-A947-70E740481C1C}">
                  <a14:useLocalDpi xmlns:a14="http://schemas.microsoft.com/office/drawing/2010/main" val="0"/>
                </a:ext>
              </a:extLst>
            </a:blip>
            <a:srcRect/>
            <a:stretch>
              <a:fillRect/>
            </a:stretch>
          </p:blipFill>
          <p:spPr bwMode="auto">
            <a:xfrm>
              <a:off x="3897313" y="2706688"/>
              <a:ext cx="39528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TextBox 77"/>
            <p:cNvSpPr txBox="1">
              <a:spLocks noChangeArrowheads="1"/>
            </p:cNvSpPr>
            <p:nvPr/>
          </p:nvSpPr>
          <p:spPr bwMode="auto">
            <a:xfrm>
              <a:off x="4351539" y="1808306"/>
              <a:ext cx="1056571" cy="279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r>
                <a:rPr lang="en-US" altLang="en-US" sz="1050" b="0" i="1" dirty="0">
                  <a:solidFill>
                    <a:srgbClr val="830051"/>
                  </a:solidFill>
                  <a:latin typeface=""/>
                </a:rPr>
                <a:t>Dapagliflozin</a:t>
              </a:r>
            </a:p>
          </p:txBody>
        </p:sp>
        <p:pic>
          <p:nvPicPr>
            <p:cNvPr id="72" name="Picture 71" descr="10.png"/>
            <p:cNvPicPr>
              <a:picLocks noChangeAspect="1"/>
            </p:cNvPicPr>
            <p:nvPr/>
          </p:nvPicPr>
          <p:blipFill>
            <a:blip r:embed="rId21" cstate="email">
              <a:extLst>
                <a:ext uri="{28A0092B-C50C-407E-A947-70E740481C1C}">
                  <a14:useLocalDpi xmlns:a14="http://schemas.microsoft.com/office/drawing/2010/main" val="0"/>
                </a:ext>
              </a:extLst>
            </a:blip>
            <a:srcRect/>
            <a:stretch>
              <a:fillRect/>
            </a:stretch>
          </p:blipFill>
          <p:spPr bwMode="auto">
            <a:xfrm>
              <a:off x="1754188" y="2365375"/>
              <a:ext cx="3054350" cy="156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9" name="Picture 2" descr="kidney_revised.png"/>
          <p:cNvPicPr>
            <a:picLocks noChangeAspect="1"/>
          </p:cNvPicPr>
          <p:nvPr/>
        </p:nvPicPr>
        <p:blipFill>
          <a:blip r:embed="rId22" cstate="email">
            <a:extLst>
              <a:ext uri="{28A0092B-C50C-407E-A947-70E740481C1C}">
                <a14:useLocalDpi xmlns:a14="http://schemas.microsoft.com/office/drawing/2010/main" val="0"/>
              </a:ext>
            </a:extLst>
          </a:blip>
          <a:srcRect/>
          <a:stretch>
            <a:fillRect/>
          </a:stretch>
        </p:blipFill>
        <p:spPr bwMode="auto">
          <a:xfrm>
            <a:off x="761392" y="1398771"/>
            <a:ext cx="1555829" cy="1570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Rectangle 79"/>
          <p:cNvSpPr/>
          <p:nvPr/>
        </p:nvSpPr>
        <p:spPr bwMode="auto">
          <a:xfrm>
            <a:off x="1647085" y="2670722"/>
            <a:ext cx="143705" cy="8505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US" sz="1800" b="0" dirty="0">
              <a:solidFill>
                <a:prstClr val="white"/>
              </a:solidFill>
            </a:endParaRPr>
          </a:p>
        </p:txBody>
      </p:sp>
      <p:cxnSp>
        <p:nvCxnSpPr>
          <p:cNvPr id="81" name="Shape 30"/>
          <p:cNvCxnSpPr/>
          <p:nvPr/>
        </p:nvCxnSpPr>
        <p:spPr bwMode="auto">
          <a:xfrm rot="16200000" flipV="1">
            <a:off x="1555436" y="2928937"/>
            <a:ext cx="673069" cy="346066"/>
          </a:xfrm>
          <a:prstGeom prst="bentConnector3">
            <a:avLst>
              <a:gd name="adj1" fmla="val 1236"/>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85" name="Picture 3"/>
          <p:cNvPicPr>
            <a:picLocks noChangeAspect="1" noChangeArrowheads="1"/>
          </p:cNvPicPr>
          <p:nvPr/>
        </p:nvPicPr>
        <p:blipFill>
          <a:blip r:embed="rId23" cstate="email">
            <a:extLst>
              <a:ext uri="{28A0092B-C50C-407E-A947-70E740481C1C}">
                <a14:useLocalDpi xmlns:a14="http://schemas.microsoft.com/office/drawing/2010/main" val="0"/>
              </a:ext>
            </a:extLst>
          </a:blip>
          <a:srcRect/>
          <a:stretch>
            <a:fillRect/>
          </a:stretch>
        </p:blipFill>
        <p:spPr bwMode="auto">
          <a:xfrm>
            <a:off x="637969" y="4056773"/>
            <a:ext cx="465489" cy="531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TextBox 9"/>
          <p:cNvSpPr txBox="1">
            <a:spLocks noChangeArrowheads="1"/>
          </p:cNvSpPr>
          <p:nvPr/>
        </p:nvSpPr>
        <p:spPr bwMode="auto">
          <a:xfrm>
            <a:off x="958021" y="4055967"/>
            <a:ext cx="63190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GB" sz="1100" b="0" i="1" dirty="0">
                <a:solidFill>
                  <a:srgbClr val="000000"/>
                </a:solidFill>
                <a:latin typeface=""/>
              </a:rPr>
              <a:t>SGLT2</a:t>
            </a:r>
          </a:p>
        </p:txBody>
      </p:sp>
      <p:sp>
        <p:nvSpPr>
          <p:cNvPr id="89" name="TextBox 10"/>
          <p:cNvSpPr txBox="1">
            <a:spLocks noChangeArrowheads="1"/>
          </p:cNvSpPr>
          <p:nvPr/>
        </p:nvSpPr>
        <p:spPr bwMode="auto">
          <a:xfrm>
            <a:off x="958022" y="4360413"/>
            <a:ext cx="70243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GB" sz="1100" b="0" i="1" dirty="0" err="1">
                <a:solidFill>
                  <a:srgbClr val="000000"/>
                </a:solidFill>
                <a:latin typeface=""/>
              </a:rPr>
              <a:t>Glu</a:t>
            </a:r>
            <a:r>
              <a:rPr lang="cs-CZ" sz="1100" b="0" i="1" dirty="0" err="1">
                <a:solidFill>
                  <a:srgbClr val="000000"/>
                </a:solidFill>
                <a:latin typeface=""/>
              </a:rPr>
              <a:t>kóza</a:t>
            </a:r>
            <a:endParaRPr lang="en-GB" sz="1100" b="0" i="1" dirty="0">
              <a:solidFill>
                <a:srgbClr val="000000"/>
              </a:solidFill>
              <a:latin typeface=""/>
            </a:endParaRPr>
          </a:p>
        </p:txBody>
      </p:sp>
      <p:sp>
        <p:nvSpPr>
          <p:cNvPr id="90" name="TextBox 10"/>
          <p:cNvSpPr txBox="1">
            <a:spLocks noChangeArrowheads="1"/>
          </p:cNvSpPr>
          <p:nvPr/>
        </p:nvSpPr>
        <p:spPr bwMode="auto">
          <a:xfrm>
            <a:off x="958022" y="4684459"/>
            <a:ext cx="99578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GB" sz="1100" b="0" i="1" dirty="0">
                <a:solidFill>
                  <a:srgbClr val="000000"/>
                </a:solidFill>
                <a:latin typeface=""/>
              </a:rPr>
              <a:t>Dapagliflozin</a:t>
            </a:r>
          </a:p>
        </p:txBody>
      </p:sp>
      <p:sp>
        <p:nvSpPr>
          <p:cNvPr id="91" name="Content Placeholder 3"/>
          <p:cNvSpPr txBox="1">
            <a:spLocks/>
          </p:cNvSpPr>
          <p:nvPr/>
        </p:nvSpPr>
        <p:spPr bwMode="auto">
          <a:xfrm>
            <a:off x="447842" y="5205128"/>
            <a:ext cx="7056438" cy="76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95263" indent="-195263"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Aft>
                <a:spcPts val="600"/>
              </a:spcAft>
              <a:buClr>
                <a:srgbClr val="830051"/>
              </a:buClr>
              <a:buFont typeface="Arial" charset="0"/>
              <a:buChar char="•"/>
            </a:pPr>
            <a:r>
              <a:rPr lang="cs-CZ" sz="1400" b="0" dirty="0" err="1">
                <a:solidFill>
                  <a:prstClr val="black"/>
                </a:solidFill>
              </a:rPr>
              <a:t>Dapagliflozin</a:t>
            </a:r>
            <a:r>
              <a:rPr lang="cs-CZ" sz="1400" b="0" dirty="0">
                <a:solidFill>
                  <a:prstClr val="black"/>
                </a:solidFill>
              </a:rPr>
              <a:t> snižuje pomocí inhibice</a:t>
            </a:r>
            <a:r>
              <a:rPr lang="en-GB" sz="1400" b="0" dirty="0">
                <a:solidFill>
                  <a:prstClr val="black"/>
                </a:solidFill>
              </a:rPr>
              <a:t> SGLT2</a:t>
            </a:r>
            <a:r>
              <a:rPr lang="cs-CZ" sz="1400" b="0" dirty="0">
                <a:solidFill>
                  <a:prstClr val="black"/>
                </a:solidFill>
              </a:rPr>
              <a:t>  množství glukózy a s ní spojené množství kalorií</a:t>
            </a:r>
          </a:p>
          <a:p>
            <a:pPr>
              <a:spcAft>
                <a:spcPts val="600"/>
              </a:spcAft>
              <a:buClr>
                <a:srgbClr val="830051"/>
              </a:buClr>
              <a:buFont typeface="Arial" charset="0"/>
              <a:buChar char="•"/>
            </a:pPr>
            <a:r>
              <a:rPr lang="en-GB" sz="1400" b="0" dirty="0" err="1">
                <a:solidFill>
                  <a:prstClr val="black"/>
                </a:solidFill>
              </a:rPr>
              <a:t>Dapagliflozin</a:t>
            </a:r>
            <a:r>
              <a:rPr lang="en-GB" sz="1400" b="0" dirty="0">
                <a:solidFill>
                  <a:prstClr val="black"/>
                </a:solidFill>
              </a:rPr>
              <a:t> </a:t>
            </a:r>
            <a:r>
              <a:rPr lang="cs-CZ" sz="1400" b="0" dirty="0">
                <a:solidFill>
                  <a:prstClr val="black"/>
                </a:solidFill>
              </a:rPr>
              <a:t>má</a:t>
            </a:r>
            <a:r>
              <a:rPr lang="en-GB" sz="1400" b="0" dirty="0">
                <a:solidFill>
                  <a:prstClr val="black"/>
                </a:solidFill>
              </a:rPr>
              <a:t> &gt;1400</a:t>
            </a:r>
            <a:r>
              <a:rPr lang="cs-CZ" sz="1400" b="0" dirty="0">
                <a:solidFill>
                  <a:prstClr val="black"/>
                </a:solidFill>
              </a:rPr>
              <a:t> krát vyšší selektivitu vůči</a:t>
            </a:r>
            <a:r>
              <a:rPr lang="en-GB" sz="1400" b="0" dirty="0">
                <a:solidFill>
                  <a:prstClr val="black"/>
                </a:solidFill>
              </a:rPr>
              <a:t> SGLT2 </a:t>
            </a:r>
            <a:r>
              <a:rPr lang="cs-CZ" sz="1400" b="0" dirty="0">
                <a:solidFill>
                  <a:prstClr val="black"/>
                </a:solidFill>
              </a:rPr>
              <a:t> než k</a:t>
            </a:r>
            <a:r>
              <a:rPr lang="en-GB" sz="1400" b="0" dirty="0">
                <a:solidFill>
                  <a:prstClr val="black"/>
                </a:solidFill>
              </a:rPr>
              <a:t> SGLT1</a:t>
            </a:r>
            <a:endParaRPr lang="en-GB" sz="1400" b="0" baseline="30000" dirty="0">
              <a:solidFill>
                <a:prstClr val="black"/>
              </a:solidFill>
            </a:endParaRPr>
          </a:p>
        </p:txBody>
      </p:sp>
      <p:sp>
        <p:nvSpPr>
          <p:cNvPr id="66" name="TextBox 65"/>
          <p:cNvSpPr txBox="1"/>
          <p:nvPr/>
        </p:nvSpPr>
        <p:spPr>
          <a:xfrm>
            <a:off x="6143626" y="3803865"/>
            <a:ext cx="1687578" cy="1015663"/>
          </a:xfrm>
          <a:prstGeom prst="rect">
            <a:avLst/>
          </a:prstGeom>
          <a:solidFill>
            <a:schemeClr val="bg1"/>
          </a:solidFill>
        </p:spPr>
        <p:txBody>
          <a:bodyPr wrap="square" rtlCol="0">
            <a:spAutoFit/>
          </a:bodyPr>
          <a:lstStyle/>
          <a:p>
            <a:pPr algn="ctr"/>
            <a:r>
              <a:rPr lang="cs-CZ" sz="1200" b="0" i="1" dirty="0">
                <a:solidFill>
                  <a:srgbClr val="830051"/>
                </a:solidFill>
                <a:ea typeface="ＭＳ Ｐゴシック"/>
              </a:rPr>
              <a:t>Zvýšené vylučování nadbytečné glukózy do moči</a:t>
            </a:r>
            <a:r>
              <a:rPr lang="en-GB" sz="1200" b="0" i="1" dirty="0">
                <a:solidFill>
                  <a:srgbClr val="830051"/>
                </a:solidFill>
                <a:ea typeface="ＭＳ Ｐゴシック"/>
              </a:rPr>
              <a:t> (~70 g/</a:t>
            </a:r>
            <a:r>
              <a:rPr lang="cs-CZ" sz="1200" b="0" i="1" dirty="0">
                <a:solidFill>
                  <a:srgbClr val="830051"/>
                </a:solidFill>
                <a:ea typeface="ＭＳ Ｐゴシック"/>
              </a:rPr>
              <a:t>den</a:t>
            </a:r>
            <a:r>
              <a:rPr lang="en-GB" sz="1200" b="0" i="1" dirty="0">
                <a:solidFill>
                  <a:srgbClr val="830051"/>
                </a:solidFill>
                <a:ea typeface="ＭＳ Ｐゴシック"/>
              </a:rPr>
              <a:t>, </a:t>
            </a:r>
            <a:r>
              <a:rPr lang="cs-CZ" sz="1200" b="0" i="1" dirty="0">
                <a:solidFill>
                  <a:srgbClr val="830051"/>
                </a:solidFill>
                <a:ea typeface="ＭＳ Ｐゴシック"/>
              </a:rPr>
              <a:t>což odpovídá</a:t>
            </a:r>
            <a:r>
              <a:rPr lang="en-GB" sz="1200" b="0" i="1" dirty="0">
                <a:solidFill>
                  <a:srgbClr val="830051"/>
                </a:solidFill>
                <a:ea typeface="ＭＳ Ｐゴシック"/>
              </a:rPr>
              <a:t> </a:t>
            </a:r>
            <a:br>
              <a:rPr lang="en-GB" sz="1200" b="0" i="1" dirty="0">
                <a:solidFill>
                  <a:srgbClr val="830051"/>
                </a:solidFill>
                <a:ea typeface="ＭＳ Ｐゴシック"/>
              </a:rPr>
            </a:br>
            <a:r>
              <a:rPr lang="en-GB" sz="1200" b="0" i="1" dirty="0">
                <a:solidFill>
                  <a:srgbClr val="830051"/>
                </a:solidFill>
                <a:ea typeface="ＭＳ Ｐゴシック"/>
              </a:rPr>
              <a:t>280 kcal/</a:t>
            </a:r>
            <a:r>
              <a:rPr lang="cs-CZ" sz="1200" b="0" i="1" dirty="0">
                <a:solidFill>
                  <a:srgbClr val="830051"/>
                </a:solidFill>
                <a:ea typeface="ＭＳ Ｐゴシック"/>
              </a:rPr>
              <a:t>den</a:t>
            </a:r>
            <a:r>
              <a:rPr lang="en-GB" sz="1200" b="0" i="1" dirty="0">
                <a:solidFill>
                  <a:srgbClr val="830051"/>
                </a:solidFill>
                <a:ea typeface="ＭＳ Ｐゴシック"/>
              </a:rPr>
              <a:t>*)</a:t>
            </a:r>
          </a:p>
        </p:txBody>
      </p:sp>
      <p:sp>
        <p:nvSpPr>
          <p:cNvPr id="73" name="TextBox 21"/>
          <p:cNvSpPr txBox="1">
            <a:spLocks noChangeArrowheads="1"/>
          </p:cNvSpPr>
          <p:nvPr/>
        </p:nvSpPr>
        <p:spPr bwMode="auto">
          <a:xfrm>
            <a:off x="3567841" y="3047244"/>
            <a:ext cx="1261162" cy="304502"/>
          </a:xfrm>
          <a:prstGeom prst="roundRect">
            <a:avLst>
              <a:gd name="adj" fmla="val 41608"/>
            </a:avLst>
          </a:prstGeom>
          <a:solidFill>
            <a:schemeClr val="bg2"/>
          </a:solidFill>
          <a:ln>
            <a:noFill/>
          </a:ln>
          <a:extLst/>
        </p:spPr>
        <p:txBody>
          <a:bodyPr wrap="none" lIns="0" tIns="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altLang="en-US" sz="1200" b="0" i="1" dirty="0" err="1">
                <a:solidFill>
                  <a:srgbClr val="830051"/>
                </a:solidFill>
                <a:latin typeface=""/>
              </a:rPr>
              <a:t>Proxim</a:t>
            </a:r>
            <a:r>
              <a:rPr lang="cs-CZ" altLang="en-US" sz="1200" b="0" i="1" dirty="0" err="1">
                <a:solidFill>
                  <a:srgbClr val="830051"/>
                </a:solidFill>
                <a:latin typeface=""/>
              </a:rPr>
              <a:t>ální</a:t>
            </a:r>
            <a:r>
              <a:rPr lang="cs-CZ" altLang="en-US" sz="1200" b="0" i="1" dirty="0">
                <a:solidFill>
                  <a:srgbClr val="830051"/>
                </a:solidFill>
                <a:latin typeface=""/>
              </a:rPr>
              <a:t> tubul</a:t>
            </a:r>
            <a:endParaRPr lang="en-US" altLang="en-US" sz="1200" b="0" i="1" dirty="0">
              <a:solidFill>
                <a:srgbClr val="830051"/>
              </a:solidFill>
              <a:latin typeface=""/>
            </a:endParaRPr>
          </a:p>
        </p:txBody>
      </p:sp>
    </p:spTree>
    <p:extLst>
      <p:ext uri="{BB962C8B-B14F-4D97-AF65-F5344CB8AC3E}">
        <p14:creationId xmlns:p14="http://schemas.microsoft.com/office/powerpoint/2010/main" val="21333748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p:cNvSpPr>
            <a:spLocks noGrp="1"/>
          </p:cNvSpPr>
          <p:nvPr>
            <p:ph type="title"/>
          </p:nvPr>
        </p:nvSpPr>
        <p:spPr>
          <a:xfrm>
            <a:off x="201054" y="55258"/>
            <a:ext cx="8765651" cy="672000"/>
          </a:xfrm>
        </p:spPr>
        <p:txBody>
          <a:bodyPr/>
          <a:lstStyle/>
          <a:p>
            <a:r>
              <a:rPr lang="cs-CZ" sz="3200" dirty="0">
                <a:solidFill>
                  <a:schemeClr val="tx1"/>
                </a:solidFill>
              </a:rPr>
              <a:t>Vliv </a:t>
            </a:r>
            <a:r>
              <a:rPr lang="cs-CZ" sz="3200" dirty="0" err="1">
                <a:solidFill>
                  <a:schemeClr val="tx1"/>
                </a:solidFill>
              </a:rPr>
              <a:t>dapagliflozinu</a:t>
            </a:r>
            <a:r>
              <a:rPr lang="cs-CZ" sz="3200" dirty="0">
                <a:solidFill>
                  <a:schemeClr val="tx1"/>
                </a:solidFill>
              </a:rPr>
              <a:t> na známé KV rizikové faktory</a:t>
            </a:r>
            <a:r>
              <a:rPr lang="en-GB" sz="3200" baseline="30000" dirty="0">
                <a:solidFill>
                  <a:schemeClr val="tx1"/>
                </a:solidFill>
              </a:rPr>
              <a:t>1-3</a:t>
            </a:r>
            <a:r>
              <a:rPr lang="en-GB" sz="3200" dirty="0">
                <a:solidFill>
                  <a:schemeClr val="tx1"/>
                </a:solidFill>
              </a:rPr>
              <a:t> </a:t>
            </a:r>
          </a:p>
        </p:txBody>
      </p:sp>
      <p:sp>
        <p:nvSpPr>
          <p:cNvPr id="37" name="Text Placeholder 36"/>
          <p:cNvSpPr>
            <a:spLocks noGrp="1"/>
          </p:cNvSpPr>
          <p:nvPr>
            <p:ph type="body" sz="quarter" idx="17"/>
          </p:nvPr>
        </p:nvSpPr>
        <p:spPr>
          <a:xfrm>
            <a:off x="97693" y="6453154"/>
            <a:ext cx="7389868" cy="328084"/>
          </a:xfrm>
        </p:spPr>
        <p:txBody>
          <a:bodyPr lIns="0" tIns="0" rIns="0" bIns="0"/>
          <a:lstStyle/>
          <a:p>
            <a:pPr>
              <a:spcBef>
                <a:spcPts val="0"/>
              </a:spcBef>
            </a:pPr>
            <a:r>
              <a:rPr lang="en-GB" sz="600" dirty="0">
                <a:solidFill>
                  <a:srgbClr val="3F4444"/>
                </a:solidFill>
              </a:rPr>
              <a:t>HDL=high-density lipoprotein; LDL=low-density lipoprotein; CV=cardiovascular; SNS=sympathetic nervous system; SGLT2=sodium/glucose cotransporter 2; SGLT2i=sodium/glucose cotransporter 2 inhibitor. </a:t>
            </a:r>
          </a:p>
          <a:p>
            <a:pPr>
              <a:spcBef>
                <a:spcPts val="0"/>
              </a:spcBef>
            </a:pPr>
            <a:r>
              <a:rPr lang="en-GB" sz="600" dirty="0">
                <a:solidFill>
                  <a:srgbClr val="3F4444"/>
                </a:solidFill>
              </a:rPr>
              <a:t>1. </a:t>
            </a:r>
            <a:r>
              <a:rPr lang="en-GB" sz="600" dirty="0" err="1">
                <a:solidFill>
                  <a:srgbClr val="3F4444"/>
                </a:solidFill>
              </a:rPr>
              <a:t>Inzucchi</a:t>
            </a:r>
            <a:r>
              <a:rPr lang="en-GB" sz="600" dirty="0">
                <a:solidFill>
                  <a:srgbClr val="3F4444"/>
                </a:solidFill>
              </a:rPr>
              <a:t> SE, </a:t>
            </a:r>
            <a:r>
              <a:rPr lang="en-GB" sz="600" i="1" dirty="0">
                <a:solidFill>
                  <a:srgbClr val="3F4444"/>
                </a:solidFill>
              </a:rPr>
              <a:t>et al. Diab Vasc Dis Res.</a:t>
            </a:r>
            <a:r>
              <a:rPr lang="en-GB" sz="600" dirty="0">
                <a:solidFill>
                  <a:srgbClr val="3F4444"/>
                </a:solidFill>
              </a:rPr>
              <a:t> 2015;12:90–100. 2. Majewski C </a:t>
            </a:r>
            <a:r>
              <a:rPr lang="en-GB" sz="600" i="1" dirty="0">
                <a:solidFill>
                  <a:srgbClr val="3F4444"/>
                </a:solidFill>
              </a:rPr>
              <a:t>et al. Diabetes Care</a:t>
            </a:r>
            <a:r>
              <a:rPr lang="en-GB" sz="600" dirty="0">
                <a:solidFill>
                  <a:srgbClr val="3F4444"/>
                </a:solidFill>
              </a:rPr>
              <a:t>. 2015;38:429-430. 3. </a:t>
            </a:r>
            <a:r>
              <a:rPr lang="en-US" sz="600" dirty="0" err="1">
                <a:solidFill>
                  <a:srgbClr val="3F4444"/>
                </a:solidFill>
              </a:rPr>
              <a:t>Cherney</a:t>
            </a:r>
            <a:r>
              <a:rPr lang="en-US" sz="600" dirty="0">
                <a:solidFill>
                  <a:srgbClr val="3F4444"/>
                </a:solidFill>
              </a:rPr>
              <a:t> DZ </a:t>
            </a:r>
            <a:r>
              <a:rPr lang="en-US" sz="600" i="1" dirty="0">
                <a:solidFill>
                  <a:srgbClr val="3F4444"/>
                </a:solidFill>
              </a:rPr>
              <a:t>et al. Cardiovascular Diabetology. </a:t>
            </a:r>
            <a:r>
              <a:rPr lang="en-US" sz="600" dirty="0">
                <a:solidFill>
                  <a:srgbClr val="3F4444"/>
                </a:solidFill>
              </a:rPr>
              <a:t>2014,13:28–36.</a:t>
            </a:r>
            <a:endParaRPr lang="en-GB" sz="600" dirty="0">
              <a:solidFill>
                <a:srgbClr val="3F4444"/>
              </a:solidFill>
            </a:endParaRPr>
          </a:p>
        </p:txBody>
      </p:sp>
      <p:cxnSp>
        <p:nvCxnSpPr>
          <p:cNvPr id="36" name="Straight Connector 35"/>
          <p:cNvCxnSpPr/>
          <p:nvPr/>
        </p:nvCxnSpPr>
        <p:spPr>
          <a:xfrm flipV="1">
            <a:off x="4378128" y="1503726"/>
            <a:ext cx="0" cy="1851849"/>
          </a:xfrm>
          <a:prstGeom prst="line">
            <a:avLst/>
          </a:prstGeom>
          <a:ln w="25400" cap="rnd">
            <a:solidFill>
              <a:schemeClr val="accent6">
                <a:lumMod val="40000"/>
                <a:lumOff val="6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a:endCxn id="58" idx="3"/>
          </p:cNvCxnSpPr>
          <p:nvPr/>
        </p:nvCxnSpPr>
        <p:spPr>
          <a:xfrm flipV="1">
            <a:off x="4365037" y="2552903"/>
            <a:ext cx="1410126" cy="1247690"/>
          </a:xfrm>
          <a:prstGeom prst="line">
            <a:avLst/>
          </a:prstGeom>
          <a:ln w="25400" cap="rnd">
            <a:solidFill>
              <a:schemeClr val="accent6">
                <a:lumMod val="40000"/>
                <a:lumOff val="6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flipH="1" flipV="1">
            <a:off x="2883647" y="2581113"/>
            <a:ext cx="1481390" cy="1200667"/>
          </a:xfrm>
          <a:prstGeom prst="line">
            <a:avLst/>
          </a:prstGeom>
          <a:ln w="25400" cap="rnd">
            <a:solidFill>
              <a:schemeClr val="accent6">
                <a:lumMod val="40000"/>
                <a:lumOff val="6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44" name="Rounded Rectangle 43"/>
          <p:cNvSpPr/>
          <p:nvPr/>
        </p:nvSpPr>
        <p:spPr>
          <a:xfrm>
            <a:off x="1380246" y="2284484"/>
            <a:ext cx="1600524" cy="869439"/>
          </a:xfrm>
          <a:prstGeom prst="roundRect">
            <a:avLst>
              <a:gd name="adj" fmla="val 8075"/>
            </a:avLst>
          </a:prstGeom>
          <a:solidFill>
            <a:srgbClr val="F0AB00"/>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52000">
              <a:spcBef>
                <a:spcPts val="1200"/>
              </a:spcBef>
            </a:pPr>
            <a:r>
              <a:rPr lang="en-GB" sz="1400" dirty="0">
                <a:solidFill>
                  <a:srgbClr val="FFFFFF"/>
                </a:solidFill>
              </a:rPr>
              <a:t>Glucose</a:t>
            </a:r>
          </a:p>
          <a:p>
            <a:pPr marL="252000">
              <a:spcBef>
                <a:spcPts val="1200"/>
              </a:spcBef>
            </a:pPr>
            <a:r>
              <a:rPr lang="en-GB" sz="1400" dirty="0">
                <a:solidFill>
                  <a:srgbClr val="FFFFFF"/>
                </a:solidFill>
              </a:rPr>
              <a:t>Insulin</a:t>
            </a:r>
          </a:p>
        </p:txBody>
      </p:sp>
      <p:cxnSp>
        <p:nvCxnSpPr>
          <p:cNvPr id="46" name="Straight Connector 45"/>
          <p:cNvCxnSpPr/>
          <p:nvPr/>
        </p:nvCxnSpPr>
        <p:spPr>
          <a:xfrm flipV="1">
            <a:off x="4370462" y="3937791"/>
            <a:ext cx="15333" cy="1447400"/>
          </a:xfrm>
          <a:prstGeom prst="line">
            <a:avLst/>
          </a:prstGeom>
          <a:ln w="25400" cap="rnd">
            <a:solidFill>
              <a:srgbClr val="B0B6B6"/>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a:stCxn id="50" idx="3"/>
          </p:cNvCxnSpPr>
          <p:nvPr/>
        </p:nvCxnSpPr>
        <p:spPr>
          <a:xfrm flipV="1">
            <a:off x="2955576" y="3875852"/>
            <a:ext cx="1418868" cy="1278738"/>
          </a:xfrm>
          <a:prstGeom prst="line">
            <a:avLst/>
          </a:prstGeom>
          <a:ln w="25400" cap="rnd">
            <a:solidFill>
              <a:schemeClr val="accent6">
                <a:lumMod val="40000"/>
                <a:lumOff val="6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50" name="Rounded Rectangle 49"/>
          <p:cNvSpPr/>
          <p:nvPr/>
        </p:nvSpPr>
        <p:spPr>
          <a:xfrm>
            <a:off x="1293896" y="4874443"/>
            <a:ext cx="1661681" cy="560294"/>
          </a:xfrm>
          <a:prstGeom prst="roundRect">
            <a:avLst>
              <a:gd name="adj" fmla="val 10119"/>
            </a:avLst>
          </a:prstGeom>
          <a:solidFill>
            <a:srgbClr val="F0AB00"/>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52000">
              <a:spcBef>
                <a:spcPts val="1200"/>
              </a:spcBef>
            </a:pPr>
            <a:r>
              <a:rPr lang="en-GB" sz="1400" dirty="0">
                <a:solidFill>
                  <a:srgbClr val="FFFFFF"/>
                </a:solidFill>
              </a:rPr>
              <a:t>Uric acid</a:t>
            </a:r>
          </a:p>
        </p:txBody>
      </p:sp>
      <p:cxnSp>
        <p:nvCxnSpPr>
          <p:cNvPr id="52" name="Straight Connector 51"/>
          <p:cNvCxnSpPr>
            <a:endCxn id="53" idx="1"/>
          </p:cNvCxnSpPr>
          <p:nvPr/>
        </p:nvCxnSpPr>
        <p:spPr>
          <a:xfrm>
            <a:off x="4355631" y="3847632"/>
            <a:ext cx="1419533" cy="1078809"/>
          </a:xfrm>
          <a:prstGeom prst="line">
            <a:avLst/>
          </a:prstGeom>
          <a:ln w="25400" cap="rnd">
            <a:solidFill>
              <a:schemeClr val="accent6">
                <a:lumMod val="40000"/>
                <a:lumOff val="6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a:endCxn id="28" idx="3"/>
          </p:cNvCxnSpPr>
          <p:nvPr/>
        </p:nvCxnSpPr>
        <p:spPr>
          <a:xfrm flipH="1">
            <a:off x="2959837" y="3859042"/>
            <a:ext cx="1394533" cy="139000"/>
          </a:xfrm>
          <a:prstGeom prst="line">
            <a:avLst/>
          </a:prstGeom>
          <a:ln w="25400" cap="rnd">
            <a:solidFill>
              <a:schemeClr val="accent6">
                <a:lumMod val="40000"/>
                <a:lumOff val="6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a:endCxn id="41" idx="1"/>
          </p:cNvCxnSpPr>
          <p:nvPr/>
        </p:nvCxnSpPr>
        <p:spPr>
          <a:xfrm flipV="1">
            <a:off x="4412075" y="3663083"/>
            <a:ext cx="1363089" cy="184549"/>
          </a:xfrm>
          <a:prstGeom prst="line">
            <a:avLst/>
          </a:prstGeom>
          <a:ln w="25400" cap="rnd">
            <a:solidFill>
              <a:schemeClr val="accent6">
                <a:lumMod val="40000"/>
                <a:lumOff val="60000"/>
              </a:schemeClr>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11" name="Group 53"/>
          <p:cNvGrpSpPr/>
          <p:nvPr/>
        </p:nvGrpSpPr>
        <p:grpSpPr>
          <a:xfrm>
            <a:off x="3400525" y="2841812"/>
            <a:ext cx="1955208" cy="1991452"/>
            <a:chOff x="3495612" y="2553730"/>
            <a:chExt cx="1762898" cy="1762898"/>
          </a:xfrm>
          <a:effectLst/>
        </p:grpSpPr>
        <p:sp>
          <p:nvSpPr>
            <p:cNvPr id="55" name="Oval 54"/>
            <p:cNvSpPr/>
            <p:nvPr/>
          </p:nvSpPr>
          <p:spPr>
            <a:xfrm>
              <a:off x="3495612" y="2553730"/>
              <a:ext cx="1762898" cy="1762898"/>
            </a:xfrm>
            <a:prstGeom prst="ellipse">
              <a:avLst/>
            </a:prstGeom>
            <a:solidFill>
              <a:schemeClr val="tx1">
                <a:lumMod val="75000"/>
                <a:lumOff val="25000"/>
              </a:schemeClr>
            </a:soli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56" name="Rectangle 55"/>
            <p:cNvSpPr/>
            <p:nvPr/>
          </p:nvSpPr>
          <p:spPr>
            <a:xfrm>
              <a:off x="3634607" y="2974340"/>
              <a:ext cx="1478949" cy="953588"/>
            </a:xfrm>
            <a:prstGeom prst="rect">
              <a:avLst/>
            </a:prstGeom>
            <a:ln>
              <a:noFill/>
            </a:ln>
          </p:spPr>
          <p:txBody>
            <a:bodyPr wrap="square">
              <a:spAutoFit/>
            </a:bodyPr>
            <a:lstStyle/>
            <a:p>
              <a:pPr algn="ctr"/>
              <a:r>
                <a:rPr lang="en-GB" sz="1600" dirty="0">
                  <a:solidFill>
                    <a:srgbClr val="FFFFFF"/>
                  </a:solidFill>
                </a:rPr>
                <a:t>The potential CV effects </a:t>
              </a:r>
              <a:br>
                <a:rPr lang="en-GB" sz="1600" dirty="0">
                  <a:solidFill>
                    <a:srgbClr val="FFFFFF"/>
                  </a:solidFill>
                </a:rPr>
              </a:br>
              <a:r>
                <a:rPr lang="en-GB" sz="1600" dirty="0">
                  <a:solidFill>
                    <a:srgbClr val="FFFFFF"/>
                  </a:solidFill>
                </a:rPr>
                <a:t>of SGLT2 inhibitors</a:t>
              </a:r>
            </a:p>
          </p:txBody>
        </p:sp>
      </p:grpSp>
      <p:sp>
        <p:nvSpPr>
          <p:cNvPr id="16" name="TextBox 15"/>
          <p:cNvSpPr txBox="1"/>
          <p:nvPr/>
        </p:nvSpPr>
        <p:spPr>
          <a:xfrm>
            <a:off x="8446043" y="241871"/>
            <a:ext cx="443467" cy="461665"/>
          </a:xfrm>
          <a:prstGeom prst="rect">
            <a:avLst/>
          </a:prstGeom>
          <a:solidFill>
            <a:srgbClr val="FFFFFF"/>
          </a:solidFill>
        </p:spPr>
        <p:txBody>
          <a:bodyPr wrap="square" rtlCol="0">
            <a:spAutoFit/>
          </a:bodyPr>
          <a:lstStyle/>
          <a:p>
            <a:endParaRPr lang="en-US" dirty="0">
              <a:solidFill>
                <a:srgbClr val="000000"/>
              </a:solidFill>
            </a:endParaRPr>
          </a:p>
        </p:txBody>
      </p:sp>
      <p:pic>
        <p:nvPicPr>
          <p:cNvPr id="80" name="Picture 79"/>
          <p:cNvPicPr>
            <a:picLocks noChangeAspect="1"/>
          </p:cNvPicPr>
          <p:nvPr/>
        </p:nvPicPr>
        <p:blipFill>
          <a:blip r:embed="rId3"/>
          <a:stretch>
            <a:fillRect/>
          </a:stretch>
        </p:blipFill>
        <p:spPr>
          <a:xfrm rot="16200000">
            <a:off x="1516874" y="2487259"/>
            <a:ext cx="147874" cy="117167"/>
          </a:xfrm>
          <a:prstGeom prst="rect">
            <a:avLst/>
          </a:prstGeom>
        </p:spPr>
      </p:pic>
      <p:pic>
        <p:nvPicPr>
          <p:cNvPr id="81" name="Picture 80"/>
          <p:cNvPicPr>
            <a:picLocks noChangeAspect="1"/>
          </p:cNvPicPr>
          <p:nvPr/>
        </p:nvPicPr>
        <p:blipFill>
          <a:blip r:embed="rId3"/>
          <a:stretch>
            <a:fillRect/>
          </a:stretch>
        </p:blipFill>
        <p:spPr>
          <a:xfrm rot="16200000">
            <a:off x="1516874" y="2833894"/>
            <a:ext cx="147874" cy="117167"/>
          </a:xfrm>
          <a:prstGeom prst="rect">
            <a:avLst/>
          </a:prstGeom>
        </p:spPr>
      </p:pic>
      <p:grpSp>
        <p:nvGrpSpPr>
          <p:cNvPr id="82" name="Group 81"/>
          <p:cNvGrpSpPr/>
          <p:nvPr/>
        </p:nvGrpSpPr>
        <p:grpSpPr>
          <a:xfrm>
            <a:off x="2571384" y="2418115"/>
            <a:ext cx="262964" cy="262964"/>
            <a:chOff x="5020235" y="1322294"/>
            <a:chExt cx="403412" cy="403412"/>
          </a:xfrm>
        </p:grpSpPr>
        <p:pic>
          <p:nvPicPr>
            <p:cNvPr id="83" name="Picture 82">
              <a:hlinkClick r:id="rId4" action="ppaction://hlinksldjump"/>
            </p:cNvPr>
            <p:cNvPicPr>
              <a:picLocks noChangeAspect="1"/>
            </p:cNvPicPr>
            <p:nvPr/>
          </p:nvPicPr>
          <p:blipFill>
            <a:blip r:embed="rId5"/>
            <a:stretch>
              <a:fillRect/>
            </a:stretch>
          </p:blipFill>
          <p:spPr>
            <a:xfrm>
              <a:off x="5075857" y="1377916"/>
              <a:ext cx="292168" cy="292168"/>
            </a:xfrm>
            <a:prstGeom prst="rect">
              <a:avLst/>
            </a:prstGeom>
            <a:effectLst/>
          </p:spPr>
        </p:pic>
        <p:sp>
          <p:nvSpPr>
            <p:cNvPr id="84" name="Oval 83"/>
            <p:cNvSpPr/>
            <p:nvPr/>
          </p:nvSpPr>
          <p:spPr>
            <a:xfrm>
              <a:off x="5020235" y="1322294"/>
              <a:ext cx="403412" cy="403412"/>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pic>
        <p:nvPicPr>
          <p:cNvPr id="85" name="Picture 84"/>
          <p:cNvPicPr>
            <a:picLocks noChangeAspect="1"/>
          </p:cNvPicPr>
          <p:nvPr/>
        </p:nvPicPr>
        <p:blipFill>
          <a:blip r:embed="rId3"/>
          <a:stretch>
            <a:fillRect/>
          </a:stretch>
        </p:blipFill>
        <p:spPr>
          <a:xfrm rot="16200000">
            <a:off x="1449643" y="5142307"/>
            <a:ext cx="147874" cy="117167"/>
          </a:xfrm>
          <a:prstGeom prst="rect">
            <a:avLst/>
          </a:prstGeom>
        </p:spPr>
      </p:pic>
      <p:grpSp>
        <p:nvGrpSpPr>
          <p:cNvPr id="21" name="Group 20"/>
          <p:cNvGrpSpPr/>
          <p:nvPr/>
        </p:nvGrpSpPr>
        <p:grpSpPr>
          <a:xfrm>
            <a:off x="1003612" y="3563324"/>
            <a:ext cx="1956224" cy="869439"/>
            <a:chOff x="927423" y="3264936"/>
            <a:chExt cx="1956224" cy="869439"/>
          </a:xfrm>
        </p:grpSpPr>
        <p:sp>
          <p:nvSpPr>
            <p:cNvPr id="28" name="Rounded Rectangle 27"/>
            <p:cNvSpPr/>
            <p:nvPr/>
          </p:nvSpPr>
          <p:spPr>
            <a:xfrm>
              <a:off x="927423" y="3264936"/>
              <a:ext cx="1956224" cy="869439"/>
            </a:xfrm>
            <a:prstGeom prst="roundRect">
              <a:avLst>
                <a:gd name="adj" fmla="val 8074"/>
              </a:avLst>
            </a:prstGeom>
            <a:solidFill>
              <a:srgbClr val="F0AB00"/>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52000">
                <a:spcBef>
                  <a:spcPts val="1200"/>
                </a:spcBef>
              </a:pPr>
              <a:r>
                <a:rPr lang="en-GB" sz="1400" dirty="0">
                  <a:solidFill>
                    <a:srgbClr val="FFFFFF"/>
                  </a:solidFill>
                </a:rPr>
                <a:t>Body weight</a:t>
              </a:r>
            </a:p>
            <a:p>
              <a:pPr marL="252000">
                <a:spcBef>
                  <a:spcPts val="1200"/>
                </a:spcBef>
              </a:pPr>
              <a:r>
                <a:rPr lang="en-GB" sz="1400" dirty="0">
                  <a:solidFill>
                    <a:srgbClr val="FFFFFF"/>
                  </a:solidFill>
                </a:rPr>
                <a:t>Visceral fat</a:t>
              </a:r>
            </a:p>
          </p:txBody>
        </p:sp>
        <p:pic>
          <p:nvPicPr>
            <p:cNvPr id="15" name="Picture 14"/>
            <p:cNvPicPr>
              <a:picLocks noChangeAspect="1"/>
            </p:cNvPicPr>
            <p:nvPr/>
          </p:nvPicPr>
          <p:blipFill>
            <a:blip r:embed="rId3"/>
            <a:stretch>
              <a:fillRect/>
            </a:stretch>
          </p:blipFill>
          <p:spPr>
            <a:xfrm rot="16200000">
              <a:off x="1065645" y="3474238"/>
              <a:ext cx="147874" cy="117167"/>
            </a:xfrm>
            <a:prstGeom prst="rect">
              <a:avLst/>
            </a:prstGeom>
          </p:spPr>
        </p:pic>
        <p:pic>
          <p:nvPicPr>
            <p:cNvPr id="76" name="Picture 75"/>
            <p:cNvPicPr>
              <a:picLocks noChangeAspect="1"/>
            </p:cNvPicPr>
            <p:nvPr/>
          </p:nvPicPr>
          <p:blipFill>
            <a:blip r:embed="rId3"/>
            <a:stretch>
              <a:fillRect/>
            </a:stretch>
          </p:blipFill>
          <p:spPr>
            <a:xfrm rot="16200000">
              <a:off x="1065645" y="3820873"/>
              <a:ext cx="147874" cy="117167"/>
            </a:xfrm>
            <a:prstGeom prst="rect">
              <a:avLst/>
            </a:prstGeom>
          </p:spPr>
        </p:pic>
        <p:grpSp>
          <p:nvGrpSpPr>
            <p:cNvPr id="86" name="Group 85"/>
            <p:cNvGrpSpPr/>
            <p:nvPr/>
          </p:nvGrpSpPr>
          <p:grpSpPr>
            <a:xfrm>
              <a:off x="2469778" y="3403604"/>
              <a:ext cx="262964" cy="262964"/>
              <a:chOff x="5020235" y="1322294"/>
              <a:chExt cx="403412" cy="403412"/>
            </a:xfrm>
          </p:grpSpPr>
          <p:pic>
            <p:nvPicPr>
              <p:cNvPr id="87" name="Picture 86">
                <a:hlinkClick r:id="rId4" action="ppaction://hlinksldjump"/>
              </p:cNvPr>
              <p:cNvPicPr>
                <a:picLocks noChangeAspect="1"/>
              </p:cNvPicPr>
              <p:nvPr/>
            </p:nvPicPr>
            <p:blipFill>
              <a:blip r:embed="rId5"/>
              <a:stretch>
                <a:fillRect/>
              </a:stretch>
            </p:blipFill>
            <p:spPr>
              <a:xfrm>
                <a:off x="5075857" y="1377916"/>
                <a:ext cx="292168" cy="292168"/>
              </a:xfrm>
              <a:prstGeom prst="rect">
                <a:avLst/>
              </a:prstGeom>
              <a:effectLst/>
            </p:spPr>
          </p:pic>
          <p:sp>
            <p:nvSpPr>
              <p:cNvPr id="88" name="Oval 87"/>
              <p:cNvSpPr/>
              <p:nvPr/>
            </p:nvSpPr>
            <p:spPr>
              <a:xfrm>
                <a:off x="5020235" y="1322294"/>
                <a:ext cx="403412" cy="403412"/>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89" name="Group 88"/>
            <p:cNvGrpSpPr/>
            <p:nvPr/>
          </p:nvGrpSpPr>
          <p:grpSpPr>
            <a:xfrm>
              <a:off x="2465296" y="3750239"/>
              <a:ext cx="262964" cy="262964"/>
              <a:chOff x="5020235" y="1322294"/>
              <a:chExt cx="403412" cy="403412"/>
            </a:xfrm>
          </p:grpSpPr>
          <p:pic>
            <p:nvPicPr>
              <p:cNvPr id="90" name="Picture 89">
                <a:hlinkClick r:id="rId4" action="ppaction://hlinksldjump"/>
              </p:cNvPr>
              <p:cNvPicPr>
                <a:picLocks noChangeAspect="1"/>
              </p:cNvPicPr>
              <p:nvPr/>
            </p:nvPicPr>
            <p:blipFill>
              <a:blip r:embed="rId5"/>
              <a:stretch>
                <a:fillRect/>
              </a:stretch>
            </p:blipFill>
            <p:spPr>
              <a:xfrm>
                <a:off x="5075857" y="1377916"/>
                <a:ext cx="292168" cy="292168"/>
              </a:xfrm>
              <a:prstGeom prst="rect">
                <a:avLst/>
              </a:prstGeom>
              <a:effectLst/>
            </p:spPr>
          </p:pic>
          <p:sp>
            <p:nvSpPr>
              <p:cNvPr id="91" name="Oval 90"/>
              <p:cNvSpPr/>
              <p:nvPr/>
            </p:nvSpPr>
            <p:spPr>
              <a:xfrm>
                <a:off x="5020235" y="1322294"/>
                <a:ext cx="403412" cy="403412"/>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sp>
        <p:nvSpPr>
          <p:cNvPr id="97" name="Oval 96"/>
          <p:cNvSpPr/>
          <p:nvPr/>
        </p:nvSpPr>
        <p:spPr>
          <a:xfrm>
            <a:off x="3280236" y="2719294"/>
            <a:ext cx="2195786" cy="2236490"/>
          </a:xfrm>
          <a:prstGeom prst="ellipse">
            <a:avLst/>
          </a:prstGeom>
          <a:no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grpSp>
        <p:nvGrpSpPr>
          <p:cNvPr id="32" name="Group 31"/>
          <p:cNvGrpSpPr/>
          <p:nvPr/>
        </p:nvGrpSpPr>
        <p:grpSpPr>
          <a:xfrm>
            <a:off x="3410700" y="5385191"/>
            <a:ext cx="1934858" cy="576338"/>
            <a:chOff x="3407792" y="5385191"/>
            <a:chExt cx="1934858" cy="576338"/>
          </a:xfrm>
        </p:grpSpPr>
        <p:sp>
          <p:nvSpPr>
            <p:cNvPr id="47" name="Rounded Rectangle 46"/>
            <p:cNvSpPr/>
            <p:nvPr/>
          </p:nvSpPr>
          <p:spPr>
            <a:xfrm>
              <a:off x="3407792" y="5385191"/>
              <a:ext cx="1934858" cy="576338"/>
            </a:xfrm>
            <a:prstGeom prst="roundRect">
              <a:avLst>
                <a:gd name="adj" fmla="val 9827"/>
              </a:avLst>
            </a:prstGeom>
            <a:solidFill>
              <a:srgbClr val="003865"/>
            </a:solidFill>
            <a:ln>
              <a:solidFill>
                <a:srgbClr val="0038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52000">
                <a:spcBef>
                  <a:spcPts val="600"/>
                </a:spcBef>
              </a:pPr>
              <a:r>
                <a:rPr lang="en-GB" sz="1400" dirty="0">
                  <a:solidFill>
                    <a:srgbClr val="FFFFFF"/>
                  </a:solidFill>
                </a:rPr>
                <a:t>Albuminuria</a:t>
              </a:r>
            </a:p>
          </p:txBody>
        </p:sp>
        <p:pic>
          <p:nvPicPr>
            <p:cNvPr id="98" name="Picture 97"/>
            <p:cNvPicPr>
              <a:picLocks noChangeAspect="1"/>
            </p:cNvPicPr>
            <p:nvPr/>
          </p:nvPicPr>
          <p:blipFill>
            <a:blip r:embed="rId3"/>
            <a:stretch>
              <a:fillRect/>
            </a:stretch>
          </p:blipFill>
          <p:spPr>
            <a:xfrm rot="16200000">
              <a:off x="3536922" y="5612320"/>
              <a:ext cx="147874" cy="117167"/>
            </a:xfrm>
            <a:prstGeom prst="rect">
              <a:avLst/>
            </a:prstGeom>
          </p:spPr>
        </p:pic>
      </p:grpSp>
      <p:grpSp>
        <p:nvGrpSpPr>
          <p:cNvPr id="31" name="Group 30"/>
          <p:cNvGrpSpPr/>
          <p:nvPr/>
        </p:nvGrpSpPr>
        <p:grpSpPr>
          <a:xfrm>
            <a:off x="3280096" y="986118"/>
            <a:ext cx="2196067" cy="1298446"/>
            <a:chOff x="3287345" y="986118"/>
            <a:chExt cx="2196067" cy="1298446"/>
          </a:xfrm>
        </p:grpSpPr>
        <p:sp>
          <p:nvSpPr>
            <p:cNvPr id="38" name="Rounded Rectangle 37"/>
            <p:cNvSpPr/>
            <p:nvPr/>
          </p:nvSpPr>
          <p:spPr>
            <a:xfrm>
              <a:off x="3287345" y="986118"/>
              <a:ext cx="2196067" cy="1298446"/>
            </a:xfrm>
            <a:prstGeom prst="roundRect">
              <a:avLst>
                <a:gd name="adj" fmla="val 6660"/>
              </a:avLst>
            </a:prstGeom>
            <a:solidFill>
              <a:srgbClr val="F0AB00"/>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52000">
                <a:spcBef>
                  <a:spcPts val="1200"/>
                </a:spcBef>
              </a:pPr>
              <a:r>
                <a:rPr lang="en-GB" sz="1400" dirty="0">
                  <a:solidFill>
                    <a:srgbClr val="FFFFFF"/>
                  </a:solidFill>
                </a:rPr>
                <a:t>Blood pressure</a:t>
              </a:r>
            </a:p>
            <a:p>
              <a:pPr marL="252000">
                <a:spcBef>
                  <a:spcPts val="1200"/>
                </a:spcBef>
              </a:pPr>
              <a:r>
                <a:rPr lang="en-GB" sz="1400" dirty="0">
                  <a:solidFill>
                    <a:srgbClr val="FFFFFF"/>
                  </a:solidFill>
                </a:rPr>
                <a:t>Heart rate </a:t>
              </a:r>
            </a:p>
            <a:p>
              <a:pPr marL="252000">
                <a:spcBef>
                  <a:spcPts val="1200"/>
                </a:spcBef>
              </a:pPr>
              <a:r>
                <a:rPr lang="en-GB" sz="1400" dirty="0">
                  <a:solidFill>
                    <a:srgbClr val="FFFFFF"/>
                  </a:solidFill>
                </a:rPr>
                <a:t>Arterial stiffness?</a:t>
              </a:r>
            </a:p>
          </p:txBody>
        </p:sp>
        <p:grpSp>
          <p:nvGrpSpPr>
            <p:cNvPr id="77" name="Group 76"/>
            <p:cNvGrpSpPr/>
            <p:nvPr/>
          </p:nvGrpSpPr>
          <p:grpSpPr>
            <a:xfrm>
              <a:off x="5065406" y="1145581"/>
              <a:ext cx="262964" cy="262964"/>
              <a:chOff x="5020235" y="1322294"/>
              <a:chExt cx="403412" cy="403412"/>
            </a:xfrm>
          </p:grpSpPr>
          <p:pic>
            <p:nvPicPr>
              <p:cNvPr id="78" name="Picture 77">
                <a:hlinkClick r:id="rId4" action="ppaction://hlinksldjump"/>
              </p:cNvPr>
              <p:cNvPicPr>
                <a:picLocks noChangeAspect="1"/>
              </p:cNvPicPr>
              <p:nvPr/>
            </p:nvPicPr>
            <p:blipFill>
              <a:blip r:embed="rId5"/>
              <a:stretch>
                <a:fillRect/>
              </a:stretch>
            </p:blipFill>
            <p:spPr>
              <a:xfrm>
                <a:off x="5086648" y="1377916"/>
                <a:ext cx="292169" cy="292169"/>
              </a:xfrm>
              <a:prstGeom prst="rect">
                <a:avLst/>
              </a:prstGeom>
              <a:effectLst/>
            </p:spPr>
          </p:pic>
          <p:sp>
            <p:nvSpPr>
              <p:cNvPr id="79" name="Oval 78"/>
              <p:cNvSpPr/>
              <p:nvPr/>
            </p:nvSpPr>
            <p:spPr>
              <a:xfrm>
                <a:off x="5020235" y="1322294"/>
                <a:ext cx="403412" cy="403412"/>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9" name="Group 18"/>
            <p:cNvGrpSpPr/>
            <p:nvPr/>
          </p:nvGrpSpPr>
          <p:grpSpPr>
            <a:xfrm>
              <a:off x="3403076" y="1579679"/>
              <a:ext cx="187490" cy="117826"/>
              <a:chOff x="4656438" y="1625568"/>
              <a:chExt cx="187490" cy="117826"/>
            </a:xfrm>
          </p:grpSpPr>
          <p:pic>
            <p:nvPicPr>
              <p:cNvPr id="102" name="Picture 101"/>
              <p:cNvPicPr>
                <a:picLocks noChangeAspect="1"/>
              </p:cNvPicPr>
              <p:nvPr/>
            </p:nvPicPr>
            <p:blipFill>
              <a:blip r:embed="rId3"/>
              <a:stretch>
                <a:fillRect/>
              </a:stretch>
            </p:blipFill>
            <p:spPr>
              <a:xfrm>
                <a:off x="4656438" y="1625568"/>
                <a:ext cx="147874" cy="117167"/>
              </a:xfrm>
              <a:prstGeom prst="rect">
                <a:avLst/>
              </a:prstGeom>
            </p:spPr>
          </p:pic>
          <p:pic>
            <p:nvPicPr>
              <p:cNvPr id="103" name="Picture 102"/>
              <p:cNvPicPr>
                <a:picLocks noChangeAspect="1"/>
              </p:cNvPicPr>
              <p:nvPr/>
            </p:nvPicPr>
            <p:blipFill>
              <a:blip r:embed="rId3"/>
              <a:stretch>
                <a:fillRect/>
              </a:stretch>
            </p:blipFill>
            <p:spPr>
              <a:xfrm rot="10800000">
                <a:off x="4696054" y="1626227"/>
                <a:ext cx="147874" cy="117167"/>
              </a:xfrm>
              <a:prstGeom prst="rect">
                <a:avLst/>
              </a:prstGeom>
            </p:spPr>
          </p:pic>
        </p:grpSp>
        <p:pic>
          <p:nvPicPr>
            <p:cNvPr id="105" name="Picture 104"/>
            <p:cNvPicPr>
              <a:picLocks noChangeAspect="1"/>
            </p:cNvPicPr>
            <p:nvPr/>
          </p:nvPicPr>
          <p:blipFill>
            <a:blip r:embed="rId3"/>
            <a:stretch>
              <a:fillRect/>
            </a:stretch>
          </p:blipFill>
          <p:spPr>
            <a:xfrm rot="16200000">
              <a:off x="3428157" y="1223416"/>
              <a:ext cx="147874" cy="117167"/>
            </a:xfrm>
            <a:prstGeom prst="rect">
              <a:avLst/>
            </a:prstGeom>
          </p:spPr>
        </p:pic>
        <p:pic>
          <p:nvPicPr>
            <p:cNvPr id="106" name="Picture 105"/>
            <p:cNvPicPr>
              <a:picLocks noChangeAspect="1"/>
            </p:cNvPicPr>
            <p:nvPr/>
          </p:nvPicPr>
          <p:blipFill>
            <a:blip r:embed="rId3"/>
            <a:stretch>
              <a:fillRect/>
            </a:stretch>
          </p:blipFill>
          <p:spPr>
            <a:xfrm rot="16200000">
              <a:off x="3428158" y="1942804"/>
              <a:ext cx="147874" cy="117167"/>
            </a:xfrm>
            <a:prstGeom prst="rect">
              <a:avLst/>
            </a:prstGeom>
          </p:spPr>
        </p:pic>
      </p:grpSp>
      <p:grpSp>
        <p:nvGrpSpPr>
          <p:cNvPr id="22" name="Group 21"/>
          <p:cNvGrpSpPr/>
          <p:nvPr/>
        </p:nvGrpSpPr>
        <p:grpSpPr>
          <a:xfrm>
            <a:off x="5775163" y="4464777"/>
            <a:ext cx="1934858" cy="923324"/>
            <a:chOff x="5757038" y="4586942"/>
            <a:chExt cx="1934858" cy="923324"/>
          </a:xfrm>
        </p:grpSpPr>
        <p:sp>
          <p:nvSpPr>
            <p:cNvPr id="53" name="Rounded Rectangle 52"/>
            <p:cNvSpPr/>
            <p:nvPr/>
          </p:nvSpPr>
          <p:spPr>
            <a:xfrm>
              <a:off x="5757038" y="4586942"/>
              <a:ext cx="1934858" cy="923324"/>
            </a:xfrm>
            <a:prstGeom prst="roundRect">
              <a:avLst>
                <a:gd name="adj" fmla="val 5698"/>
              </a:avLst>
            </a:prstGeom>
            <a:solidFill>
              <a:srgbClr val="F0AB00"/>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52000">
                <a:spcBef>
                  <a:spcPts val="1200"/>
                </a:spcBef>
              </a:pPr>
              <a:r>
                <a:rPr lang="en-GB" sz="1400" dirty="0">
                  <a:solidFill>
                    <a:srgbClr val="FFFFFF"/>
                  </a:solidFill>
                </a:rPr>
                <a:t>Inflammation,</a:t>
              </a:r>
              <a:br>
                <a:rPr lang="en-GB" sz="1400" dirty="0">
                  <a:solidFill>
                    <a:srgbClr val="FFFFFF"/>
                  </a:solidFill>
                </a:rPr>
              </a:br>
              <a:r>
                <a:rPr lang="en-GB" sz="1400" dirty="0">
                  <a:solidFill>
                    <a:srgbClr val="FFFFFF"/>
                  </a:solidFill>
                </a:rPr>
                <a:t>Oxidative stress?</a:t>
              </a:r>
            </a:p>
          </p:txBody>
        </p:sp>
        <p:pic>
          <p:nvPicPr>
            <p:cNvPr id="107" name="Picture 106"/>
            <p:cNvPicPr>
              <a:picLocks noChangeAspect="1"/>
            </p:cNvPicPr>
            <p:nvPr/>
          </p:nvPicPr>
          <p:blipFill>
            <a:blip r:embed="rId3"/>
            <a:stretch>
              <a:fillRect/>
            </a:stretch>
          </p:blipFill>
          <p:spPr>
            <a:xfrm rot="16200000">
              <a:off x="5897628" y="4984792"/>
              <a:ext cx="147874" cy="117167"/>
            </a:xfrm>
            <a:prstGeom prst="rect">
              <a:avLst/>
            </a:prstGeom>
          </p:spPr>
        </p:pic>
      </p:grpSp>
      <p:grpSp>
        <p:nvGrpSpPr>
          <p:cNvPr id="20" name="Group 19"/>
          <p:cNvGrpSpPr/>
          <p:nvPr/>
        </p:nvGrpSpPr>
        <p:grpSpPr>
          <a:xfrm>
            <a:off x="5775163" y="3228363"/>
            <a:ext cx="1934858" cy="869439"/>
            <a:chOff x="5740421" y="3258693"/>
            <a:chExt cx="1934858" cy="869439"/>
          </a:xfrm>
        </p:grpSpPr>
        <p:sp>
          <p:nvSpPr>
            <p:cNvPr id="41" name="Rounded Rectangle 40"/>
            <p:cNvSpPr/>
            <p:nvPr/>
          </p:nvSpPr>
          <p:spPr>
            <a:xfrm>
              <a:off x="5740421" y="3258693"/>
              <a:ext cx="1934858" cy="869439"/>
            </a:xfrm>
            <a:prstGeom prst="roundRect">
              <a:avLst>
                <a:gd name="adj" fmla="val 6356"/>
              </a:avLst>
            </a:prstGeom>
            <a:solidFill>
              <a:srgbClr val="F0AB00"/>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252000">
                <a:spcBef>
                  <a:spcPts val="1200"/>
                </a:spcBef>
              </a:pPr>
              <a:r>
                <a:rPr lang="en-GB" sz="1400" dirty="0">
                  <a:solidFill>
                    <a:srgbClr val="FFFFFF"/>
                  </a:solidFill>
                </a:rPr>
                <a:t>HDL, LDL</a:t>
              </a:r>
            </a:p>
            <a:p>
              <a:pPr marL="252000">
                <a:spcBef>
                  <a:spcPts val="1200"/>
                </a:spcBef>
              </a:pPr>
              <a:r>
                <a:rPr lang="en-GB" sz="1400" dirty="0">
                  <a:solidFill>
                    <a:srgbClr val="FFFFFF"/>
                  </a:solidFill>
                </a:rPr>
                <a:t>Triglycerides</a:t>
              </a:r>
            </a:p>
          </p:txBody>
        </p:sp>
        <p:pic>
          <p:nvPicPr>
            <p:cNvPr id="108" name="Picture 107"/>
            <p:cNvPicPr>
              <a:picLocks noChangeAspect="1"/>
            </p:cNvPicPr>
            <p:nvPr/>
          </p:nvPicPr>
          <p:blipFill>
            <a:blip r:embed="rId3"/>
            <a:stretch>
              <a:fillRect/>
            </a:stretch>
          </p:blipFill>
          <p:spPr>
            <a:xfrm rot="5400000">
              <a:off x="5872223" y="3469756"/>
              <a:ext cx="147874" cy="117167"/>
            </a:xfrm>
            <a:prstGeom prst="rect">
              <a:avLst/>
            </a:prstGeom>
          </p:spPr>
        </p:pic>
        <p:pic>
          <p:nvPicPr>
            <p:cNvPr id="109" name="Picture 108"/>
            <p:cNvPicPr>
              <a:picLocks noChangeAspect="1"/>
            </p:cNvPicPr>
            <p:nvPr/>
          </p:nvPicPr>
          <p:blipFill>
            <a:blip r:embed="rId3"/>
            <a:stretch>
              <a:fillRect/>
            </a:stretch>
          </p:blipFill>
          <p:spPr>
            <a:xfrm rot="16200000">
              <a:off x="5872223" y="3816391"/>
              <a:ext cx="147874" cy="117167"/>
            </a:xfrm>
            <a:prstGeom prst="rect">
              <a:avLst/>
            </a:prstGeom>
          </p:spPr>
        </p:pic>
      </p:grpSp>
      <p:grpSp>
        <p:nvGrpSpPr>
          <p:cNvPr id="23" name="Group 22"/>
          <p:cNvGrpSpPr/>
          <p:nvPr/>
        </p:nvGrpSpPr>
        <p:grpSpPr>
          <a:xfrm>
            <a:off x="5775163" y="2283366"/>
            <a:ext cx="1934858" cy="539074"/>
            <a:chOff x="5737808" y="2457825"/>
            <a:chExt cx="1934858" cy="539074"/>
          </a:xfrm>
        </p:grpSpPr>
        <p:sp>
          <p:nvSpPr>
            <p:cNvPr id="58" name="Rounded Rectangle 57"/>
            <p:cNvSpPr/>
            <p:nvPr/>
          </p:nvSpPr>
          <p:spPr>
            <a:xfrm flipH="1">
              <a:off x="5737808" y="2457825"/>
              <a:ext cx="1934858" cy="539074"/>
            </a:xfrm>
            <a:prstGeom prst="roundRect">
              <a:avLst>
                <a:gd name="adj" fmla="val 8934"/>
              </a:avLst>
            </a:prstGeom>
            <a:solidFill>
              <a:srgbClr val="F0AB00"/>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52000">
                <a:spcBef>
                  <a:spcPts val="1200"/>
                </a:spcBef>
              </a:pPr>
              <a:r>
                <a:rPr lang="en-GB" sz="1400" dirty="0">
                  <a:solidFill>
                    <a:srgbClr val="FFFFFF"/>
                  </a:solidFill>
                </a:rPr>
                <a:t>SNS activity?</a:t>
              </a:r>
            </a:p>
          </p:txBody>
        </p:sp>
        <p:pic>
          <p:nvPicPr>
            <p:cNvPr id="110" name="Picture 109"/>
            <p:cNvPicPr>
              <a:picLocks noChangeAspect="1"/>
            </p:cNvPicPr>
            <p:nvPr/>
          </p:nvPicPr>
          <p:blipFill>
            <a:blip r:embed="rId3"/>
            <a:stretch>
              <a:fillRect/>
            </a:stretch>
          </p:blipFill>
          <p:spPr>
            <a:xfrm rot="16200000">
              <a:off x="5874031" y="2670440"/>
              <a:ext cx="147874" cy="117167"/>
            </a:xfrm>
            <a:prstGeom prst="rect">
              <a:avLst/>
            </a:prstGeom>
          </p:spPr>
        </p:pic>
      </p:grpSp>
      <p:sp>
        <p:nvSpPr>
          <p:cNvPr id="95" name="Rectangle 94">
            <a:hlinkClick r:id="rId6" action="ppaction://hlinksldjump"/>
          </p:cNvPr>
          <p:cNvSpPr/>
          <p:nvPr/>
        </p:nvSpPr>
        <p:spPr>
          <a:xfrm>
            <a:off x="3280236" y="1066802"/>
            <a:ext cx="2075498" cy="422427"/>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 name="Rectangle 95">
            <a:hlinkClick r:id="rId7" action="ppaction://hlinksldjump"/>
          </p:cNvPr>
          <p:cNvSpPr/>
          <p:nvPr/>
        </p:nvSpPr>
        <p:spPr>
          <a:xfrm>
            <a:off x="1380247" y="2321362"/>
            <a:ext cx="1577852" cy="422427"/>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dirty="0">
              <a:solidFill>
                <a:srgbClr val="FFFFFF"/>
              </a:solidFill>
            </a:endParaRPr>
          </a:p>
        </p:txBody>
      </p:sp>
      <p:sp>
        <p:nvSpPr>
          <p:cNvPr id="104" name="Rectangle 103">
            <a:hlinkClick r:id="rId8" action="ppaction://hlinksldjump"/>
          </p:cNvPr>
          <p:cNvSpPr/>
          <p:nvPr/>
        </p:nvSpPr>
        <p:spPr>
          <a:xfrm>
            <a:off x="1003613" y="3589381"/>
            <a:ext cx="1942947" cy="422427"/>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11" name="Rectangle 110">
            <a:hlinkClick r:id="rId9" action="ppaction://hlinksldjump"/>
          </p:cNvPr>
          <p:cNvSpPr/>
          <p:nvPr/>
        </p:nvSpPr>
        <p:spPr>
          <a:xfrm>
            <a:off x="1003613" y="4010335"/>
            <a:ext cx="1942947" cy="422427"/>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99" name="Picture 98"/>
          <p:cNvPicPr>
            <a:picLocks noChangeAspect="1"/>
          </p:cNvPicPr>
          <p:nvPr/>
        </p:nvPicPr>
        <p:blipFill>
          <a:blip r:embed="rId5"/>
          <a:stretch>
            <a:fillRect/>
          </a:stretch>
        </p:blipFill>
        <p:spPr>
          <a:xfrm>
            <a:off x="5006223" y="5575678"/>
            <a:ext cx="190450" cy="190450"/>
          </a:xfrm>
          <a:prstGeom prst="rect">
            <a:avLst/>
          </a:prstGeom>
          <a:effectLst/>
        </p:spPr>
      </p:pic>
      <p:sp>
        <p:nvSpPr>
          <p:cNvPr id="100" name="Oval 99"/>
          <p:cNvSpPr/>
          <p:nvPr/>
        </p:nvSpPr>
        <p:spPr>
          <a:xfrm>
            <a:off x="4962931" y="5539421"/>
            <a:ext cx="262964" cy="262964"/>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nvGrpSpPr>
          <p:cNvPr id="101" name="Group 100"/>
          <p:cNvGrpSpPr/>
          <p:nvPr/>
        </p:nvGrpSpPr>
        <p:grpSpPr>
          <a:xfrm>
            <a:off x="-5080" y="6341168"/>
            <a:ext cx="9149080" cy="2123647"/>
            <a:chOff x="-5080" y="6341166"/>
            <a:chExt cx="9149080" cy="2123647"/>
          </a:xfrm>
        </p:grpSpPr>
        <p:sp>
          <p:nvSpPr>
            <p:cNvPr id="119" name="Rounded Rectangle 118"/>
            <p:cNvSpPr/>
            <p:nvPr/>
          </p:nvSpPr>
          <p:spPr>
            <a:xfrm>
              <a:off x="8560487" y="6341166"/>
              <a:ext cx="583513" cy="672757"/>
            </a:xfrm>
            <a:prstGeom prst="roundRect">
              <a:avLst>
                <a:gd name="adj" fmla="val 0"/>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20" name="Rectangle 119"/>
            <p:cNvSpPr/>
            <p:nvPr/>
          </p:nvSpPr>
          <p:spPr>
            <a:xfrm>
              <a:off x="-5080" y="6864527"/>
              <a:ext cx="9149080" cy="1600286"/>
            </a:xfrm>
            <a:prstGeom prst="rect">
              <a:avLst/>
            </a:prstGeom>
            <a:solidFill>
              <a:schemeClr val="accent6">
                <a:lumMod val="75000"/>
              </a:schemeClr>
            </a:solidFill>
            <a:ln w="25400" cap="flat" cmpd="sng" algn="ctr">
              <a:noFill/>
              <a:prstDash val="solid"/>
            </a:ln>
            <a:effectLst/>
          </p:spPr>
          <p:txBody>
            <a:bodyPr rtlCol="0" anchor="ctr"/>
            <a:lstStyle/>
            <a:p>
              <a:pPr algn="ctr" fontAlgn="auto">
                <a:spcBef>
                  <a:spcPts val="0"/>
                </a:spcBef>
                <a:spcAft>
                  <a:spcPts val="0"/>
                </a:spcAft>
                <a:defRPr/>
              </a:pPr>
              <a:endParaRPr lang="en-GB" sz="1200" b="0" kern="0" dirty="0">
                <a:solidFill>
                  <a:srgbClr val="FFFFFF"/>
                </a:solidFill>
                <a:latin typeface="Arial"/>
                <a:ea typeface="+mn-ea"/>
                <a:cs typeface="Arial"/>
              </a:endParaRPr>
            </a:p>
          </p:txBody>
        </p:sp>
        <p:grpSp>
          <p:nvGrpSpPr>
            <p:cNvPr id="121" name="Group 120"/>
            <p:cNvGrpSpPr/>
            <p:nvPr/>
          </p:nvGrpSpPr>
          <p:grpSpPr>
            <a:xfrm>
              <a:off x="4632510" y="7020271"/>
              <a:ext cx="2017060" cy="1303459"/>
              <a:chOff x="3590365" y="7047165"/>
              <a:chExt cx="2017060" cy="1303459"/>
            </a:xfrm>
          </p:grpSpPr>
          <p:grpSp>
            <p:nvGrpSpPr>
              <p:cNvPr id="168" name="Group 167"/>
              <p:cNvGrpSpPr/>
              <p:nvPr/>
            </p:nvGrpSpPr>
            <p:grpSpPr>
              <a:xfrm>
                <a:off x="3701953" y="7134804"/>
                <a:ext cx="1752600" cy="1109133"/>
                <a:chOff x="3701952" y="7143983"/>
                <a:chExt cx="1752600" cy="1109133"/>
              </a:xfrm>
            </p:grpSpPr>
            <p:sp>
              <p:nvSpPr>
                <p:cNvPr id="170" name="Rounded Rectangle 169">
                  <a:hlinkClick r:id="rId7" action="ppaction://hlinksldjump"/>
                </p:cNvPr>
                <p:cNvSpPr/>
                <p:nvPr/>
              </p:nvSpPr>
              <p:spPr>
                <a:xfrm>
                  <a:off x="3701952" y="7143983"/>
                  <a:ext cx="1752600" cy="1109133"/>
                </a:xfrm>
                <a:prstGeom prst="roundRect">
                  <a:avLst>
                    <a:gd name="adj" fmla="val 537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71" name="TextBox 170">
                  <a:hlinkClick r:id="rId4" action="ppaction://hlinksldjump"/>
                </p:cNvPr>
                <p:cNvSpPr txBox="1"/>
                <p:nvPr/>
              </p:nvSpPr>
              <p:spPr>
                <a:xfrm>
                  <a:off x="3786420" y="7725464"/>
                  <a:ext cx="1583664" cy="461665"/>
                </a:xfrm>
                <a:prstGeom prst="rect">
                  <a:avLst/>
                </a:prstGeom>
                <a:noFill/>
              </p:spPr>
              <p:txBody>
                <a:bodyPr wrap="square" rtlCol="0">
                  <a:spAutoFit/>
                </a:bodyPr>
                <a:lstStyle/>
                <a:p>
                  <a:pPr algn="ctr" fontAlgn="auto">
                    <a:spcBef>
                      <a:spcPts val="0"/>
                    </a:spcBef>
                    <a:spcAft>
                      <a:spcPts val="0"/>
                    </a:spcAft>
                    <a:defRPr/>
                  </a:pPr>
                  <a:r>
                    <a:rPr lang="en-GB" sz="1200" dirty="0">
                      <a:solidFill>
                        <a:srgbClr val="FFFFFF"/>
                      </a:solidFill>
                    </a:rPr>
                    <a:t>SGLT2i: reduction of  CV events</a:t>
                  </a:r>
                  <a:endParaRPr lang="en-GB" sz="1200" kern="0" dirty="0">
                    <a:solidFill>
                      <a:srgbClr val="FFFFFF"/>
                    </a:solidFill>
                    <a:latin typeface="Arial"/>
                    <a:cs typeface="Arial"/>
                  </a:endParaRPr>
                </a:p>
              </p:txBody>
            </p:sp>
            <p:pic>
              <p:nvPicPr>
                <p:cNvPr id="172" name="Picture 171">
                  <a:hlinkClick r:id="rId7" action="ppaction://hlinksldjump"/>
                </p:cNvPr>
                <p:cNvPicPr>
                  <a:picLocks noChangeAspect="1"/>
                </p:cNvPicPr>
                <p:nvPr/>
              </p:nvPicPr>
              <p:blipFill>
                <a:blip r:embed="rId10"/>
                <a:stretch>
                  <a:fillRect/>
                </a:stretch>
              </p:blipFill>
              <p:spPr>
                <a:xfrm>
                  <a:off x="4385031" y="7322457"/>
                  <a:ext cx="386443" cy="386443"/>
                </a:xfrm>
                <a:prstGeom prst="rect">
                  <a:avLst/>
                </a:prstGeom>
              </p:spPr>
            </p:pic>
          </p:grpSp>
          <p:sp>
            <p:nvSpPr>
              <p:cNvPr id="169" name="Rectangle 168">
                <a:hlinkClick r:id="rId7" action="ppaction://hlinksldjump"/>
              </p:cNvPr>
              <p:cNvSpPr/>
              <p:nvPr/>
            </p:nvSpPr>
            <p:spPr>
              <a:xfrm>
                <a:off x="3590365" y="7047165"/>
                <a:ext cx="2017060" cy="1303459"/>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22" name="Group 121"/>
            <p:cNvGrpSpPr/>
            <p:nvPr/>
          </p:nvGrpSpPr>
          <p:grpSpPr>
            <a:xfrm>
              <a:off x="6663041" y="6991455"/>
              <a:ext cx="2017060" cy="1303459"/>
              <a:chOff x="5620896" y="7018349"/>
              <a:chExt cx="2017060" cy="1303459"/>
            </a:xfrm>
          </p:grpSpPr>
          <p:grpSp>
            <p:nvGrpSpPr>
              <p:cNvPr id="134" name="Group 133"/>
              <p:cNvGrpSpPr/>
              <p:nvPr/>
            </p:nvGrpSpPr>
            <p:grpSpPr>
              <a:xfrm>
                <a:off x="5750886" y="7134804"/>
                <a:ext cx="1752600" cy="1109133"/>
                <a:chOff x="5750886" y="7143983"/>
                <a:chExt cx="1752600" cy="1109133"/>
              </a:xfrm>
            </p:grpSpPr>
            <p:sp>
              <p:nvSpPr>
                <p:cNvPr id="136" name="Rounded Rectangle 135">
                  <a:hlinkClick r:id="rId11" action="ppaction://hlinksldjump"/>
                </p:cNvPr>
                <p:cNvSpPr/>
                <p:nvPr/>
              </p:nvSpPr>
              <p:spPr>
                <a:xfrm>
                  <a:off x="5750886" y="7143983"/>
                  <a:ext cx="1752600" cy="1109133"/>
                </a:xfrm>
                <a:prstGeom prst="roundRect">
                  <a:avLst>
                    <a:gd name="adj" fmla="val 5377"/>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37" name="TextBox 136">
                  <a:hlinkClick r:id="rId12" action="ppaction://hlinksldjump"/>
                </p:cNvPr>
                <p:cNvSpPr txBox="1"/>
                <p:nvPr/>
              </p:nvSpPr>
              <p:spPr>
                <a:xfrm>
                  <a:off x="5807232" y="7725464"/>
                  <a:ext cx="1639908" cy="461665"/>
                </a:xfrm>
                <a:prstGeom prst="rect">
                  <a:avLst/>
                </a:prstGeom>
                <a:noFill/>
              </p:spPr>
              <p:txBody>
                <a:bodyPr wrap="square" lIns="0" rIns="0" rtlCol="0">
                  <a:spAutoFit/>
                </a:bodyPr>
                <a:lstStyle/>
                <a:p>
                  <a:pPr algn="ctr" fontAlgn="auto">
                    <a:spcBef>
                      <a:spcPts val="0"/>
                    </a:spcBef>
                    <a:spcAft>
                      <a:spcPts val="0"/>
                    </a:spcAft>
                    <a:defRPr/>
                  </a:pPr>
                  <a:r>
                    <a:rPr lang="en-GB" sz="1200" dirty="0" err="1">
                      <a:solidFill>
                        <a:srgbClr val="FFFFFF"/>
                      </a:solidFill>
                    </a:rPr>
                    <a:t>Dapagliflozin</a:t>
                  </a:r>
                  <a:r>
                    <a:rPr lang="en-GB" sz="1200" dirty="0">
                      <a:solidFill>
                        <a:srgbClr val="FFFFFF"/>
                      </a:solidFill>
                    </a:rPr>
                    <a:t>:</a:t>
                  </a:r>
                  <a:br>
                    <a:rPr lang="en-GB" sz="1200" dirty="0">
                      <a:solidFill>
                        <a:srgbClr val="FFFFFF"/>
                      </a:solidFill>
                    </a:rPr>
                  </a:br>
                  <a:r>
                    <a:rPr lang="en-GB" sz="1200" dirty="0" err="1">
                      <a:solidFill>
                        <a:srgbClr val="FFFFFF"/>
                      </a:solidFill>
                    </a:rPr>
                    <a:t>Nephroprotection</a:t>
                  </a:r>
                  <a:endParaRPr lang="en-GB" sz="1200" kern="0" dirty="0">
                    <a:solidFill>
                      <a:srgbClr val="FFFFFF"/>
                    </a:solidFill>
                    <a:latin typeface="Arial"/>
                    <a:cs typeface="Arial"/>
                  </a:endParaRPr>
                </a:p>
              </p:txBody>
            </p:sp>
            <p:pic>
              <p:nvPicPr>
                <p:cNvPr id="138" name="Picture 137">
                  <a:hlinkClick r:id="rId11" action="ppaction://hlinksldjump"/>
                </p:cNvPr>
                <p:cNvPicPr>
                  <a:picLocks noChangeAspect="1"/>
                </p:cNvPicPr>
                <p:nvPr/>
              </p:nvPicPr>
              <p:blipFill rotWithShape="1">
                <a:blip r:embed="rId13"/>
                <a:srcRect b="9524"/>
                <a:stretch/>
              </p:blipFill>
              <p:spPr>
                <a:xfrm>
                  <a:off x="6356634" y="7306583"/>
                  <a:ext cx="541104" cy="413656"/>
                </a:xfrm>
                <a:prstGeom prst="rect">
                  <a:avLst/>
                </a:prstGeom>
              </p:spPr>
            </p:pic>
          </p:grpSp>
          <p:sp>
            <p:nvSpPr>
              <p:cNvPr id="135" name="Rectangle 134">
                <a:hlinkClick r:id="rId11" action="ppaction://hlinksldjump"/>
              </p:cNvPr>
              <p:cNvSpPr/>
              <p:nvPr/>
            </p:nvSpPr>
            <p:spPr>
              <a:xfrm>
                <a:off x="5620896" y="7018349"/>
                <a:ext cx="2017060" cy="1303459"/>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23" name="Group 122"/>
            <p:cNvGrpSpPr/>
            <p:nvPr/>
          </p:nvGrpSpPr>
          <p:grpSpPr>
            <a:xfrm>
              <a:off x="2566819" y="7007713"/>
              <a:ext cx="2017060" cy="1303459"/>
              <a:chOff x="1524674" y="7034607"/>
              <a:chExt cx="2017060" cy="1303459"/>
            </a:xfrm>
          </p:grpSpPr>
          <p:grpSp>
            <p:nvGrpSpPr>
              <p:cNvPr id="129" name="Group 128"/>
              <p:cNvGrpSpPr/>
              <p:nvPr/>
            </p:nvGrpSpPr>
            <p:grpSpPr>
              <a:xfrm>
                <a:off x="1637342" y="7134804"/>
                <a:ext cx="1808618" cy="1109133"/>
                <a:chOff x="1637342" y="7134804"/>
                <a:chExt cx="1808618" cy="1109133"/>
              </a:xfrm>
            </p:grpSpPr>
            <p:sp>
              <p:nvSpPr>
                <p:cNvPr id="131" name="Rounded Rectangle 130">
                  <a:hlinkClick r:id="rId14" action="ppaction://hlinksldjump"/>
                </p:cNvPr>
                <p:cNvSpPr/>
                <p:nvPr/>
              </p:nvSpPr>
              <p:spPr>
                <a:xfrm>
                  <a:off x="1653019" y="7134804"/>
                  <a:ext cx="1752600" cy="1109133"/>
                </a:xfrm>
                <a:prstGeom prst="roundRect">
                  <a:avLst>
                    <a:gd name="adj" fmla="val 5377"/>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32" name="TextBox 131">
                  <a:hlinkClick r:id="rId14" action="ppaction://hlinksldjump"/>
                </p:cNvPr>
                <p:cNvSpPr txBox="1"/>
                <p:nvPr/>
              </p:nvSpPr>
              <p:spPr>
                <a:xfrm>
                  <a:off x="1637342" y="7699721"/>
                  <a:ext cx="1808618" cy="461665"/>
                </a:xfrm>
                <a:prstGeom prst="rect">
                  <a:avLst/>
                </a:prstGeom>
                <a:noFill/>
              </p:spPr>
              <p:txBody>
                <a:bodyPr wrap="square" rtlCol="0">
                  <a:spAutoFit/>
                </a:bodyPr>
                <a:lstStyle/>
                <a:p>
                  <a:pPr algn="ctr" fontAlgn="auto">
                    <a:spcBef>
                      <a:spcPts val="0"/>
                    </a:spcBef>
                    <a:spcAft>
                      <a:spcPts val="0"/>
                    </a:spcAft>
                    <a:defRPr/>
                  </a:pPr>
                  <a:r>
                    <a:rPr lang="en-GB" sz="1200" kern="0" dirty="0" err="1">
                      <a:solidFill>
                        <a:srgbClr val="FFFFFF"/>
                      </a:solidFill>
                      <a:latin typeface="Arial"/>
                      <a:cs typeface="Arial"/>
                    </a:rPr>
                    <a:t>Dapagliflozin</a:t>
                  </a:r>
                  <a:r>
                    <a:rPr lang="en-GB" sz="1200" kern="0" dirty="0">
                      <a:solidFill>
                        <a:srgbClr val="FFFFFF"/>
                      </a:solidFill>
                      <a:latin typeface="Arial"/>
                      <a:cs typeface="Arial"/>
                    </a:rPr>
                    <a:t>: </a:t>
                  </a:r>
                  <a:br>
                    <a:rPr lang="en-GB" sz="1200" kern="0" dirty="0">
                      <a:solidFill>
                        <a:srgbClr val="FFFFFF"/>
                      </a:solidFill>
                      <a:latin typeface="Arial"/>
                      <a:cs typeface="Arial"/>
                    </a:rPr>
                  </a:br>
                  <a:r>
                    <a:rPr lang="en-GB" sz="1200" kern="0" dirty="0">
                      <a:solidFill>
                        <a:srgbClr val="FFFFFF"/>
                      </a:solidFill>
                      <a:latin typeface="Arial"/>
                      <a:cs typeface="Arial"/>
                    </a:rPr>
                    <a:t>CV risk reduction</a:t>
                  </a:r>
                </a:p>
              </p:txBody>
            </p:sp>
            <p:pic>
              <p:nvPicPr>
                <p:cNvPr id="133" name="Picture 132"/>
                <p:cNvPicPr>
                  <a:picLocks noChangeAspect="1"/>
                </p:cNvPicPr>
                <p:nvPr/>
              </p:nvPicPr>
              <p:blipFill>
                <a:blip r:embed="rId15"/>
                <a:stretch>
                  <a:fillRect/>
                </a:stretch>
              </p:blipFill>
              <p:spPr>
                <a:xfrm>
                  <a:off x="2308778" y="7283957"/>
                  <a:ext cx="420976" cy="383556"/>
                </a:xfrm>
                <a:prstGeom prst="rect">
                  <a:avLst/>
                </a:prstGeom>
              </p:spPr>
            </p:pic>
          </p:grpSp>
          <p:sp>
            <p:nvSpPr>
              <p:cNvPr id="130" name="Rectangle 129">
                <a:hlinkClick r:id="rId4" action="ppaction://hlinksldjump"/>
              </p:cNvPr>
              <p:cNvSpPr/>
              <p:nvPr/>
            </p:nvSpPr>
            <p:spPr>
              <a:xfrm>
                <a:off x="1524674" y="7034607"/>
                <a:ext cx="2017060" cy="1303459"/>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24" name="Group 123"/>
            <p:cNvGrpSpPr/>
            <p:nvPr/>
          </p:nvGrpSpPr>
          <p:grpSpPr>
            <a:xfrm>
              <a:off x="509418" y="7010746"/>
              <a:ext cx="2017060" cy="1303459"/>
              <a:chOff x="509418" y="7010746"/>
              <a:chExt cx="2017060" cy="1303459"/>
            </a:xfrm>
          </p:grpSpPr>
          <p:sp>
            <p:nvSpPr>
              <p:cNvPr id="125" name="Rounded Rectangle 124">
                <a:hlinkClick r:id="rId14" action="ppaction://hlinksldjump"/>
              </p:cNvPr>
              <p:cNvSpPr/>
              <p:nvPr/>
            </p:nvSpPr>
            <p:spPr>
              <a:xfrm>
                <a:off x="641648" y="7110943"/>
                <a:ext cx="1752600" cy="1109133"/>
              </a:xfrm>
              <a:prstGeom prst="roundRect">
                <a:avLst>
                  <a:gd name="adj" fmla="val 5377"/>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26" name="TextBox 125">
                <a:hlinkClick r:id="rId14" action="ppaction://hlinksldjump"/>
              </p:cNvPr>
              <p:cNvSpPr txBox="1"/>
              <p:nvPr/>
            </p:nvSpPr>
            <p:spPr>
              <a:xfrm>
                <a:off x="613639" y="7765159"/>
                <a:ext cx="1808618" cy="276999"/>
              </a:xfrm>
              <a:prstGeom prst="rect">
                <a:avLst/>
              </a:prstGeom>
              <a:noFill/>
            </p:spPr>
            <p:txBody>
              <a:bodyPr wrap="square" rtlCol="0">
                <a:spAutoFit/>
              </a:bodyPr>
              <a:lstStyle/>
              <a:p>
                <a:pPr algn="ctr" fontAlgn="auto">
                  <a:spcBef>
                    <a:spcPts val="0"/>
                  </a:spcBef>
                  <a:spcAft>
                    <a:spcPts val="0"/>
                  </a:spcAft>
                  <a:defRPr/>
                </a:pPr>
                <a:r>
                  <a:rPr lang="en-GB" sz="1200" kern="0" dirty="0">
                    <a:solidFill>
                      <a:srgbClr val="FFFFFF"/>
                    </a:solidFill>
                    <a:latin typeface="Arial"/>
                    <a:cs typeface="Arial"/>
                  </a:rPr>
                  <a:t>Home</a:t>
                </a:r>
              </a:p>
            </p:txBody>
          </p:sp>
          <p:sp>
            <p:nvSpPr>
              <p:cNvPr id="127" name="Rectangle 126">
                <a:hlinkClick r:id="rId14" action="ppaction://hlinksldjump"/>
              </p:cNvPr>
              <p:cNvSpPr/>
              <p:nvPr/>
            </p:nvSpPr>
            <p:spPr>
              <a:xfrm>
                <a:off x="509418" y="7010746"/>
                <a:ext cx="2017060" cy="1303459"/>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8" name="Picture 127"/>
              <p:cNvPicPr>
                <a:picLocks noChangeAspect="1"/>
              </p:cNvPicPr>
              <p:nvPr/>
            </p:nvPicPr>
            <p:blipFill>
              <a:blip r:embed="rId16"/>
              <a:stretch>
                <a:fillRect/>
              </a:stretch>
            </p:blipFill>
            <p:spPr>
              <a:xfrm>
                <a:off x="1329286" y="7282117"/>
                <a:ext cx="377325" cy="377325"/>
              </a:xfrm>
              <a:prstGeom prst="rect">
                <a:avLst/>
              </a:prstGeom>
            </p:spPr>
          </p:pic>
        </p:grpSp>
      </p:grpSp>
      <p:grpSp>
        <p:nvGrpSpPr>
          <p:cNvPr id="173" name="Group 172"/>
          <p:cNvGrpSpPr/>
          <p:nvPr/>
        </p:nvGrpSpPr>
        <p:grpSpPr>
          <a:xfrm>
            <a:off x="8738549" y="6490935"/>
            <a:ext cx="227391" cy="210659"/>
            <a:chOff x="8738548" y="6484320"/>
            <a:chExt cx="227391" cy="210659"/>
          </a:xfrm>
        </p:grpSpPr>
        <p:sp>
          <p:nvSpPr>
            <p:cNvPr id="174" name="Rounded Rectangle 173"/>
            <p:cNvSpPr/>
            <p:nvPr/>
          </p:nvSpPr>
          <p:spPr>
            <a:xfrm>
              <a:off x="8738548" y="6571045"/>
              <a:ext cx="227391" cy="37208"/>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75" name="Rounded Rectangle 174"/>
            <p:cNvSpPr/>
            <p:nvPr/>
          </p:nvSpPr>
          <p:spPr>
            <a:xfrm rot="10800000">
              <a:off x="8738549" y="6657770"/>
              <a:ext cx="227390" cy="3720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76" name="Rounded Rectangle 175"/>
            <p:cNvSpPr/>
            <p:nvPr/>
          </p:nvSpPr>
          <p:spPr>
            <a:xfrm>
              <a:off x="8738548" y="6484320"/>
              <a:ext cx="227391" cy="37208"/>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sp>
        <p:nvSpPr>
          <p:cNvPr id="177" name="Rectangle 176"/>
          <p:cNvSpPr/>
          <p:nvPr/>
        </p:nvSpPr>
        <p:spPr>
          <a:xfrm>
            <a:off x="8448833" y="6212038"/>
            <a:ext cx="699247" cy="632012"/>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nvGrpSpPr>
          <p:cNvPr id="178" name="Group 177"/>
          <p:cNvGrpSpPr/>
          <p:nvPr/>
        </p:nvGrpSpPr>
        <p:grpSpPr>
          <a:xfrm>
            <a:off x="8728260" y="4918564"/>
            <a:ext cx="237680" cy="237680"/>
            <a:chOff x="8708987" y="6451605"/>
            <a:chExt cx="295972" cy="295972"/>
          </a:xfrm>
        </p:grpSpPr>
        <p:sp>
          <p:nvSpPr>
            <p:cNvPr id="179" name="Rounded Rectangle 178"/>
            <p:cNvSpPr/>
            <p:nvPr/>
          </p:nvSpPr>
          <p:spPr>
            <a:xfrm rot="2700000">
              <a:off x="8708987" y="6576731"/>
              <a:ext cx="295972"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80" name="Rounded Rectangle 179"/>
            <p:cNvSpPr/>
            <p:nvPr/>
          </p:nvSpPr>
          <p:spPr>
            <a:xfrm rot="8100000">
              <a:off x="8708987" y="6576731"/>
              <a:ext cx="295972" cy="45719"/>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sp>
        <p:nvSpPr>
          <p:cNvPr id="181" name="Rectangle 180"/>
          <p:cNvSpPr/>
          <p:nvPr/>
        </p:nvSpPr>
        <p:spPr>
          <a:xfrm>
            <a:off x="8448833" y="4648553"/>
            <a:ext cx="699247" cy="756663"/>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18" name="Rectangle 117">
            <a:hlinkClick r:id="" action="ppaction://noaction"/>
          </p:cNvPr>
          <p:cNvSpPr/>
          <p:nvPr/>
        </p:nvSpPr>
        <p:spPr>
          <a:xfrm>
            <a:off x="3350923" y="5248478"/>
            <a:ext cx="2076254" cy="794515"/>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dirty="0">
              <a:solidFill>
                <a:srgbClr val="FFFFFF"/>
              </a:solidFill>
            </a:endParaRPr>
          </a:p>
        </p:txBody>
      </p:sp>
    </p:spTree>
    <p:extLst>
      <p:ext uri="{BB962C8B-B14F-4D97-AF65-F5344CB8AC3E}">
        <p14:creationId xmlns:p14="http://schemas.microsoft.com/office/powerpoint/2010/main" val="299528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77"/>
                    </p:tgtEl>
                  </p:cond>
                </p:stCondLst>
                <p:endSync evt="end" delay="0">
                  <p:rtn val="all"/>
                </p:endSync>
                <p:childTnLst>
                  <p:par>
                    <p:cTn id="3" fill="hold">
                      <p:stCondLst>
                        <p:cond delay="0"/>
                      </p:stCondLst>
                      <p:childTnLst>
                        <p:par>
                          <p:cTn id="4" fill="hold">
                            <p:stCondLst>
                              <p:cond delay="0"/>
                            </p:stCondLst>
                            <p:childTnLst>
                              <p:par>
                                <p:cTn id="5" presetID="64" presetClass="path" presetSubtype="0" accel="50000" decel="50000" fill="hold" nodeType="clickEffect">
                                  <p:stCondLst>
                                    <p:cond delay="0"/>
                                  </p:stCondLst>
                                  <p:childTnLst>
                                    <p:animMotion origin="layout" path="M -2.77778E-6 1.85185E-6 L -2.77778E-6 -0.22639 " pathEditMode="relative" rAng="0" ptsTypes="AA">
                                      <p:cBhvr>
                                        <p:cTn id="6" dur="500" fill="hold"/>
                                        <p:tgtEl>
                                          <p:spTgt spid="101"/>
                                        </p:tgtEl>
                                        <p:attrNameLst>
                                          <p:attrName>ppt_x</p:attrName>
                                          <p:attrName>ppt_y</p:attrName>
                                        </p:attrNameLst>
                                      </p:cBhvr>
                                      <p:rCtr x="0" y="-11319"/>
                                    </p:animMotion>
                                  </p:childTnLst>
                                </p:cTn>
                              </p:par>
                              <p:par>
                                <p:cTn id="7" presetID="10" presetClass="exit" presetSubtype="0" fill="hold" nodeType="withEffect">
                                  <p:stCondLst>
                                    <p:cond delay="0"/>
                                  </p:stCondLst>
                                  <p:childTnLst>
                                    <p:animEffect transition="out" filter="fade">
                                      <p:cBhvr>
                                        <p:cTn id="8" dur="500"/>
                                        <p:tgtEl>
                                          <p:spTgt spid="173"/>
                                        </p:tgtEl>
                                      </p:cBhvr>
                                    </p:animEffect>
                                    <p:set>
                                      <p:cBhvr>
                                        <p:cTn id="9" dur="1" fill="hold">
                                          <p:stCondLst>
                                            <p:cond delay="499"/>
                                          </p:stCondLst>
                                        </p:cTn>
                                        <p:tgtEl>
                                          <p:spTgt spid="173"/>
                                        </p:tgtEl>
                                        <p:attrNameLst>
                                          <p:attrName>style.visibility</p:attrName>
                                        </p:attrNameLst>
                                      </p:cBhvr>
                                      <p:to>
                                        <p:strVal val="hidden"/>
                                      </p:to>
                                    </p:set>
                                  </p:childTnLst>
                                </p:cTn>
                              </p:par>
                              <p:par>
                                <p:cTn id="10" presetID="10" presetClass="entr" presetSubtype="0" fill="hold" nodeType="withEffect">
                                  <p:stCondLst>
                                    <p:cond delay="300"/>
                                  </p:stCondLst>
                                  <p:childTnLst>
                                    <p:set>
                                      <p:cBhvr>
                                        <p:cTn id="11" dur="1" fill="hold">
                                          <p:stCondLst>
                                            <p:cond delay="0"/>
                                          </p:stCondLst>
                                        </p:cTn>
                                        <p:tgtEl>
                                          <p:spTgt spid="178"/>
                                        </p:tgtEl>
                                        <p:attrNameLst>
                                          <p:attrName>style.visibility</p:attrName>
                                        </p:attrNameLst>
                                      </p:cBhvr>
                                      <p:to>
                                        <p:strVal val="visible"/>
                                      </p:to>
                                    </p:set>
                                    <p:animEffect transition="in" filter="fade">
                                      <p:cBhvr>
                                        <p:cTn id="12" dur="500"/>
                                        <p:tgtEl>
                                          <p:spTgt spid="178"/>
                                        </p:tgtEl>
                                      </p:cBhvr>
                                    </p:animEffect>
                                  </p:childTnLst>
                                </p:cTn>
                              </p:par>
                            </p:childTnLst>
                          </p:cTn>
                        </p:par>
                      </p:childTnLst>
                    </p:cTn>
                  </p:par>
                </p:childTnLst>
              </p:cTn>
              <p:nextCondLst>
                <p:cond evt="onClick" delay="0">
                  <p:tgtEl>
                    <p:spTgt spid="177"/>
                  </p:tgtEl>
                </p:cond>
              </p:nextCondLst>
            </p:seq>
            <p:seq concurrent="1" nextAc="seek">
              <p:cTn id="13" restart="whenNotActive" fill="hold" evtFilter="cancelBubble" nodeType="interactiveSeq">
                <p:stCondLst>
                  <p:cond evt="onClick" delay="0">
                    <p:tgtEl>
                      <p:spTgt spid="181"/>
                    </p:tgtEl>
                  </p:cond>
                </p:stCondLst>
                <p:endSync evt="end" delay="0">
                  <p:rtn val="all"/>
                </p:endSync>
                <p:childTnLst>
                  <p:par>
                    <p:cTn id="14" fill="hold">
                      <p:stCondLst>
                        <p:cond delay="0"/>
                      </p:stCondLst>
                      <p:childTnLst>
                        <p:par>
                          <p:cTn id="15" fill="hold">
                            <p:stCondLst>
                              <p:cond delay="0"/>
                            </p:stCondLst>
                            <p:childTnLst>
                              <p:par>
                                <p:cTn id="16" presetID="42" presetClass="path" presetSubtype="0" accel="50000" decel="50000" fill="hold" nodeType="clickEffect">
                                  <p:stCondLst>
                                    <p:cond delay="0"/>
                                  </p:stCondLst>
                                  <p:childTnLst>
                                    <p:animMotion origin="layout" path="M -2.77778E-6 -0.22639 L -2.77778E-6 -0.00023 " pathEditMode="relative" rAng="0" ptsTypes="AA">
                                      <p:cBhvr>
                                        <p:cTn id="17" dur="500" fill="hold"/>
                                        <p:tgtEl>
                                          <p:spTgt spid="101"/>
                                        </p:tgtEl>
                                        <p:attrNameLst>
                                          <p:attrName>ppt_x</p:attrName>
                                          <p:attrName>ppt_y</p:attrName>
                                        </p:attrNameLst>
                                      </p:cBhvr>
                                      <p:rCtr x="0" y="11296"/>
                                    </p:animMotion>
                                  </p:childTnLst>
                                </p:cTn>
                              </p:par>
                              <p:par>
                                <p:cTn id="18" presetID="10" presetClass="exit" presetSubtype="0" fill="hold" nodeType="withEffect">
                                  <p:stCondLst>
                                    <p:cond delay="0"/>
                                  </p:stCondLst>
                                  <p:childTnLst>
                                    <p:animEffect transition="out" filter="fade">
                                      <p:cBhvr>
                                        <p:cTn id="19" dur="500"/>
                                        <p:tgtEl>
                                          <p:spTgt spid="178"/>
                                        </p:tgtEl>
                                      </p:cBhvr>
                                    </p:animEffect>
                                    <p:set>
                                      <p:cBhvr>
                                        <p:cTn id="20" dur="1" fill="hold">
                                          <p:stCondLst>
                                            <p:cond delay="499"/>
                                          </p:stCondLst>
                                        </p:cTn>
                                        <p:tgtEl>
                                          <p:spTgt spid="178"/>
                                        </p:tgtEl>
                                        <p:attrNameLst>
                                          <p:attrName>style.visibility</p:attrName>
                                        </p:attrNameLst>
                                      </p:cBhvr>
                                      <p:to>
                                        <p:strVal val="hidden"/>
                                      </p:to>
                                    </p:set>
                                  </p:childTnLst>
                                </p:cTn>
                              </p:par>
                              <p:par>
                                <p:cTn id="21" presetID="10" presetClass="entr" presetSubtype="0" fill="hold" nodeType="withEffect">
                                  <p:stCondLst>
                                    <p:cond delay="300"/>
                                  </p:stCondLst>
                                  <p:childTnLst>
                                    <p:set>
                                      <p:cBhvr>
                                        <p:cTn id="22" dur="1" fill="hold">
                                          <p:stCondLst>
                                            <p:cond delay="0"/>
                                          </p:stCondLst>
                                        </p:cTn>
                                        <p:tgtEl>
                                          <p:spTgt spid="173"/>
                                        </p:tgtEl>
                                        <p:attrNameLst>
                                          <p:attrName>style.visibility</p:attrName>
                                        </p:attrNameLst>
                                      </p:cBhvr>
                                      <p:to>
                                        <p:strVal val="visible"/>
                                      </p:to>
                                    </p:set>
                                    <p:animEffect transition="in" filter="fade">
                                      <p:cBhvr>
                                        <p:cTn id="23" dur="500"/>
                                        <p:tgtEl>
                                          <p:spTgt spid="173"/>
                                        </p:tgtEl>
                                      </p:cBhvr>
                                    </p:animEffect>
                                  </p:childTnLst>
                                </p:cTn>
                              </p:par>
                            </p:childTnLst>
                          </p:cTn>
                        </p:par>
                      </p:childTnLst>
                    </p:cTn>
                  </p:par>
                </p:childTnLst>
              </p:cTn>
              <p:nextCondLst>
                <p:cond evt="onClick" delay="0">
                  <p:tgtEl>
                    <p:spTgt spid="181"/>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895F43D4-1217-2B49-82F3-469BD80267EF}" type="slidenum">
              <a:rPr lang="en-US" smtClean="0"/>
              <a:pPr/>
              <a:t>18</a:t>
            </a:fld>
            <a:endParaRPr lang="en-US" dirty="0"/>
          </a:p>
        </p:txBody>
      </p:sp>
      <p:pic>
        <p:nvPicPr>
          <p:cNvPr id="4" name="Picture 3"/>
          <p:cNvPicPr>
            <a:picLocks noChangeAspect="1"/>
          </p:cNvPicPr>
          <p:nvPr>
            <p:custDataLst>
              <p:tags r:id="rId1"/>
            </p:custDataLst>
          </p:nvPr>
        </p:nvPicPr>
        <p:blipFill>
          <a:blip r:embed="rId3" cstate="screen">
            <a:extLst>
              <a:ext uri="{28A0092B-C50C-407E-A947-70E740481C1C}">
                <a14:useLocalDpi xmlns:a14="http://schemas.microsoft.com/office/drawing/2010/main"/>
              </a:ext>
            </a:extLst>
          </a:blip>
          <a:stretch>
            <a:fillRect/>
          </a:stretch>
        </p:blipFill>
        <p:spPr>
          <a:xfrm>
            <a:off x="0" y="9427"/>
            <a:ext cx="9144000" cy="6858000"/>
          </a:xfrm>
          <a:prstGeom prst="rect">
            <a:avLst/>
          </a:prstGeom>
        </p:spPr>
      </p:pic>
      <p:sp>
        <p:nvSpPr>
          <p:cNvPr id="5" name="Obdélník 4"/>
          <p:cNvSpPr/>
          <p:nvPr/>
        </p:nvSpPr>
        <p:spPr>
          <a:xfrm>
            <a:off x="130543" y="-27384"/>
            <a:ext cx="8833945" cy="1323439"/>
          </a:xfrm>
          <a:prstGeom prst="rect">
            <a:avLst/>
          </a:prstGeom>
          <a:solidFill>
            <a:schemeClr val="bg1"/>
          </a:solidFill>
        </p:spPr>
        <p:txBody>
          <a:bodyPr wrap="square">
            <a:spAutoFit/>
          </a:bodyPr>
          <a:lstStyle/>
          <a:p>
            <a:pPr algn="ctr"/>
            <a:r>
              <a:rPr lang="cs-CZ" sz="3200" b="1" dirty="0" err="1"/>
              <a:t>Canagliflozin</a:t>
            </a:r>
            <a:r>
              <a:rPr lang="cs-CZ" sz="3200" b="1" dirty="0"/>
              <a:t> studie CANVAS: </a:t>
            </a:r>
          </a:p>
          <a:p>
            <a:pPr algn="ctr"/>
            <a:r>
              <a:rPr lang="cs-CZ" dirty="0"/>
              <a:t>p</a:t>
            </a:r>
            <a:r>
              <a:rPr lang="cs-CZ" b="1" dirty="0"/>
              <a:t>rimární kombinovaný cíl: smrt z KV příčin, nefatální IM nefatální CMP</a:t>
            </a:r>
            <a:endParaRPr lang="cs-CZ" dirty="0"/>
          </a:p>
        </p:txBody>
      </p:sp>
      <p:sp>
        <p:nvSpPr>
          <p:cNvPr id="6" name="TextovéPole 5"/>
          <p:cNvSpPr txBox="1"/>
          <p:nvPr/>
        </p:nvSpPr>
        <p:spPr>
          <a:xfrm>
            <a:off x="6114003" y="2930595"/>
            <a:ext cx="3029997" cy="1015663"/>
          </a:xfrm>
          <a:prstGeom prst="rect">
            <a:avLst/>
          </a:prstGeom>
          <a:noFill/>
          <a:ln w="47625">
            <a:solidFill>
              <a:srgbClr val="92D050"/>
            </a:solidFill>
          </a:ln>
        </p:spPr>
        <p:txBody>
          <a:bodyPr wrap="none" rtlCol="0">
            <a:spAutoFit/>
          </a:bodyPr>
          <a:lstStyle/>
          <a:p>
            <a:r>
              <a:rPr lang="cs-CZ" sz="2000" dirty="0"/>
              <a:t>Podobné výsledky –</a:t>
            </a:r>
          </a:p>
          <a:p>
            <a:r>
              <a:rPr lang="cs-CZ" sz="2000" dirty="0" err="1"/>
              <a:t>Empagliflozin</a:t>
            </a:r>
            <a:r>
              <a:rPr lang="cs-CZ" sz="2000" dirty="0"/>
              <a:t> ve studii </a:t>
            </a:r>
          </a:p>
          <a:p>
            <a:r>
              <a:rPr lang="cs-CZ" sz="2000" dirty="0"/>
              <a:t>EMPAREG</a:t>
            </a:r>
          </a:p>
        </p:txBody>
      </p:sp>
    </p:spTree>
    <p:extLst>
      <p:ext uri="{BB962C8B-B14F-4D97-AF65-F5344CB8AC3E}">
        <p14:creationId xmlns:p14="http://schemas.microsoft.com/office/powerpoint/2010/main" val="19646147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0" y="5634807"/>
            <a:ext cx="9144000" cy="713155"/>
          </a:xfrm>
          <a:prstGeom prst="roundRect">
            <a:avLst>
              <a:gd name="adj" fmla="val 0"/>
            </a:avLst>
          </a:prstGeom>
          <a:solidFill>
            <a:schemeClr val="bg1">
              <a:lumMod val="85000"/>
            </a:schemeClr>
          </a:solidFill>
          <a:ln w="571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rgbClr val="000000"/>
                </a:solidFill>
              </a:rPr>
              <a:t>DECLARE – </a:t>
            </a:r>
            <a:r>
              <a:rPr lang="en-US" sz="1200" dirty="0" err="1">
                <a:solidFill>
                  <a:srgbClr val="000000"/>
                </a:solidFill>
              </a:rPr>
              <a:t>Dapagliflozin</a:t>
            </a:r>
            <a:r>
              <a:rPr lang="en-US" sz="1200" dirty="0">
                <a:solidFill>
                  <a:srgbClr val="000000"/>
                </a:solidFill>
              </a:rPr>
              <a:t> Effects on </a:t>
            </a:r>
            <a:r>
              <a:rPr lang="en-US" sz="1200" dirty="0" err="1">
                <a:solidFill>
                  <a:srgbClr val="000000"/>
                </a:solidFill>
              </a:rPr>
              <a:t>CardiovascuLAR</a:t>
            </a:r>
            <a:r>
              <a:rPr lang="en-US" sz="1200" dirty="0">
                <a:solidFill>
                  <a:srgbClr val="000000"/>
                </a:solidFill>
              </a:rPr>
              <a:t> Events.</a:t>
            </a:r>
          </a:p>
          <a:p>
            <a:pPr algn="ctr"/>
            <a:r>
              <a:rPr lang="en-US" sz="1200" dirty="0">
                <a:solidFill>
                  <a:srgbClr val="000000"/>
                </a:solidFill>
              </a:rPr>
              <a:t>A multicenter trial to evaluate the effect of </a:t>
            </a:r>
            <a:r>
              <a:rPr lang="en-US" sz="1200" dirty="0" err="1">
                <a:solidFill>
                  <a:srgbClr val="000000"/>
                </a:solidFill>
              </a:rPr>
              <a:t>dapagliflozin</a:t>
            </a:r>
            <a:r>
              <a:rPr lang="en-US" sz="1200" dirty="0">
                <a:solidFill>
                  <a:srgbClr val="000000"/>
                </a:solidFill>
              </a:rPr>
              <a:t> on the incidence of CV events.</a:t>
            </a:r>
          </a:p>
        </p:txBody>
      </p:sp>
      <p:sp>
        <p:nvSpPr>
          <p:cNvPr id="4" name="Title 3"/>
          <p:cNvSpPr>
            <a:spLocks noGrp="1"/>
          </p:cNvSpPr>
          <p:nvPr>
            <p:ph type="title"/>
          </p:nvPr>
        </p:nvSpPr>
        <p:spPr>
          <a:xfrm>
            <a:off x="237064" y="193444"/>
            <a:ext cx="8728879" cy="414000"/>
          </a:xfrm>
        </p:spPr>
        <p:txBody>
          <a:bodyPr/>
          <a:lstStyle/>
          <a:p>
            <a:r>
              <a:rPr lang="cs-CZ" altLang="en-US" dirty="0">
                <a:solidFill>
                  <a:schemeClr val="tx1"/>
                </a:solidFill>
              </a:rPr>
              <a:t>Studie </a:t>
            </a:r>
            <a:r>
              <a:rPr lang="en-GB" altLang="en-US" dirty="0">
                <a:solidFill>
                  <a:schemeClr val="tx1"/>
                </a:solidFill>
              </a:rPr>
              <a:t>DECLARE</a:t>
            </a:r>
            <a:r>
              <a:rPr lang="cs-CZ" altLang="en-US" dirty="0">
                <a:solidFill>
                  <a:schemeClr val="tx1"/>
                </a:solidFill>
              </a:rPr>
              <a:t>: vliv </a:t>
            </a:r>
            <a:r>
              <a:rPr lang="cs-CZ" altLang="en-US" dirty="0" err="1">
                <a:solidFill>
                  <a:schemeClr val="tx1"/>
                </a:solidFill>
              </a:rPr>
              <a:t>dapagliflozinu</a:t>
            </a:r>
            <a:r>
              <a:rPr lang="cs-CZ" altLang="en-US" dirty="0">
                <a:solidFill>
                  <a:schemeClr val="tx1"/>
                </a:solidFill>
              </a:rPr>
              <a:t> KV komplikace</a:t>
            </a:r>
            <a:r>
              <a:rPr lang="en-GB" altLang="en-US" baseline="30000" dirty="0">
                <a:solidFill>
                  <a:schemeClr val="tx1"/>
                </a:solidFill>
              </a:rPr>
              <a:t>1-3</a:t>
            </a:r>
            <a:endParaRPr lang="en-GB" baseline="30000" dirty="0">
              <a:solidFill>
                <a:schemeClr val="tx1"/>
              </a:solidFill>
            </a:endParaRPr>
          </a:p>
        </p:txBody>
      </p:sp>
      <p:sp>
        <p:nvSpPr>
          <p:cNvPr id="58" name="Text Placeholder 36"/>
          <p:cNvSpPr txBox="1">
            <a:spLocks/>
          </p:cNvSpPr>
          <p:nvPr/>
        </p:nvSpPr>
        <p:spPr>
          <a:xfrm>
            <a:off x="90713" y="6460135"/>
            <a:ext cx="7542327" cy="328084"/>
          </a:xfrm>
          <a:prstGeom prst="rect">
            <a:avLst/>
          </a:prstGeom>
        </p:spPr>
        <p:txBody>
          <a:bodyPr lIns="0" tIns="0" rIns="0" bIns="0" anchor="b"/>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buNone/>
            </a:pPr>
            <a:r>
              <a:rPr lang="en-GB" altLang="en-US" sz="600" b="0" dirty="0">
                <a:solidFill>
                  <a:srgbClr val="000000"/>
                </a:solidFill>
              </a:rPr>
              <a:t>CV=cardiovascular; DM=diabetes mellitus; MI=myocardial infarction; T2DM=type 2 diabetes mellitus.</a:t>
            </a:r>
          </a:p>
          <a:p>
            <a:pPr marL="0" indent="0">
              <a:spcBef>
                <a:spcPct val="0"/>
              </a:spcBef>
              <a:buNone/>
            </a:pPr>
            <a:r>
              <a:rPr lang="en-GB" altLang="en-US" sz="600" b="0" dirty="0">
                <a:solidFill>
                  <a:srgbClr val="000000"/>
                </a:solidFill>
              </a:rPr>
              <a:t>1. Clinicaltrials.gov. </a:t>
            </a:r>
            <a:r>
              <a:rPr lang="en-GB" altLang="en-US" sz="600" b="0" dirty="0">
                <a:solidFill>
                  <a:srgbClr val="000000"/>
                </a:solidFill>
                <a:hlinkClick r:id="rId3"/>
              </a:rPr>
              <a:t>https://clinicaltrials.gov/ct2/show/NCT01730534. Accessed March 2016</a:t>
            </a:r>
            <a:r>
              <a:rPr lang="en-GB" altLang="en-US" sz="600" b="0" dirty="0">
                <a:solidFill>
                  <a:srgbClr val="000000"/>
                </a:solidFill>
              </a:rPr>
              <a:t>. 2. US Food and Drug Administration. http://www.fda.gov/downloads/AdvisoryCommittees/CommitteesMeetingMaterials/Drugs/EndocrinologicandMetabolicDrugsAdvisoryCommittee/UCM379659.pdf. Accessed March 2016. 3. TIMI Study Group. http://www.timi.org/index.php?page=declare-timi-58. Accessed March 2016. </a:t>
            </a:r>
          </a:p>
        </p:txBody>
      </p:sp>
      <p:grpSp>
        <p:nvGrpSpPr>
          <p:cNvPr id="80" name="Group 79"/>
          <p:cNvGrpSpPr/>
          <p:nvPr/>
        </p:nvGrpSpPr>
        <p:grpSpPr>
          <a:xfrm>
            <a:off x="-5080" y="6341181"/>
            <a:ext cx="9149080" cy="2123647"/>
            <a:chOff x="-5080" y="6341166"/>
            <a:chExt cx="9149080" cy="2123647"/>
          </a:xfrm>
        </p:grpSpPr>
        <p:sp>
          <p:nvSpPr>
            <p:cNvPr id="81" name="Rounded Rectangle 80"/>
            <p:cNvSpPr/>
            <p:nvPr/>
          </p:nvSpPr>
          <p:spPr>
            <a:xfrm>
              <a:off x="8560487" y="6341166"/>
              <a:ext cx="583513" cy="672757"/>
            </a:xfrm>
            <a:prstGeom prst="roundRect">
              <a:avLst>
                <a:gd name="adj" fmla="val 0"/>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2" name="Rectangle 81"/>
            <p:cNvSpPr/>
            <p:nvPr/>
          </p:nvSpPr>
          <p:spPr>
            <a:xfrm>
              <a:off x="-5080" y="6864527"/>
              <a:ext cx="9149080" cy="1600286"/>
            </a:xfrm>
            <a:prstGeom prst="rect">
              <a:avLst/>
            </a:prstGeom>
            <a:solidFill>
              <a:schemeClr val="accent6">
                <a:lumMod val="7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Arial"/>
                <a:ea typeface="+mn-ea"/>
                <a:cs typeface="Arial"/>
              </a:endParaRPr>
            </a:p>
          </p:txBody>
        </p:sp>
        <p:grpSp>
          <p:nvGrpSpPr>
            <p:cNvPr id="83" name="Group 82"/>
            <p:cNvGrpSpPr/>
            <p:nvPr/>
          </p:nvGrpSpPr>
          <p:grpSpPr>
            <a:xfrm>
              <a:off x="4632510" y="7020271"/>
              <a:ext cx="2017060" cy="1303459"/>
              <a:chOff x="3590365" y="7047165"/>
              <a:chExt cx="2017060" cy="1303459"/>
            </a:xfrm>
          </p:grpSpPr>
          <p:grpSp>
            <p:nvGrpSpPr>
              <p:cNvPr id="103" name="Group 102"/>
              <p:cNvGrpSpPr/>
              <p:nvPr/>
            </p:nvGrpSpPr>
            <p:grpSpPr>
              <a:xfrm>
                <a:off x="3701953" y="7134804"/>
                <a:ext cx="1752600" cy="1109133"/>
                <a:chOff x="3701952" y="7143983"/>
                <a:chExt cx="1752600" cy="1109133"/>
              </a:xfrm>
            </p:grpSpPr>
            <p:sp>
              <p:nvSpPr>
                <p:cNvPr id="105" name="Rounded Rectangle 104">
                  <a:hlinkClick r:id="rId4" action="ppaction://hlinksldjump"/>
                </p:cNvPr>
                <p:cNvSpPr/>
                <p:nvPr/>
              </p:nvSpPr>
              <p:spPr>
                <a:xfrm>
                  <a:off x="3701952" y="7143983"/>
                  <a:ext cx="1752600" cy="1109133"/>
                </a:xfrm>
                <a:prstGeom prst="roundRect">
                  <a:avLst>
                    <a:gd name="adj" fmla="val 537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 name="TextBox 105">
                  <a:hlinkClick r:id="rId5" action="ppaction://hlinksldjump"/>
                </p:cNvPr>
                <p:cNvSpPr txBox="1"/>
                <p:nvPr/>
              </p:nvSpPr>
              <p:spPr>
                <a:xfrm>
                  <a:off x="3786420" y="7725464"/>
                  <a:ext cx="1583664"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dirty="0">
                      <a:solidFill>
                        <a:srgbClr val="FFFFFF"/>
                      </a:solidFill>
                    </a:rPr>
                    <a:t>SGLT2i: reduction of  CV events</a:t>
                  </a:r>
                  <a:endParaRPr lang="en-GB" sz="1200" kern="0" dirty="0">
                    <a:solidFill>
                      <a:srgbClr val="FFFFFF"/>
                    </a:solidFill>
                    <a:latin typeface="Arial"/>
                    <a:cs typeface="Arial"/>
                  </a:endParaRPr>
                </a:p>
              </p:txBody>
            </p:sp>
            <p:pic>
              <p:nvPicPr>
                <p:cNvPr id="107" name="Picture 106">
                  <a:hlinkClick r:id="rId4" action="ppaction://hlinksldjump"/>
                </p:cNvPr>
                <p:cNvPicPr>
                  <a:picLocks noChangeAspect="1"/>
                </p:cNvPicPr>
                <p:nvPr/>
              </p:nvPicPr>
              <p:blipFill>
                <a:blip r:embed="rId6"/>
                <a:stretch>
                  <a:fillRect/>
                </a:stretch>
              </p:blipFill>
              <p:spPr>
                <a:xfrm>
                  <a:off x="4385031" y="7322457"/>
                  <a:ext cx="386443" cy="386443"/>
                </a:xfrm>
                <a:prstGeom prst="rect">
                  <a:avLst/>
                </a:prstGeom>
              </p:spPr>
            </p:pic>
          </p:grpSp>
          <p:sp>
            <p:nvSpPr>
              <p:cNvPr id="104" name="Rectangle 103">
                <a:hlinkClick r:id="rId4" action="ppaction://hlinksldjump"/>
              </p:cNvPr>
              <p:cNvSpPr/>
              <p:nvPr/>
            </p:nvSpPr>
            <p:spPr>
              <a:xfrm>
                <a:off x="3590365" y="7047165"/>
                <a:ext cx="2017060" cy="1303459"/>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84" name="Group 83"/>
            <p:cNvGrpSpPr/>
            <p:nvPr/>
          </p:nvGrpSpPr>
          <p:grpSpPr>
            <a:xfrm>
              <a:off x="6663041" y="6991455"/>
              <a:ext cx="2017060" cy="1303459"/>
              <a:chOff x="5620896" y="7018349"/>
              <a:chExt cx="2017060" cy="1303459"/>
            </a:xfrm>
          </p:grpSpPr>
          <p:grpSp>
            <p:nvGrpSpPr>
              <p:cNvPr id="96" name="Group 95"/>
              <p:cNvGrpSpPr/>
              <p:nvPr/>
            </p:nvGrpSpPr>
            <p:grpSpPr>
              <a:xfrm>
                <a:off x="5750886" y="7134804"/>
                <a:ext cx="1752600" cy="1109133"/>
                <a:chOff x="5750886" y="7143983"/>
                <a:chExt cx="1752600" cy="1109133"/>
              </a:xfrm>
            </p:grpSpPr>
            <p:sp>
              <p:nvSpPr>
                <p:cNvPr id="98" name="Rounded Rectangle 97">
                  <a:hlinkClick r:id="rId5" action="ppaction://hlinksldjump"/>
                </p:cNvPr>
                <p:cNvSpPr/>
                <p:nvPr/>
              </p:nvSpPr>
              <p:spPr>
                <a:xfrm>
                  <a:off x="5750886" y="7143983"/>
                  <a:ext cx="1752600" cy="1109133"/>
                </a:xfrm>
                <a:prstGeom prst="roundRect">
                  <a:avLst>
                    <a:gd name="adj" fmla="val 5377"/>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9" name="TextBox 98">
                  <a:hlinkClick r:id="rId7" action="ppaction://hlinksldjump"/>
                </p:cNvPr>
                <p:cNvSpPr txBox="1"/>
                <p:nvPr/>
              </p:nvSpPr>
              <p:spPr>
                <a:xfrm>
                  <a:off x="5807232" y="7725464"/>
                  <a:ext cx="1639908" cy="461665"/>
                </a:xfrm>
                <a:prstGeom prst="rect">
                  <a:avLst/>
                </a:prstGeom>
                <a:noFill/>
              </p:spPr>
              <p:txBody>
                <a:bodyPr wrap="square" lIns="0" rIns="0" rtlCol="0">
                  <a:spAutoFit/>
                </a:bodyPr>
                <a:lstStyle/>
                <a:p>
                  <a:pPr algn="ctr" fontAlgn="auto">
                    <a:spcBef>
                      <a:spcPts val="0"/>
                    </a:spcBef>
                    <a:spcAft>
                      <a:spcPts val="0"/>
                    </a:spcAft>
                    <a:defRPr/>
                  </a:pPr>
                  <a:r>
                    <a:rPr lang="en-GB" sz="1200" dirty="0" err="1">
                      <a:solidFill>
                        <a:srgbClr val="FFFFFF"/>
                      </a:solidFill>
                    </a:rPr>
                    <a:t>Dapagliflozin</a:t>
                  </a:r>
                  <a:r>
                    <a:rPr lang="en-GB" sz="1200" dirty="0">
                      <a:solidFill>
                        <a:srgbClr val="FFFFFF"/>
                      </a:solidFill>
                    </a:rPr>
                    <a:t>:</a:t>
                  </a:r>
                  <a:br>
                    <a:rPr lang="en-GB" sz="1200" dirty="0">
                      <a:solidFill>
                        <a:srgbClr val="FFFFFF"/>
                      </a:solidFill>
                    </a:rPr>
                  </a:br>
                  <a:r>
                    <a:rPr lang="en-GB" sz="1200" dirty="0" err="1">
                      <a:solidFill>
                        <a:srgbClr val="FFFFFF"/>
                      </a:solidFill>
                    </a:rPr>
                    <a:t>Nephroprotection</a:t>
                  </a:r>
                  <a:endParaRPr lang="en-GB" sz="1200" kern="0" dirty="0">
                    <a:solidFill>
                      <a:srgbClr val="FFFFFF"/>
                    </a:solidFill>
                    <a:latin typeface="Arial"/>
                    <a:cs typeface="Arial"/>
                  </a:endParaRPr>
                </a:p>
              </p:txBody>
            </p:sp>
            <p:pic>
              <p:nvPicPr>
                <p:cNvPr id="100" name="Picture 99">
                  <a:hlinkClick r:id="rId5" action="ppaction://hlinksldjump"/>
                </p:cNvPr>
                <p:cNvPicPr>
                  <a:picLocks noChangeAspect="1"/>
                </p:cNvPicPr>
                <p:nvPr/>
              </p:nvPicPr>
              <p:blipFill rotWithShape="1">
                <a:blip r:embed="rId8"/>
                <a:srcRect b="9524"/>
                <a:stretch/>
              </p:blipFill>
              <p:spPr>
                <a:xfrm>
                  <a:off x="6356634" y="7306583"/>
                  <a:ext cx="541104" cy="413656"/>
                </a:xfrm>
                <a:prstGeom prst="rect">
                  <a:avLst/>
                </a:prstGeom>
              </p:spPr>
            </p:pic>
          </p:grpSp>
          <p:sp>
            <p:nvSpPr>
              <p:cNvPr id="97" name="Rectangle 96">
                <a:hlinkClick r:id="rId5" action="ppaction://hlinksldjump"/>
              </p:cNvPr>
              <p:cNvSpPr/>
              <p:nvPr/>
            </p:nvSpPr>
            <p:spPr>
              <a:xfrm>
                <a:off x="5620896" y="7018349"/>
                <a:ext cx="2017060" cy="1303459"/>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85" name="Group 84"/>
            <p:cNvGrpSpPr/>
            <p:nvPr/>
          </p:nvGrpSpPr>
          <p:grpSpPr>
            <a:xfrm>
              <a:off x="2566819" y="7007713"/>
              <a:ext cx="2017060" cy="1303459"/>
              <a:chOff x="1524674" y="7034607"/>
              <a:chExt cx="2017060" cy="1303459"/>
            </a:xfrm>
          </p:grpSpPr>
          <p:grpSp>
            <p:nvGrpSpPr>
              <p:cNvPr id="91" name="Group 90"/>
              <p:cNvGrpSpPr/>
              <p:nvPr/>
            </p:nvGrpSpPr>
            <p:grpSpPr>
              <a:xfrm>
                <a:off x="1637342" y="7134804"/>
                <a:ext cx="1808618" cy="1109133"/>
                <a:chOff x="1637342" y="7134804"/>
                <a:chExt cx="1808618" cy="1109133"/>
              </a:xfrm>
            </p:grpSpPr>
            <p:sp>
              <p:nvSpPr>
                <p:cNvPr id="93" name="Rounded Rectangle 92">
                  <a:hlinkClick r:id="rId9" action="ppaction://hlinksldjump"/>
                </p:cNvPr>
                <p:cNvSpPr/>
                <p:nvPr/>
              </p:nvSpPr>
              <p:spPr>
                <a:xfrm>
                  <a:off x="1653019" y="7134804"/>
                  <a:ext cx="1752600" cy="1109133"/>
                </a:xfrm>
                <a:prstGeom prst="roundRect">
                  <a:avLst>
                    <a:gd name="adj" fmla="val 5377"/>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4" name="TextBox 93">
                  <a:hlinkClick r:id="rId9" action="ppaction://hlinksldjump"/>
                </p:cNvPr>
                <p:cNvSpPr txBox="1"/>
                <p:nvPr/>
              </p:nvSpPr>
              <p:spPr>
                <a:xfrm>
                  <a:off x="1637342" y="7699721"/>
                  <a:ext cx="1808618"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dirty="0" err="1">
                      <a:solidFill>
                        <a:srgbClr val="FFFFFF"/>
                      </a:solidFill>
                      <a:latin typeface="Arial"/>
                      <a:cs typeface="Arial"/>
                    </a:rPr>
                    <a:t>Dapagliflozin</a:t>
                  </a:r>
                  <a:r>
                    <a:rPr lang="en-GB" sz="1200" kern="0" dirty="0">
                      <a:solidFill>
                        <a:srgbClr val="FFFFFF"/>
                      </a:solidFill>
                      <a:latin typeface="Arial"/>
                      <a:cs typeface="Arial"/>
                    </a:rPr>
                    <a:t>: </a:t>
                  </a:r>
                  <a:br>
                    <a:rPr lang="en-GB" sz="1200" kern="0" dirty="0">
                      <a:solidFill>
                        <a:srgbClr val="FFFFFF"/>
                      </a:solidFill>
                      <a:latin typeface="Arial"/>
                      <a:cs typeface="Arial"/>
                    </a:rPr>
                  </a:br>
                  <a:r>
                    <a:rPr lang="en-GB" sz="1200" kern="0" dirty="0">
                      <a:solidFill>
                        <a:srgbClr val="FFFFFF"/>
                      </a:solidFill>
                      <a:latin typeface="Arial"/>
                      <a:cs typeface="Arial"/>
                    </a:rPr>
                    <a:t>CV risk reduction</a:t>
                  </a:r>
                </a:p>
              </p:txBody>
            </p:sp>
            <p:pic>
              <p:nvPicPr>
                <p:cNvPr id="95" name="Picture 94"/>
                <p:cNvPicPr>
                  <a:picLocks noChangeAspect="1"/>
                </p:cNvPicPr>
                <p:nvPr/>
              </p:nvPicPr>
              <p:blipFill>
                <a:blip r:embed="rId10"/>
                <a:stretch>
                  <a:fillRect/>
                </a:stretch>
              </p:blipFill>
              <p:spPr>
                <a:xfrm>
                  <a:off x="2308778" y="7283957"/>
                  <a:ext cx="420976" cy="383556"/>
                </a:xfrm>
                <a:prstGeom prst="rect">
                  <a:avLst/>
                </a:prstGeom>
              </p:spPr>
            </p:pic>
          </p:grpSp>
          <p:sp>
            <p:nvSpPr>
              <p:cNvPr id="92" name="Rectangle 91">
                <a:hlinkClick r:id="rId5" action="ppaction://hlinksldjump"/>
              </p:cNvPr>
              <p:cNvSpPr/>
              <p:nvPr/>
            </p:nvSpPr>
            <p:spPr>
              <a:xfrm>
                <a:off x="1524674" y="7034607"/>
                <a:ext cx="2017060" cy="1303459"/>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86" name="Group 85"/>
            <p:cNvGrpSpPr/>
            <p:nvPr/>
          </p:nvGrpSpPr>
          <p:grpSpPr>
            <a:xfrm>
              <a:off x="509418" y="7010746"/>
              <a:ext cx="2017060" cy="1303459"/>
              <a:chOff x="509418" y="7010746"/>
              <a:chExt cx="2017060" cy="1303459"/>
            </a:xfrm>
          </p:grpSpPr>
          <p:sp>
            <p:nvSpPr>
              <p:cNvPr id="87" name="Rounded Rectangle 86">
                <a:hlinkClick r:id="rId9" action="ppaction://hlinksldjump"/>
              </p:cNvPr>
              <p:cNvSpPr/>
              <p:nvPr/>
            </p:nvSpPr>
            <p:spPr>
              <a:xfrm>
                <a:off x="641648" y="7110943"/>
                <a:ext cx="1752600" cy="1109133"/>
              </a:xfrm>
              <a:prstGeom prst="roundRect">
                <a:avLst>
                  <a:gd name="adj" fmla="val 5377"/>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8" name="TextBox 87">
                <a:hlinkClick r:id="rId9" action="ppaction://hlinksldjump"/>
              </p:cNvPr>
              <p:cNvSpPr txBox="1"/>
              <p:nvPr/>
            </p:nvSpPr>
            <p:spPr>
              <a:xfrm>
                <a:off x="613639" y="7765160"/>
                <a:ext cx="1808618"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solidFill>
                      <a:srgbClr val="FFFFFF"/>
                    </a:solidFill>
                    <a:effectLst/>
                    <a:uLnTx/>
                    <a:uFillTx/>
                    <a:latin typeface="Arial"/>
                    <a:cs typeface="Arial"/>
                  </a:rPr>
                  <a:t>Home</a:t>
                </a:r>
              </a:p>
            </p:txBody>
          </p:sp>
          <p:sp>
            <p:nvSpPr>
              <p:cNvPr id="89" name="Rectangle 88">
                <a:hlinkClick r:id="rId9" action="ppaction://hlinksldjump"/>
              </p:cNvPr>
              <p:cNvSpPr/>
              <p:nvPr/>
            </p:nvSpPr>
            <p:spPr>
              <a:xfrm>
                <a:off x="509418" y="7010746"/>
                <a:ext cx="2017060" cy="1303459"/>
              </a:xfrm>
              <a:prstGeom prst="rect">
                <a:avLst/>
              </a:prstGeom>
              <a:solidFill>
                <a:schemeClr val="bg1">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0" name="Picture 89"/>
              <p:cNvPicPr>
                <a:picLocks noChangeAspect="1"/>
              </p:cNvPicPr>
              <p:nvPr/>
            </p:nvPicPr>
            <p:blipFill>
              <a:blip r:embed="rId11"/>
              <a:stretch>
                <a:fillRect/>
              </a:stretch>
            </p:blipFill>
            <p:spPr>
              <a:xfrm>
                <a:off x="1329286" y="7282117"/>
                <a:ext cx="377325" cy="377325"/>
              </a:xfrm>
              <a:prstGeom prst="rect">
                <a:avLst/>
              </a:prstGeom>
            </p:spPr>
          </p:pic>
        </p:grpSp>
      </p:grpSp>
      <p:pic>
        <p:nvPicPr>
          <p:cNvPr id="2" name="Picture 1">
            <a:extLst>
              <a:ext uri="{FF2B5EF4-FFF2-40B4-BE49-F238E27FC236}">
                <a16:creationId xmlns:a16="http://schemas.microsoft.com/office/drawing/2014/main" id="{ADB1EC06-84D8-4E6C-BD9E-C2A9812282DE}"/>
              </a:ext>
            </a:extLst>
          </p:cNvPr>
          <p:cNvPicPr>
            <a:picLocks noChangeAspect="1"/>
          </p:cNvPicPr>
          <p:nvPr/>
        </p:nvPicPr>
        <p:blipFill rotWithShape="1">
          <a:blip r:embed="rId12"/>
          <a:srcRect l="20957" t="32134" r="11809" b="22293"/>
          <a:stretch/>
        </p:blipFill>
        <p:spPr>
          <a:xfrm>
            <a:off x="99039" y="952587"/>
            <a:ext cx="8915542" cy="3399291"/>
          </a:xfrm>
          <a:prstGeom prst="rect">
            <a:avLst/>
          </a:prstGeom>
        </p:spPr>
      </p:pic>
      <p:sp>
        <p:nvSpPr>
          <p:cNvPr id="5" name="TextBox 4">
            <a:extLst>
              <a:ext uri="{FF2B5EF4-FFF2-40B4-BE49-F238E27FC236}">
                <a16:creationId xmlns:a16="http://schemas.microsoft.com/office/drawing/2014/main" id="{6BF77471-34BB-473E-922E-B3B6B2EEC312}"/>
              </a:ext>
            </a:extLst>
          </p:cNvPr>
          <p:cNvSpPr txBox="1"/>
          <p:nvPr/>
        </p:nvSpPr>
        <p:spPr>
          <a:xfrm>
            <a:off x="485273" y="4542143"/>
            <a:ext cx="8194828" cy="830997"/>
          </a:xfrm>
          <a:prstGeom prst="rect">
            <a:avLst/>
          </a:prstGeom>
          <a:noFill/>
        </p:spPr>
        <p:txBody>
          <a:bodyPr wrap="square" rtlCol="0">
            <a:spAutoFit/>
          </a:bodyPr>
          <a:lstStyle/>
          <a:p>
            <a:pPr algn="ctr"/>
            <a:r>
              <a:rPr lang="cs-CZ" b="0" dirty="0"/>
              <a:t>Výsledky studie byly prezentovány v rámci kongresu AHA Chicago, 10. 11. 2018</a:t>
            </a:r>
          </a:p>
        </p:txBody>
      </p:sp>
    </p:spTree>
    <p:extLst>
      <p:ext uri="{BB962C8B-B14F-4D97-AF65-F5344CB8AC3E}">
        <p14:creationId xmlns:p14="http://schemas.microsoft.com/office/powerpoint/2010/main" val="951379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ulka 1">
            <a:extLst>
              <a:ext uri="{FF2B5EF4-FFF2-40B4-BE49-F238E27FC236}">
                <a16:creationId xmlns:a16="http://schemas.microsoft.com/office/drawing/2014/main" id="{61B159FC-0F09-40ED-8CF7-230EBE3B35C5}"/>
              </a:ext>
            </a:extLst>
          </p:cNvPr>
          <p:cNvGraphicFramePr>
            <a:graphicFrameLocks noGrp="1"/>
          </p:cNvGraphicFramePr>
          <p:nvPr>
            <p:extLst>
              <p:ext uri="{D42A27DB-BD31-4B8C-83A1-F6EECF244321}">
                <p14:modId xmlns:p14="http://schemas.microsoft.com/office/powerpoint/2010/main" val="3761476242"/>
              </p:ext>
            </p:extLst>
          </p:nvPr>
        </p:nvGraphicFramePr>
        <p:xfrm>
          <a:off x="386179" y="2110076"/>
          <a:ext cx="8316157" cy="3605429"/>
        </p:xfrm>
        <a:graphic>
          <a:graphicData uri="http://schemas.openxmlformats.org/drawingml/2006/table">
            <a:tbl>
              <a:tblPr firstRow="1" bandRow="1">
                <a:tableStyleId>{5C22544A-7EE6-4342-B048-85BDC9FD1C3A}</a:tableStyleId>
              </a:tblPr>
              <a:tblGrid>
                <a:gridCol w="2498618">
                  <a:extLst>
                    <a:ext uri="{9D8B030D-6E8A-4147-A177-3AD203B41FA5}">
                      <a16:colId xmlns:a16="http://schemas.microsoft.com/office/drawing/2014/main" val="3906957397"/>
                    </a:ext>
                  </a:extLst>
                </a:gridCol>
                <a:gridCol w="1343193">
                  <a:extLst>
                    <a:ext uri="{9D8B030D-6E8A-4147-A177-3AD203B41FA5}">
                      <a16:colId xmlns:a16="http://schemas.microsoft.com/office/drawing/2014/main" val="517683055"/>
                    </a:ext>
                  </a:extLst>
                </a:gridCol>
                <a:gridCol w="1218461">
                  <a:extLst>
                    <a:ext uri="{9D8B030D-6E8A-4147-A177-3AD203B41FA5}">
                      <a16:colId xmlns:a16="http://schemas.microsoft.com/office/drawing/2014/main" val="728487569"/>
                    </a:ext>
                  </a:extLst>
                </a:gridCol>
                <a:gridCol w="3255885">
                  <a:extLst>
                    <a:ext uri="{9D8B030D-6E8A-4147-A177-3AD203B41FA5}">
                      <a16:colId xmlns:a16="http://schemas.microsoft.com/office/drawing/2014/main" val="1216515480"/>
                    </a:ext>
                  </a:extLst>
                </a:gridCol>
              </a:tblGrid>
              <a:tr h="548640">
                <a:tc>
                  <a:txBody>
                    <a:bodyPr/>
                    <a:lstStyle/>
                    <a:p>
                      <a:pPr algn="l"/>
                      <a:endParaRPr lang="cs-CZ" sz="120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r>
                        <a:rPr lang="cs-CZ" sz="1100" b="0" i="0" u="none" strike="noStrike" kern="1200" baseline="0" dirty="0">
                          <a:solidFill>
                            <a:schemeClr val="tx1"/>
                          </a:solidFill>
                          <a:latin typeface="+mn-lt"/>
                          <a:ea typeface="+mn-ea"/>
                          <a:cs typeface="+mn-cs"/>
                        </a:rPr>
                        <a:t> </a:t>
                      </a:r>
                      <a:r>
                        <a:rPr lang="cs-CZ" sz="1100" b="1" i="0" u="none" strike="noStrike" kern="1200" baseline="0" dirty="0">
                          <a:solidFill>
                            <a:schemeClr val="tx1"/>
                          </a:solidFill>
                          <a:latin typeface="+mn-lt"/>
                          <a:ea typeface="+mn-ea"/>
                          <a:cs typeface="+mn-cs"/>
                        </a:rPr>
                        <a:t>Nemám konflikt </a:t>
                      </a:r>
                      <a:endParaRPr lang="cs-CZ" sz="1100" b="0" i="0" u="none" strike="noStrike" kern="1200" baseline="0" dirty="0">
                        <a:solidFill>
                          <a:schemeClr val="tx1"/>
                        </a:solidFill>
                        <a:latin typeface="+mn-lt"/>
                        <a:ea typeface="+mn-ea"/>
                        <a:cs typeface="+mn-cs"/>
                      </a:endParaRPr>
                    </a:p>
                    <a:p>
                      <a:pPr algn="ctr"/>
                      <a:r>
                        <a:rPr lang="cs-CZ" sz="1100" dirty="0">
                          <a:solidFill>
                            <a:schemeClr val="tx1"/>
                          </a:solidFill>
                        </a:rPr>
                        <a:t>zájmů</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r>
                        <a:rPr lang="cs-CZ" sz="1100" dirty="0">
                          <a:solidFill>
                            <a:schemeClr val="tx1"/>
                          </a:solidFill>
                        </a:rPr>
                        <a:t>Mám konflikt zájmů</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r>
                        <a:rPr lang="cs-CZ" sz="1100" dirty="0">
                          <a:solidFill>
                            <a:schemeClr val="tx1"/>
                          </a:solidFill>
                        </a:rPr>
                        <a:t>Specifikace konfliktu (vyjmenujte subjekty, firmy či instituce, se kterými Vaše spolupráce může vést ke konfliktu zájmů)</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2932067838"/>
                  </a:ext>
                </a:extLst>
              </a:tr>
              <a:tr h="338237">
                <a:tc>
                  <a:txBody>
                    <a:bodyPr/>
                    <a:lstStyle/>
                    <a:p>
                      <a:pPr algn="l"/>
                      <a:r>
                        <a:rPr lang="cs-CZ" sz="1200" b="0" dirty="0"/>
                        <a:t>Zaměstnanecký pomě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Font typeface="Wingdings" panose="05000000000000000000" pitchFamily="2" charset="2"/>
                        <a:buNone/>
                      </a:pPr>
                      <a:r>
                        <a:rPr lang="en-US" sz="1100" dirty="0"/>
                        <a:t>X</a:t>
                      </a: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extLst>
                  <a:ext uri="{0D108BD9-81ED-4DB2-BD59-A6C34878D82A}">
                    <a16:rowId xmlns:a16="http://schemas.microsoft.com/office/drawing/2014/main" val="1231484910"/>
                  </a:ext>
                </a:extLst>
              </a:tr>
              <a:tr h="418504">
                <a:tc>
                  <a:txBody>
                    <a:bodyPr/>
                    <a:lstStyle/>
                    <a:p>
                      <a:pPr algn="l"/>
                      <a:r>
                        <a:rPr lang="cs-CZ" sz="1200" dirty="0"/>
                        <a:t>Vlastník / akcionář</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100" dirty="0"/>
                    </a:p>
                    <a:p>
                      <a:pPr algn="ctr"/>
                      <a:r>
                        <a:rPr lang="en-US" sz="1100" dirty="0"/>
                        <a:t>X</a:t>
                      </a: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3107545113"/>
                  </a:ext>
                </a:extLst>
              </a:tr>
              <a:tr h="418504">
                <a:tc>
                  <a:txBody>
                    <a:bodyPr/>
                    <a:lstStyle/>
                    <a:p>
                      <a:pPr algn="l"/>
                      <a:r>
                        <a:rPr lang="cs-CZ" sz="1200" dirty="0"/>
                        <a:t>Konzulta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1100" dirty="0"/>
                    </a:p>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r>
                        <a:rPr lang="en-US" sz="1100" dirty="0"/>
                        <a:t>X</a:t>
                      </a: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r>
                        <a:rPr lang="en-US" sz="1100" dirty="0"/>
                        <a:t>Eli Lilly, Sanofi, </a:t>
                      </a:r>
                      <a:r>
                        <a:rPr lang="en-US" sz="1100" dirty="0" err="1"/>
                        <a:t>NovoNordisk</a:t>
                      </a:r>
                      <a:r>
                        <a:rPr lang="en-US" sz="1100" dirty="0"/>
                        <a:t>, Astra </a:t>
                      </a:r>
                      <a:r>
                        <a:rPr lang="en-US" sz="1100" dirty="0" err="1"/>
                        <a:t>Zenrca</a:t>
                      </a:r>
                      <a:r>
                        <a:rPr lang="en-US" sz="1100" dirty="0"/>
                        <a:t>, Novartis, </a:t>
                      </a:r>
                      <a:r>
                        <a:rPr lang="en-US" sz="1100" dirty="0" err="1"/>
                        <a:t>Mundipharma</a:t>
                      </a: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extLst>
                  <a:ext uri="{0D108BD9-81ED-4DB2-BD59-A6C34878D82A}">
                    <a16:rowId xmlns:a16="http://schemas.microsoft.com/office/drawing/2014/main" val="3523498532"/>
                  </a:ext>
                </a:extLst>
              </a:tr>
              <a:tr h="418504">
                <a:tc>
                  <a:txBody>
                    <a:bodyPr/>
                    <a:lstStyle/>
                    <a:p>
                      <a:pPr algn="l"/>
                      <a:r>
                        <a:rPr lang="cs-CZ" sz="1200" dirty="0"/>
                        <a:t>Přednášková činnos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r>
                        <a:rPr lang="en-US" sz="1100" dirty="0"/>
                        <a:t>X</a:t>
                      </a: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100" dirty="0"/>
                        <a:t>Eli Lilly, Sanofi, </a:t>
                      </a:r>
                      <a:r>
                        <a:rPr lang="en-US" sz="1100" dirty="0" err="1"/>
                        <a:t>NovoNordisk</a:t>
                      </a:r>
                      <a:r>
                        <a:rPr lang="en-US" sz="1100" dirty="0"/>
                        <a:t>, Astra </a:t>
                      </a:r>
                      <a:r>
                        <a:rPr lang="en-US" sz="1100" dirty="0" err="1"/>
                        <a:t>Zenrca</a:t>
                      </a:r>
                      <a:r>
                        <a:rPr lang="en-US" sz="1100" dirty="0"/>
                        <a:t>, Novartis, </a:t>
                      </a:r>
                      <a:r>
                        <a:rPr lang="en-US" sz="1100" dirty="0" err="1"/>
                        <a:t>Mundipharma</a:t>
                      </a:r>
                      <a:endParaRPr lang="cs-CZ" sz="1100" dirty="0"/>
                    </a:p>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1757319712"/>
                  </a:ext>
                </a:extLst>
              </a:tr>
              <a:tr h="434340">
                <a:tc>
                  <a:txBody>
                    <a:bodyPr/>
                    <a:lstStyle/>
                    <a:p>
                      <a:pPr algn="l"/>
                      <a:r>
                        <a:rPr lang="cs-CZ" sz="1200" dirty="0"/>
                        <a:t>Člen poradních sborů (</a:t>
                      </a:r>
                      <a:r>
                        <a:rPr lang="cs-CZ" sz="1200" dirty="0" err="1"/>
                        <a:t>advisory</a:t>
                      </a:r>
                      <a:r>
                        <a:rPr lang="cs-CZ" sz="1200" dirty="0"/>
                        <a:t> </a:t>
                      </a:r>
                      <a:r>
                        <a:rPr lang="cs-CZ" sz="1200" dirty="0" err="1"/>
                        <a:t>boards</a:t>
                      </a:r>
                      <a:r>
                        <a:rPr lang="cs-CZ" sz="1200" dirty="0"/>
                        <a: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r>
                        <a:rPr lang="en-US" sz="1100" dirty="0"/>
                        <a:t>X</a:t>
                      </a: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r>
                        <a:rPr lang="en-US" sz="1100" dirty="0"/>
                        <a:t>Eli Lilly, Sanofi, </a:t>
                      </a:r>
                      <a:r>
                        <a:rPr lang="en-US" sz="1100" dirty="0" err="1"/>
                        <a:t>NovoNordisk</a:t>
                      </a: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extLst>
                  <a:ext uri="{0D108BD9-81ED-4DB2-BD59-A6C34878D82A}">
                    <a16:rowId xmlns:a16="http://schemas.microsoft.com/office/drawing/2014/main" val="2924211609"/>
                  </a:ext>
                </a:extLst>
              </a:tr>
              <a:tr h="418504">
                <a:tc>
                  <a:txBody>
                    <a:bodyPr/>
                    <a:lstStyle/>
                    <a:p>
                      <a:pPr algn="l"/>
                      <a:r>
                        <a:rPr lang="cs-CZ" sz="1200" dirty="0"/>
                        <a:t>Podpora výzkumu / granty</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100" dirty="0"/>
                        <a:t>X</a:t>
                      </a: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tc>
                  <a:txBody>
                    <a:bodyPr/>
                    <a:lstStyle/>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93121771"/>
                  </a:ext>
                </a:extLst>
              </a:tr>
              <a:tr h="434340">
                <a:tc>
                  <a:txBody>
                    <a:bodyPr/>
                    <a:lstStyle/>
                    <a:p>
                      <a:pPr algn="l"/>
                      <a:r>
                        <a:rPr lang="cs-CZ" sz="1200" dirty="0"/>
                        <a:t>Jiné honoráře (např. za klinické studie či registry)</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100" dirty="0"/>
                        <a:t>X</a:t>
                      </a: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tc>
                  <a:txBody>
                    <a:bodyPr/>
                    <a:lstStyle/>
                    <a:p>
                      <a:pPr algn="ctr"/>
                      <a:endParaRPr lang="cs-CZ" sz="11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CBAD"/>
                    </a:solidFill>
                  </a:tcPr>
                </a:tc>
                <a:extLst>
                  <a:ext uri="{0D108BD9-81ED-4DB2-BD59-A6C34878D82A}">
                    <a16:rowId xmlns:a16="http://schemas.microsoft.com/office/drawing/2014/main" val="348542458"/>
                  </a:ext>
                </a:extLst>
              </a:tr>
            </a:tbl>
          </a:graphicData>
        </a:graphic>
      </p:graphicFrame>
      <p:pic>
        <p:nvPicPr>
          <p:cNvPr id="3" name="Obrázek 2">
            <a:extLst>
              <a:ext uri="{FF2B5EF4-FFF2-40B4-BE49-F238E27FC236}">
                <a16:creationId xmlns:a16="http://schemas.microsoft.com/office/drawing/2014/main" id="{8F838168-C737-4553-910C-F47B148B7FE1}"/>
              </a:ext>
            </a:extLst>
          </p:cNvPr>
          <p:cNvPicPr>
            <a:picLocks noChangeAspect="1"/>
          </p:cNvPicPr>
          <p:nvPr/>
        </p:nvPicPr>
        <p:blipFill rotWithShape="1">
          <a:blip r:embed="rId2"/>
          <a:srcRect b="76699"/>
          <a:stretch/>
        </p:blipFill>
        <p:spPr>
          <a:xfrm>
            <a:off x="0" y="857250"/>
            <a:ext cx="9144000" cy="1198486"/>
          </a:xfrm>
          <a:prstGeom prst="rect">
            <a:avLst/>
          </a:prstGeom>
        </p:spPr>
      </p:pic>
    </p:spTree>
    <p:extLst>
      <p:ext uri="{BB962C8B-B14F-4D97-AF65-F5344CB8AC3E}">
        <p14:creationId xmlns:p14="http://schemas.microsoft.com/office/powerpoint/2010/main" val="7109851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0"/>
            <a:ext cx="8639504" cy="1268760"/>
          </a:xfrm>
        </p:spPr>
        <p:txBody>
          <a:bodyPr vert="horz" lIns="91440" tIns="45720" rIns="91440" bIns="45720" rtlCol="0" anchor="b">
            <a:noAutofit/>
          </a:bodyPr>
          <a:lstStyle/>
          <a:p>
            <a:br>
              <a:rPr lang="en-US" b="1" dirty="0"/>
            </a:br>
            <a:br>
              <a:rPr lang="en-US" b="1" dirty="0"/>
            </a:br>
            <a:r>
              <a:rPr lang="cs-CZ" sz="3200" b="1" dirty="0" err="1"/>
              <a:t>Empagliflozin</a:t>
            </a:r>
            <a:r>
              <a:rPr lang="cs-CZ" sz="3200" b="1" dirty="0"/>
              <a:t>: kompozitní renální cíl: </a:t>
            </a:r>
            <a:r>
              <a:rPr lang="cs-CZ" sz="2000" b="1" dirty="0"/>
              <a:t>Zdvojnásobení sérového kreatininu</a:t>
            </a:r>
            <a:r>
              <a:rPr lang="en-US" sz="2000" b="1" dirty="0"/>
              <a:t>, </a:t>
            </a:r>
            <a:r>
              <a:rPr lang="cs-CZ" sz="2000" b="1" dirty="0"/>
              <a:t>zahájení náhrady funkce ledvin nebo smrt v důsledku onemocnění ledvin</a:t>
            </a:r>
            <a:endParaRPr lang="en-GB" b="1" dirty="0"/>
          </a:p>
        </p:txBody>
      </p:sp>
      <p:pic>
        <p:nvPicPr>
          <p:cNvPr id="614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01" t="21235" r="3782" b="2295"/>
          <a:stretch/>
        </p:blipFill>
        <p:spPr bwMode="auto">
          <a:xfrm>
            <a:off x="107504" y="1412776"/>
            <a:ext cx="8136904" cy="5129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Placeholder 4"/>
          <p:cNvSpPr>
            <a:spLocks noGrp="1"/>
          </p:cNvSpPr>
          <p:nvPr>
            <p:ph type="body" sz="quarter" idx="13"/>
          </p:nvPr>
        </p:nvSpPr>
        <p:spPr>
          <a:xfrm>
            <a:off x="107504" y="6197242"/>
            <a:ext cx="8663878" cy="400110"/>
          </a:xfrm>
        </p:spPr>
        <p:txBody>
          <a:bodyPr/>
          <a:lstStyle/>
          <a:p>
            <a:r>
              <a:rPr lang="en-GB" dirty="0">
                <a:solidFill>
                  <a:schemeClr val="tx1"/>
                </a:solidFill>
              </a:rPr>
              <a:t>Kaplan-Meier estimates in patients treated with ≥1 dose of study drug. Hazard ratios are based on Cox regression analyses. </a:t>
            </a:r>
            <a:br>
              <a:rPr lang="en-GB" dirty="0">
                <a:solidFill>
                  <a:schemeClr val="tx1"/>
                </a:solidFill>
              </a:rPr>
            </a:br>
            <a:endParaRPr lang="en-GB" dirty="0">
              <a:solidFill>
                <a:schemeClr val="tx1"/>
              </a:solidFill>
            </a:endParaRPr>
          </a:p>
        </p:txBody>
      </p:sp>
      <p:sp>
        <p:nvSpPr>
          <p:cNvPr id="8" name="Text Placeholder 1"/>
          <p:cNvSpPr txBox="1">
            <a:spLocks/>
          </p:cNvSpPr>
          <p:nvPr/>
        </p:nvSpPr>
        <p:spPr>
          <a:xfrm>
            <a:off x="84226" y="6597352"/>
            <a:ext cx="7086600" cy="260648"/>
          </a:xfrm>
          <a:prstGeom prst="rect">
            <a:avLst/>
          </a:prstGeom>
        </p:spPr>
        <p:txBody>
          <a:bodyPr vert="horz" lIns="0" tIns="0" rIns="0" bIns="0" rtlCol="0" anchor="t" anchorCtr="0">
            <a:noAutofit/>
          </a:bodyPr>
          <a:lstStyle>
            <a:lvl1pPr marL="0" indent="0" algn="l" defTabSz="457200" rtl="0" eaLnBrk="1" latinLnBrk="0" hangingPunct="1">
              <a:spcBef>
                <a:spcPct val="20000"/>
              </a:spcBef>
              <a:buFont typeface="Arial"/>
              <a:buNone/>
              <a:defRPr sz="1000" kern="1200" baseline="0">
                <a:solidFill>
                  <a:srgbClr val="5A5A5A"/>
                </a:solidFill>
                <a:latin typeface="Arial"/>
                <a:ea typeface="+mn-ea"/>
                <a:cs typeface="+mn-cs"/>
              </a:defRPr>
            </a:lvl1pPr>
            <a:lvl2pPr marL="454025" indent="-222250" algn="l" defTabSz="457200" rtl="0" eaLnBrk="1" latinLnBrk="0" hangingPunct="1">
              <a:spcBef>
                <a:spcPct val="20000"/>
              </a:spcBef>
              <a:buFont typeface="Arial"/>
              <a:buChar char="–"/>
              <a:defRPr sz="2200" kern="1200">
                <a:solidFill>
                  <a:srgbClr val="5A5A5A"/>
                </a:solidFill>
                <a:latin typeface="Arial"/>
                <a:ea typeface="+mn-ea"/>
                <a:cs typeface="+mn-cs"/>
              </a:defRPr>
            </a:lvl2pPr>
            <a:lvl3pPr marL="685800" indent="-231775" algn="l" defTabSz="457200" rtl="0" eaLnBrk="1" latinLnBrk="0" hangingPunct="1">
              <a:spcBef>
                <a:spcPct val="20000"/>
              </a:spcBef>
              <a:buFont typeface="Arial"/>
              <a:buChar char="•"/>
              <a:defRPr sz="1800" kern="1200">
                <a:solidFill>
                  <a:srgbClr val="5A5A5A"/>
                </a:solidFill>
                <a:latin typeface="Arial"/>
                <a:ea typeface="+mn-ea"/>
                <a:cs typeface="+mn-cs"/>
              </a:defRPr>
            </a:lvl3pPr>
            <a:lvl4pPr marL="858838" indent="-173038" algn="l" defTabSz="457200" rtl="0" eaLnBrk="1" latinLnBrk="0" hangingPunct="1">
              <a:spcBef>
                <a:spcPct val="20000"/>
              </a:spcBef>
              <a:buFont typeface="Arial"/>
              <a:buChar char="–"/>
              <a:defRPr sz="1600" kern="1200">
                <a:solidFill>
                  <a:srgbClr val="5A5A5A"/>
                </a:solidFill>
                <a:latin typeface="Arial"/>
                <a:ea typeface="+mn-ea"/>
                <a:cs typeface="+mn-cs"/>
              </a:defRPr>
            </a:lvl4pPr>
            <a:lvl5pPr marL="1030288" indent="-112713" algn="l" defTabSz="457200" rtl="0" eaLnBrk="1" latinLnBrk="0" hangingPunct="1">
              <a:spcBef>
                <a:spcPct val="20000"/>
              </a:spcBef>
              <a:buFont typeface="Arial"/>
              <a:buChar char="»"/>
              <a:defRPr sz="1400" kern="1200">
                <a:solidFill>
                  <a:srgbClr val="5A5A5A"/>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indent="-228600" fontAlgn="auto">
              <a:spcAft>
                <a:spcPts val="0"/>
              </a:spcAft>
              <a:buFont typeface="Arial"/>
              <a:buAutoNum type="arabicPeriod"/>
            </a:pPr>
            <a:r>
              <a:rPr lang="da-DK" dirty="0">
                <a:solidFill>
                  <a:prstClr val="black"/>
                </a:solidFill>
                <a:latin typeface="Arial" panose="020B0604020202020204" pitchFamily="34" charset="0"/>
                <a:cs typeface="Arial" panose="020B0604020202020204" pitchFamily="34" charset="0"/>
              </a:rPr>
              <a:t>Wanner C et al. N Engl J Med 2016;375:323-34</a:t>
            </a:r>
          </a:p>
          <a:p>
            <a:pPr marL="228600" indent="-228600" fontAlgn="auto">
              <a:spcAft>
                <a:spcPts val="0"/>
              </a:spcAft>
              <a:buFont typeface="Arial"/>
              <a:buAutoNum type="arabicPeriod"/>
            </a:pPr>
            <a:endParaRPr lang="cs-CZ" dirty="0">
              <a:solidFill>
                <a:prstClr val="black"/>
              </a:solidFill>
              <a:latin typeface="Arial" panose="020B0604020202020204" pitchFamily="34" charset="0"/>
              <a:cs typeface="Arial" panose="020B0604020202020204" pitchFamily="34" charset="0"/>
            </a:endParaRPr>
          </a:p>
        </p:txBody>
      </p:sp>
      <p:sp>
        <p:nvSpPr>
          <p:cNvPr id="9" name="Right Arrow 13"/>
          <p:cNvSpPr/>
          <p:nvPr/>
        </p:nvSpPr>
        <p:spPr>
          <a:xfrm rot="5400000">
            <a:off x="7343463" y="3033801"/>
            <a:ext cx="1008111" cy="358350"/>
          </a:xfrm>
          <a:prstGeom prst="rightArrow">
            <a:avLst>
              <a:gd name="adj1" fmla="val 52686"/>
              <a:gd name="adj2" fmla="val 47255"/>
            </a:avLst>
          </a:prstGeom>
          <a:solidFill>
            <a:srgbClr val="F041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600" b="0" dirty="0">
              <a:solidFill>
                <a:prstClr val="white"/>
              </a:solidFill>
            </a:endParaRPr>
          </a:p>
        </p:txBody>
      </p:sp>
      <p:sp>
        <p:nvSpPr>
          <p:cNvPr id="10" name="TextBox 35"/>
          <p:cNvSpPr txBox="1"/>
          <p:nvPr/>
        </p:nvSpPr>
        <p:spPr>
          <a:xfrm>
            <a:off x="7847518" y="2957703"/>
            <a:ext cx="1258283" cy="461665"/>
          </a:xfrm>
          <a:prstGeom prst="rect">
            <a:avLst/>
          </a:prstGeom>
          <a:noFill/>
        </p:spPr>
        <p:txBody>
          <a:bodyPr wrap="square" rtlCol="0">
            <a:spAutoFit/>
          </a:bodyPr>
          <a:lstStyle/>
          <a:p>
            <a:pPr algn="ctr" fontAlgn="auto">
              <a:spcBef>
                <a:spcPts val="0"/>
              </a:spcBef>
              <a:spcAft>
                <a:spcPts val="0"/>
              </a:spcAft>
            </a:pPr>
            <a:r>
              <a:rPr lang="en-US" dirty="0">
                <a:solidFill>
                  <a:srgbClr val="F0414B"/>
                </a:solidFill>
                <a:latin typeface="Century Gothic"/>
              </a:rPr>
              <a:t>46%</a:t>
            </a:r>
          </a:p>
        </p:txBody>
      </p:sp>
    </p:spTree>
    <p:extLst>
      <p:ext uri="{BB962C8B-B14F-4D97-AF65-F5344CB8AC3E}">
        <p14:creationId xmlns:p14="http://schemas.microsoft.com/office/powerpoint/2010/main" val="92984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1000"/>
                                        <p:tgtEl>
                                          <p:spTgt spid="9"/>
                                        </p:tgtEl>
                                      </p:cBhvr>
                                    </p:animEffect>
                                  </p:childTnLst>
                                </p:cTn>
                              </p:par>
                              <p:par>
                                <p:cTn id="8" presetID="47"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1000"/>
                                        <p:tgtEl>
                                          <p:spTgt spid="10"/>
                                        </p:tgtEl>
                                      </p:cBhvr>
                                    </p:animEffect>
                                    <p:anim calcmode="lin" valueType="num">
                                      <p:cBhvr>
                                        <p:cTn id="11" dur="1000" fill="hold"/>
                                        <p:tgtEl>
                                          <p:spTgt spid="10"/>
                                        </p:tgtEl>
                                        <p:attrNameLst>
                                          <p:attrName>ppt_x</p:attrName>
                                        </p:attrNameLst>
                                      </p:cBhvr>
                                      <p:tavLst>
                                        <p:tav tm="0">
                                          <p:val>
                                            <p:strVal val="#ppt_x"/>
                                          </p:val>
                                        </p:tav>
                                        <p:tav tm="100000">
                                          <p:val>
                                            <p:strVal val="#ppt_x"/>
                                          </p:val>
                                        </p:tav>
                                      </p:tavLst>
                                    </p:anim>
                                    <p:anim calcmode="lin" valueType="num">
                                      <p:cBhvr>
                                        <p:cTn id="12"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EED47D-F3EA-4F83-B598-D4E1127E6FB9}"/>
              </a:ext>
            </a:extLst>
          </p:cNvPr>
          <p:cNvSpPr>
            <a:spLocks noGrp="1"/>
          </p:cNvSpPr>
          <p:nvPr>
            <p:ph type="title"/>
          </p:nvPr>
        </p:nvSpPr>
        <p:spPr/>
        <p:txBody>
          <a:bodyPr/>
          <a:lstStyle/>
          <a:p>
            <a:r>
              <a:rPr lang="en-US" sz="2800" dirty="0">
                <a:solidFill>
                  <a:srgbClr val="001423"/>
                </a:solidFill>
              </a:rPr>
              <a:t>Prim</a:t>
            </a:r>
            <a:r>
              <a:rPr lang="cs-CZ" sz="2800" dirty="0" err="1">
                <a:solidFill>
                  <a:srgbClr val="001423"/>
                </a:solidFill>
              </a:rPr>
              <a:t>ární</a:t>
            </a:r>
            <a:r>
              <a:rPr lang="cs-CZ" sz="2800" dirty="0">
                <a:solidFill>
                  <a:srgbClr val="001423"/>
                </a:solidFill>
              </a:rPr>
              <a:t> cíl</a:t>
            </a:r>
            <a:r>
              <a:rPr lang="en-US" sz="2800" dirty="0">
                <a:solidFill>
                  <a:srgbClr val="001423"/>
                </a:solidFill>
              </a:rPr>
              <a:t>: </a:t>
            </a:r>
            <a:r>
              <a:rPr lang="cs-CZ" sz="2800" dirty="0">
                <a:solidFill>
                  <a:srgbClr val="001423"/>
                </a:solidFill>
              </a:rPr>
              <a:t>kombinace srdečního selhání nebo smrti z KV příčin</a:t>
            </a:r>
            <a:endParaRPr lang="en-US" sz="2800" baseline="30000" dirty="0">
              <a:solidFill>
                <a:srgbClr val="001423"/>
              </a:solidFill>
            </a:endParaRPr>
          </a:p>
        </p:txBody>
      </p:sp>
      <p:sp>
        <p:nvSpPr>
          <p:cNvPr id="66" name="Text Placeholder 4">
            <a:extLst>
              <a:ext uri="{FF2B5EF4-FFF2-40B4-BE49-F238E27FC236}">
                <a16:creationId xmlns:a16="http://schemas.microsoft.com/office/drawing/2014/main" id="{E06EFD4B-F05E-4F7C-87F0-D0805DE6FD73}"/>
              </a:ext>
            </a:extLst>
          </p:cNvPr>
          <p:cNvSpPr>
            <a:spLocks noGrp="1"/>
          </p:cNvSpPr>
          <p:nvPr>
            <p:ph type="body" sz="quarter" idx="13"/>
          </p:nvPr>
        </p:nvSpPr>
        <p:spPr/>
        <p:txBody>
          <a:bodyPr/>
          <a:lstStyle/>
          <a:p>
            <a:r>
              <a:rPr lang="en-US" sz="800" dirty="0"/>
              <a:t>N at risk is the number of patients at risk at the beginning of the period.</a:t>
            </a:r>
          </a:p>
          <a:p>
            <a:r>
              <a:rPr lang="en-US" sz="800" dirty="0"/>
              <a:t>CV, cardiovascular; DAPA, dapagliflozin; hHF, hospitalization for heart failure.</a:t>
            </a:r>
          </a:p>
          <a:p>
            <a:r>
              <a:rPr lang="en-US" sz="800" dirty="0" err="1"/>
              <a:t>Wiviott</a:t>
            </a:r>
            <a:r>
              <a:rPr lang="en-US" sz="800" dirty="0"/>
              <a:t> SD et al. Online ahead of print. </a:t>
            </a:r>
            <a:r>
              <a:rPr lang="en-US" sz="800" i="1" dirty="0"/>
              <a:t>New </a:t>
            </a:r>
            <a:r>
              <a:rPr lang="en-US" sz="800" i="1" dirty="0" err="1"/>
              <a:t>Engl</a:t>
            </a:r>
            <a:r>
              <a:rPr lang="en-US" sz="800" i="1" dirty="0"/>
              <a:t> J Med. </a:t>
            </a:r>
            <a:r>
              <a:rPr lang="en-US" sz="800" dirty="0"/>
              <a:t>2018. </a:t>
            </a:r>
          </a:p>
        </p:txBody>
      </p:sp>
      <p:sp>
        <p:nvSpPr>
          <p:cNvPr id="6" name="Freeform: Shape 5">
            <a:extLst>
              <a:ext uri="{FF2B5EF4-FFF2-40B4-BE49-F238E27FC236}">
                <a16:creationId xmlns:a16="http://schemas.microsoft.com/office/drawing/2014/main" id="{F268172A-0DC9-41C2-84D3-C79CC6232BCF}"/>
              </a:ext>
            </a:extLst>
          </p:cNvPr>
          <p:cNvSpPr/>
          <p:nvPr/>
        </p:nvSpPr>
        <p:spPr>
          <a:xfrm>
            <a:off x="2289574" y="1601525"/>
            <a:ext cx="4564856" cy="3270517"/>
          </a:xfrm>
          <a:custGeom>
            <a:avLst/>
            <a:gdLst>
              <a:gd name="connsiteX0" fmla="*/ 0 w 6086475"/>
              <a:gd name="connsiteY0" fmla="*/ 0 h 3043238"/>
              <a:gd name="connsiteX1" fmla="*/ 0 w 6086475"/>
              <a:gd name="connsiteY1" fmla="*/ 3043238 h 3043238"/>
              <a:gd name="connsiteX2" fmla="*/ 6086475 w 6086475"/>
              <a:gd name="connsiteY2" fmla="*/ 3043238 h 3043238"/>
            </a:gdLst>
            <a:ahLst/>
            <a:cxnLst>
              <a:cxn ang="0">
                <a:pos x="connsiteX0" y="connsiteY0"/>
              </a:cxn>
              <a:cxn ang="0">
                <a:pos x="connsiteX1" y="connsiteY1"/>
              </a:cxn>
              <a:cxn ang="0">
                <a:pos x="connsiteX2" y="connsiteY2"/>
              </a:cxn>
            </a:cxnLst>
            <a:rect l="l" t="t" r="r" b="b"/>
            <a:pathLst>
              <a:path w="6086475" h="3043238">
                <a:moveTo>
                  <a:pt x="0" y="0"/>
                </a:moveTo>
                <a:lnTo>
                  <a:pt x="0" y="3043238"/>
                </a:lnTo>
                <a:lnTo>
                  <a:pt x="6086475" y="3043238"/>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en-US" sz="1800" b="0">
              <a:solidFill>
                <a:srgbClr val="FFFFFF"/>
              </a:solidFill>
            </a:endParaRPr>
          </a:p>
        </p:txBody>
      </p:sp>
      <p:cxnSp>
        <p:nvCxnSpPr>
          <p:cNvPr id="7" name="Straight Connector 6">
            <a:extLst>
              <a:ext uri="{FF2B5EF4-FFF2-40B4-BE49-F238E27FC236}">
                <a16:creationId xmlns:a16="http://schemas.microsoft.com/office/drawing/2014/main" id="{DC8D520A-0CF5-4A1D-84F9-6B8F49902297}"/>
              </a:ext>
            </a:extLst>
          </p:cNvPr>
          <p:cNvCxnSpPr/>
          <p:nvPr/>
        </p:nvCxnSpPr>
        <p:spPr>
          <a:xfrm>
            <a:off x="2220992" y="2091063"/>
            <a:ext cx="6858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2B5C6F6-BED3-4510-8CDD-F4270409B8D7}"/>
              </a:ext>
            </a:extLst>
          </p:cNvPr>
          <p:cNvCxnSpPr/>
          <p:nvPr/>
        </p:nvCxnSpPr>
        <p:spPr>
          <a:xfrm>
            <a:off x="2220992" y="3012809"/>
            <a:ext cx="6858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F47E9A3-E0AF-4E11-916C-12DCB63529AD}"/>
              </a:ext>
            </a:extLst>
          </p:cNvPr>
          <p:cNvCxnSpPr/>
          <p:nvPr/>
        </p:nvCxnSpPr>
        <p:spPr>
          <a:xfrm>
            <a:off x="2220992" y="3899219"/>
            <a:ext cx="6858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CC37CCE-E9EC-454E-8EE2-889D9336D0A4}"/>
              </a:ext>
            </a:extLst>
          </p:cNvPr>
          <p:cNvCxnSpPr/>
          <p:nvPr/>
        </p:nvCxnSpPr>
        <p:spPr>
          <a:xfrm>
            <a:off x="2220992" y="4811111"/>
            <a:ext cx="6858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39E1F0E-13E0-434C-B575-77CB1668B22E}"/>
              </a:ext>
            </a:extLst>
          </p:cNvPr>
          <p:cNvCxnSpPr>
            <a:cxnSpLocks/>
          </p:cNvCxnSpPr>
          <p:nvPr/>
        </p:nvCxnSpPr>
        <p:spPr>
          <a:xfrm rot="5400000">
            <a:off x="2729727" y="49088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65A69A3-C0A5-4CB3-8BDA-FB67080BE702}"/>
              </a:ext>
            </a:extLst>
          </p:cNvPr>
          <p:cNvCxnSpPr>
            <a:cxnSpLocks/>
          </p:cNvCxnSpPr>
          <p:nvPr/>
        </p:nvCxnSpPr>
        <p:spPr>
          <a:xfrm rot="5400000">
            <a:off x="2277417" y="49088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95222DC-E528-4648-A83D-C8D06D1D693B}"/>
              </a:ext>
            </a:extLst>
          </p:cNvPr>
          <p:cNvCxnSpPr>
            <a:cxnSpLocks/>
          </p:cNvCxnSpPr>
          <p:nvPr/>
        </p:nvCxnSpPr>
        <p:spPr>
          <a:xfrm rot="5400000">
            <a:off x="3182037" y="49088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6EF13E0-9B2F-456C-97DB-906625DF0FB1}"/>
              </a:ext>
            </a:extLst>
          </p:cNvPr>
          <p:cNvCxnSpPr>
            <a:cxnSpLocks/>
          </p:cNvCxnSpPr>
          <p:nvPr/>
        </p:nvCxnSpPr>
        <p:spPr>
          <a:xfrm rot="5400000">
            <a:off x="3634347" y="49088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506E595-2159-4721-B902-4EFCD6DFD526}"/>
              </a:ext>
            </a:extLst>
          </p:cNvPr>
          <p:cNvCxnSpPr>
            <a:cxnSpLocks/>
          </p:cNvCxnSpPr>
          <p:nvPr/>
        </p:nvCxnSpPr>
        <p:spPr>
          <a:xfrm rot="5400000">
            <a:off x="4086657" y="49088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59EDFA7-D68B-4460-AAC1-91EC8B0C4386}"/>
              </a:ext>
            </a:extLst>
          </p:cNvPr>
          <p:cNvCxnSpPr>
            <a:cxnSpLocks/>
          </p:cNvCxnSpPr>
          <p:nvPr/>
        </p:nvCxnSpPr>
        <p:spPr>
          <a:xfrm rot="5400000">
            <a:off x="4538967" y="49088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23006F7-A511-4B79-8CE4-95156C63141C}"/>
              </a:ext>
            </a:extLst>
          </p:cNvPr>
          <p:cNvCxnSpPr>
            <a:cxnSpLocks/>
          </p:cNvCxnSpPr>
          <p:nvPr/>
        </p:nvCxnSpPr>
        <p:spPr>
          <a:xfrm rot="5400000">
            <a:off x="4991277" y="49088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EFE9AB5-FB95-470B-904B-20894021993A}"/>
              </a:ext>
            </a:extLst>
          </p:cNvPr>
          <p:cNvCxnSpPr>
            <a:cxnSpLocks/>
          </p:cNvCxnSpPr>
          <p:nvPr/>
        </p:nvCxnSpPr>
        <p:spPr>
          <a:xfrm rot="5400000">
            <a:off x="5443587" y="49088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BA4DCB-F6B4-4EE3-A1DB-C8D5A8F48C12}"/>
              </a:ext>
            </a:extLst>
          </p:cNvPr>
          <p:cNvCxnSpPr>
            <a:cxnSpLocks/>
          </p:cNvCxnSpPr>
          <p:nvPr/>
        </p:nvCxnSpPr>
        <p:spPr>
          <a:xfrm rot="5400000">
            <a:off x="5895897" y="49088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B318004-EED3-4402-9D74-B6C2068E9886}"/>
              </a:ext>
            </a:extLst>
          </p:cNvPr>
          <p:cNvSpPr txBox="1"/>
          <p:nvPr/>
        </p:nvSpPr>
        <p:spPr>
          <a:xfrm>
            <a:off x="3786038" y="5245842"/>
            <a:ext cx="550151"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dirty="0">
                <a:solidFill>
                  <a:srgbClr val="000000"/>
                </a:solidFill>
                <a:latin typeface="Arial" panose="020B0604020202020204"/>
                <a:ea typeface="+mn-ea"/>
                <a:cs typeface="+mn-cs"/>
              </a:rPr>
              <a:t>Days</a:t>
            </a:r>
          </a:p>
        </p:txBody>
      </p:sp>
      <p:sp>
        <p:nvSpPr>
          <p:cNvPr id="24" name="TextBox 23">
            <a:extLst>
              <a:ext uri="{FF2B5EF4-FFF2-40B4-BE49-F238E27FC236}">
                <a16:creationId xmlns:a16="http://schemas.microsoft.com/office/drawing/2014/main" id="{026426B5-C6C2-43C7-B533-691D86BCED71}"/>
              </a:ext>
            </a:extLst>
          </p:cNvPr>
          <p:cNvSpPr txBox="1"/>
          <p:nvPr/>
        </p:nvSpPr>
        <p:spPr>
          <a:xfrm rot="16200000">
            <a:off x="860491" y="3134636"/>
            <a:ext cx="2048959"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dirty="0">
                <a:solidFill>
                  <a:srgbClr val="000000"/>
                </a:solidFill>
                <a:latin typeface="Arial"/>
                <a:ea typeface="+mn-ea"/>
                <a:cs typeface="+mn-cs"/>
              </a:rPr>
              <a:t>Cumulative Incidence (%)</a:t>
            </a:r>
          </a:p>
        </p:txBody>
      </p:sp>
      <p:sp>
        <p:nvSpPr>
          <p:cNvPr id="25" name="TextBox 24">
            <a:extLst>
              <a:ext uri="{FF2B5EF4-FFF2-40B4-BE49-F238E27FC236}">
                <a16:creationId xmlns:a16="http://schemas.microsoft.com/office/drawing/2014/main" id="{D51D6E6E-E892-40AE-AAF9-874716898489}"/>
              </a:ext>
            </a:extLst>
          </p:cNvPr>
          <p:cNvSpPr txBox="1"/>
          <p:nvPr/>
        </p:nvSpPr>
        <p:spPr>
          <a:xfrm>
            <a:off x="1928328" y="1965360"/>
            <a:ext cx="269626" cy="258532"/>
          </a:xfrm>
          <a:prstGeom prst="rect">
            <a:avLst/>
          </a:prstGeom>
          <a:noFill/>
        </p:spPr>
        <p:txBody>
          <a:bodyPr wrap="none" rtlCol="0">
            <a:spAutoFit/>
          </a:bodyPr>
          <a:lstStyle/>
          <a:p>
            <a:pPr algn="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6</a:t>
            </a:r>
          </a:p>
        </p:txBody>
      </p:sp>
      <p:sp>
        <p:nvSpPr>
          <p:cNvPr id="26" name="TextBox 25">
            <a:extLst>
              <a:ext uri="{FF2B5EF4-FFF2-40B4-BE49-F238E27FC236}">
                <a16:creationId xmlns:a16="http://schemas.microsoft.com/office/drawing/2014/main" id="{DEA7C402-65E4-44BF-9014-251ED79CB16F}"/>
              </a:ext>
            </a:extLst>
          </p:cNvPr>
          <p:cNvSpPr txBox="1"/>
          <p:nvPr/>
        </p:nvSpPr>
        <p:spPr>
          <a:xfrm>
            <a:off x="2184580" y="5020249"/>
            <a:ext cx="269626"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0</a:t>
            </a:r>
          </a:p>
        </p:txBody>
      </p:sp>
      <p:sp>
        <p:nvSpPr>
          <p:cNvPr id="27" name="TextBox 26">
            <a:extLst>
              <a:ext uri="{FF2B5EF4-FFF2-40B4-BE49-F238E27FC236}">
                <a16:creationId xmlns:a16="http://schemas.microsoft.com/office/drawing/2014/main" id="{B7E76674-E18D-4C6F-A143-19326809C35F}"/>
              </a:ext>
            </a:extLst>
          </p:cNvPr>
          <p:cNvSpPr txBox="1"/>
          <p:nvPr/>
        </p:nvSpPr>
        <p:spPr>
          <a:xfrm>
            <a:off x="2548254" y="5020249"/>
            <a:ext cx="439544"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180</a:t>
            </a:r>
          </a:p>
        </p:txBody>
      </p:sp>
      <p:sp>
        <p:nvSpPr>
          <p:cNvPr id="28" name="TextBox 27">
            <a:extLst>
              <a:ext uri="{FF2B5EF4-FFF2-40B4-BE49-F238E27FC236}">
                <a16:creationId xmlns:a16="http://schemas.microsoft.com/office/drawing/2014/main" id="{D092D4F9-385E-4AC8-B7DC-6D2DF005B69E}"/>
              </a:ext>
            </a:extLst>
          </p:cNvPr>
          <p:cNvSpPr txBox="1"/>
          <p:nvPr/>
        </p:nvSpPr>
        <p:spPr>
          <a:xfrm>
            <a:off x="3007987" y="5020249"/>
            <a:ext cx="439544"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360</a:t>
            </a:r>
          </a:p>
        </p:txBody>
      </p:sp>
      <p:sp>
        <p:nvSpPr>
          <p:cNvPr id="29" name="TextBox 28">
            <a:extLst>
              <a:ext uri="{FF2B5EF4-FFF2-40B4-BE49-F238E27FC236}">
                <a16:creationId xmlns:a16="http://schemas.microsoft.com/office/drawing/2014/main" id="{F0DB9826-F9DC-495A-B365-A96AA00B4D30}"/>
              </a:ext>
            </a:extLst>
          </p:cNvPr>
          <p:cNvSpPr txBox="1"/>
          <p:nvPr/>
        </p:nvSpPr>
        <p:spPr>
          <a:xfrm>
            <a:off x="3461332" y="5020249"/>
            <a:ext cx="439544"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540</a:t>
            </a:r>
          </a:p>
        </p:txBody>
      </p:sp>
      <p:sp>
        <p:nvSpPr>
          <p:cNvPr id="30" name="TextBox 29">
            <a:extLst>
              <a:ext uri="{FF2B5EF4-FFF2-40B4-BE49-F238E27FC236}">
                <a16:creationId xmlns:a16="http://schemas.microsoft.com/office/drawing/2014/main" id="{4C2114D2-2C9F-47C4-938F-3C77DDB0A33F}"/>
              </a:ext>
            </a:extLst>
          </p:cNvPr>
          <p:cNvSpPr txBox="1"/>
          <p:nvPr/>
        </p:nvSpPr>
        <p:spPr>
          <a:xfrm>
            <a:off x="3914678" y="5020249"/>
            <a:ext cx="439544"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720</a:t>
            </a:r>
          </a:p>
        </p:txBody>
      </p:sp>
      <p:sp>
        <p:nvSpPr>
          <p:cNvPr id="31" name="TextBox 30">
            <a:extLst>
              <a:ext uri="{FF2B5EF4-FFF2-40B4-BE49-F238E27FC236}">
                <a16:creationId xmlns:a16="http://schemas.microsoft.com/office/drawing/2014/main" id="{81D18E6B-989C-4F68-B626-7A705978033E}"/>
              </a:ext>
            </a:extLst>
          </p:cNvPr>
          <p:cNvSpPr txBox="1"/>
          <p:nvPr/>
        </p:nvSpPr>
        <p:spPr>
          <a:xfrm>
            <a:off x="4368024" y="5020249"/>
            <a:ext cx="439544"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900</a:t>
            </a:r>
          </a:p>
        </p:txBody>
      </p:sp>
      <p:sp>
        <p:nvSpPr>
          <p:cNvPr id="32" name="TextBox 31">
            <a:extLst>
              <a:ext uri="{FF2B5EF4-FFF2-40B4-BE49-F238E27FC236}">
                <a16:creationId xmlns:a16="http://schemas.microsoft.com/office/drawing/2014/main" id="{F8F57B85-C7F1-4FC6-BF9B-85A944E203AB}"/>
              </a:ext>
            </a:extLst>
          </p:cNvPr>
          <p:cNvSpPr txBox="1"/>
          <p:nvPr/>
        </p:nvSpPr>
        <p:spPr>
          <a:xfrm>
            <a:off x="4778890" y="502024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1080</a:t>
            </a:r>
          </a:p>
        </p:txBody>
      </p:sp>
      <p:sp>
        <p:nvSpPr>
          <p:cNvPr id="33" name="TextBox 32">
            <a:extLst>
              <a:ext uri="{FF2B5EF4-FFF2-40B4-BE49-F238E27FC236}">
                <a16:creationId xmlns:a16="http://schemas.microsoft.com/office/drawing/2014/main" id="{2F2B8A05-48F1-4BBC-845B-FD95A3730E74}"/>
              </a:ext>
            </a:extLst>
          </p:cNvPr>
          <p:cNvSpPr txBox="1"/>
          <p:nvPr/>
        </p:nvSpPr>
        <p:spPr>
          <a:xfrm>
            <a:off x="5232235" y="502024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1260</a:t>
            </a:r>
          </a:p>
        </p:txBody>
      </p:sp>
      <p:sp>
        <p:nvSpPr>
          <p:cNvPr id="34" name="TextBox 33">
            <a:extLst>
              <a:ext uri="{FF2B5EF4-FFF2-40B4-BE49-F238E27FC236}">
                <a16:creationId xmlns:a16="http://schemas.microsoft.com/office/drawing/2014/main" id="{BE36FABA-3954-42C0-A363-CD64DA91F91C}"/>
              </a:ext>
            </a:extLst>
          </p:cNvPr>
          <p:cNvSpPr txBox="1"/>
          <p:nvPr/>
        </p:nvSpPr>
        <p:spPr>
          <a:xfrm>
            <a:off x="5685580" y="502024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1440</a:t>
            </a:r>
          </a:p>
        </p:txBody>
      </p:sp>
      <p:sp>
        <p:nvSpPr>
          <p:cNvPr id="37" name="TextBox 36">
            <a:extLst>
              <a:ext uri="{FF2B5EF4-FFF2-40B4-BE49-F238E27FC236}">
                <a16:creationId xmlns:a16="http://schemas.microsoft.com/office/drawing/2014/main" id="{463C25EA-F2A4-43A4-A122-C80FDA1CA2B5}"/>
              </a:ext>
            </a:extLst>
          </p:cNvPr>
          <p:cNvSpPr txBox="1"/>
          <p:nvPr/>
        </p:nvSpPr>
        <p:spPr>
          <a:xfrm>
            <a:off x="2060888" y="553393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7F134C"/>
                </a:solidFill>
                <a:latin typeface="Arial" panose="020B0604020202020204"/>
                <a:ea typeface="+mn-ea"/>
                <a:cs typeface="+mn-cs"/>
              </a:rPr>
              <a:t>8582</a:t>
            </a:r>
          </a:p>
        </p:txBody>
      </p:sp>
      <p:sp>
        <p:nvSpPr>
          <p:cNvPr id="38" name="TextBox 37">
            <a:extLst>
              <a:ext uri="{FF2B5EF4-FFF2-40B4-BE49-F238E27FC236}">
                <a16:creationId xmlns:a16="http://schemas.microsoft.com/office/drawing/2014/main" id="{73BD22D8-ADC0-4011-9128-25DCBB53FA31}"/>
              </a:ext>
            </a:extLst>
          </p:cNvPr>
          <p:cNvSpPr txBox="1"/>
          <p:nvPr/>
        </p:nvSpPr>
        <p:spPr>
          <a:xfrm>
            <a:off x="2509523" y="553393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7F134C"/>
                </a:solidFill>
                <a:latin typeface="Arial" panose="020B0604020202020204"/>
                <a:ea typeface="+mn-ea"/>
                <a:cs typeface="+mn-cs"/>
              </a:rPr>
              <a:t>8517</a:t>
            </a:r>
          </a:p>
        </p:txBody>
      </p:sp>
      <p:sp>
        <p:nvSpPr>
          <p:cNvPr id="39" name="TextBox 38">
            <a:extLst>
              <a:ext uri="{FF2B5EF4-FFF2-40B4-BE49-F238E27FC236}">
                <a16:creationId xmlns:a16="http://schemas.microsoft.com/office/drawing/2014/main" id="{B2ACABF7-CD7B-40EB-87D9-F195A396F902}"/>
              </a:ext>
            </a:extLst>
          </p:cNvPr>
          <p:cNvSpPr txBox="1"/>
          <p:nvPr/>
        </p:nvSpPr>
        <p:spPr>
          <a:xfrm>
            <a:off x="2969256" y="553393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7F134C"/>
                </a:solidFill>
                <a:latin typeface="Arial" panose="020B0604020202020204"/>
                <a:ea typeface="+mn-ea"/>
                <a:cs typeface="+mn-cs"/>
              </a:rPr>
              <a:t>8415</a:t>
            </a:r>
          </a:p>
        </p:txBody>
      </p:sp>
      <p:sp>
        <p:nvSpPr>
          <p:cNvPr id="40" name="TextBox 39">
            <a:extLst>
              <a:ext uri="{FF2B5EF4-FFF2-40B4-BE49-F238E27FC236}">
                <a16:creationId xmlns:a16="http://schemas.microsoft.com/office/drawing/2014/main" id="{6B00FA9E-8353-45BE-8F55-F3D030A610AD}"/>
              </a:ext>
            </a:extLst>
          </p:cNvPr>
          <p:cNvSpPr txBox="1"/>
          <p:nvPr/>
        </p:nvSpPr>
        <p:spPr>
          <a:xfrm>
            <a:off x="3422602" y="553393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7F134C"/>
                </a:solidFill>
                <a:latin typeface="Arial" panose="020B0604020202020204"/>
                <a:ea typeface="+mn-ea"/>
                <a:cs typeface="+mn-cs"/>
              </a:rPr>
              <a:t>8322</a:t>
            </a:r>
          </a:p>
        </p:txBody>
      </p:sp>
      <p:sp>
        <p:nvSpPr>
          <p:cNvPr id="41" name="TextBox 40">
            <a:extLst>
              <a:ext uri="{FF2B5EF4-FFF2-40B4-BE49-F238E27FC236}">
                <a16:creationId xmlns:a16="http://schemas.microsoft.com/office/drawing/2014/main" id="{F336B0BA-7CB2-479A-8636-270503C690E2}"/>
              </a:ext>
            </a:extLst>
          </p:cNvPr>
          <p:cNvSpPr txBox="1"/>
          <p:nvPr/>
        </p:nvSpPr>
        <p:spPr>
          <a:xfrm>
            <a:off x="3875947" y="553393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7F134C"/>
                </a:solidFill>
                <a:latin typeface="Arial" panose="020B0604020202020204"/>
                <a:ea typeface="+mn-ea"/>
                <a:cs typeface="+mn-cs"/>
              </a:rPr>
              <a:t>8224</a:t>
            </a:r>
          </a:p>
        </p:txBody>
      </p:sp>
      <p:sp>
        <p:nvSpPr>
          <p:cNvPr id="42" name="TextBox 41">
            <a:extLst>
              <a:ext uri="{FF2B5EF4-FFF2-40B4-BE49-F238E27FC236}">
                <a16:creationId xmlns:a16="http://schemas.microsoft.com/office/drawing/2014/main" id="{A0029AD0-50F8-46FC-A37E-12825EAAF3CA}"/>
              </a:ext>
            </a:extLst>
          </p:cNvPr>
          <p:cNvSpPr txBox="1"/>
          <p:nvPr/>
        </p:nvSpPr>
        <p:spPr>
          <a:xfrm>
            <a:off x="4335001" y="5533939"/>
            <a:ext cx="513090"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7F134C"/>
                </a:solidFill>
                <a:latin typeface="Arial" panose="020B0604020202020204"/>
                <a:ea typeface="+mn-ea"/>
                <a:cs typeface="+mn-cs"/>
              </a:rPr>
              <a:t>8110</a:t>
            </a:r>
          </a:p>
        </p:txBody>
      </p:sp>
      <p:sp>
        <p:nvSpPr>
          <p:cNvPr id="43" name="TextBox 42">
            <a:extLst>
              <a:ext uri="{FF2B5EF4-FFF2-40B4-BE49-F238E27FC236}">
                <a16:creationId xmlns:a16="http://schemas.microsoft.com/office/drawing/2014/main" id="{98AF12DA-6C3D-4F35-BB0F-D5457535F241}"/>
              </a:ext>
            </a:extLst>
          </p:cNvPr>
          <p:cNvSpPr txBox="1"/>
          <p:nvPr/>
        </p:nvSpPr>
        <p:spPr>
          <a:xfrm>
            <a:off x="4782638" y="553393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7F134C"/>
                </a:solidFill>
                <a:latin typeface="Arial" panose="020B0604020202020204"/>
                <a:ea typeface="+mn-ea"/>
                <a:cs typeface="+mn-cs"/>
              </a:rPr>
              <a:t>7970</a:t>
            </a:r>
          </a:p>
        </p:txBody>
      </p:sp>
      <p:sp>
        <p:nvSpPr>
          <p:cNvPr id="44" name="TextBox 43">
            <a:extLst>
              <a:ext uri="{FF2B5EF4-FFF2-40B4-BE49-F238E27FC236}">
                <a16:creationId xmlns:a16="http://schemas.microsoft.com/office/drawing/2014/main" id="{006C6E09-C779-4CB5-9797-AC94E8844F37}"/>
              </a:ext>
            </a:extLst>
          </p:cNvPr>
          <p:cNvSpPr txBox="1"/>
          <p:nvPr/>
        </p:nvSpPr>
        <p:spPr>
          <a:xfrm>
            <a:off x="5235983" y="553393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7F134C"/>
                </a:solidFill>
                <a:latin typeface="Arial" panose="020B0604020202020204"/>
                <a:ea typeface="+mn-ea"/>
                <a:cs typeface="+mn-cs"/>
              </a:rPr>
              <a:t>7497</a:t>
            </a:r>
          </a:p>
        </p:txBody>
      </p:sp>
      <p:sp>
        <p:nvSpPr>
          <p:cNvPr id="45" name="TextBox 44">
            <a:extLst>
              <a:ext uri="{FF2B5EF4-FFF2-40B4-BE49-F238E27FC236}">
                <a16:creationId xmlns:a16="http://schemas.microsoft.com/office/drawing/2014/main" id="{CF6011C9-5F48-41A8-946A-6000ED112B73}"/>
              </a:ext>
            </a:extLst>
          </p:cNvPr>
          <p:cNvSpPr txBox="1"/>
          <p:nvPr/>
        </p:nvSpPr>
        <p:spPr>
          <a:xfrm>
            <a:off x="5689328" y="553393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7F134C"/>
                </a:solidFill>
                <a:latin typeface="Arial" panose="020B0604020202020204"/>
                <a:ea typeface="+mn-ea"/>
                <a:cs typeface="+mn-cs"/>
              </a:rPr>
              <a:t>5445</a:t>
            </a:r>
          </a:p>
        </p:txBody>
      </p:sp>
      <p:sp>
        <p:nvSpPr>
          <p:cNvPr id="47" name="TextBox 46">
            <a:extLst>
              <a:ext uri="{FF2B5EF4-FFF2-40B4-BE49-F238E27FC236}">
                <a16:creationId xmlns:a16="http://schemas.microsoft.com/office/drawing/2014/main" id="{0C7AF375-8B10-4F27-B6D7-ACD877C8DCE0}"/>
              </a:ext>
            </a:extLst>
          </p:cNvPr>
          <p:cNvSpPr txBox="1"/>
          <p:nvPr/>
        </p:nvSpPr>
        <p:spPr>
          <a:xfrm>
            <a:off x="2060888" y="570659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FFFFFF">
                    <a:lumMod val="50000"/>
                  </a:srgbClr>
                </a:solidFill>
                <a:latin typeface="Arial" panose="020B0604020202020204"/>
                <a:ea typeface="+mn-ea"/>
                <a:cs typeface="+mn-cs"/>
              </a:rPr>
              <a:t>8578</a:t>
            </a:r>
          </a:p>
        </p:txBody>
      </p:sp>
      <p:sp>
        <p:nvSpPr>
          <p:cNvPr id="48" name="TextBox 47">
            <a:extLst>
              <a:ext uri="{FF2B5EF4-FFF2-40B4-BE49-F238E27FC236}">
                <a16:creationId xmlns:a16="http://schemas.microsoft.com/office/drawing/2014/main" id="{AED79ACD-A08E-41B8-8936-CB98CB4F3BB8}"/>
              </a:ext>
            </a:extLst>
          </p:cNvPr>
          <p:cNvSpPr txBox="1"/>
          <p:nvPr/>
        </p:nvSpPr>
        <p:spPr>
          <a:xfrm>
            <a:off x="2509523" y="570659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FFFFFF">
                    <a:lumMod val="50000"/>
                  </a:srgbClr>
                </a:solidFill>
                <a:latin typeface="Arial" panose="020B0604020202020204"/>
                <a:ea typeface="+mn-ea"/>
                <a:cs typeface="+mn-cs"/>
              </a:rPr>
              <a:t>8485</a:t>
            </a:r>
          </a:p>
        </p:txBody>
      </p:sp>
      <p:sp>
        <p:nvSpPr>
          <p:cNvPr id="49" name="TextBox 48">
            <a:extLst>
              <a:ext uri="{FF2B5EF4-FFF2-40B4-BE49-F238E27FC236}">
                <a16:creationId xmlns:a16="http://schemas.microsoft.com/office/drawing/2014/main" id="{74BA6FA4-2A8D-4B33-B30D-D17CAB4DB4BC}"/>
              </a:ext>
            </a:extLst>
          </p:cNvPr>
          <p:cNvSpPr txBox="1"/>
          <p:nvPr/>
        </p:nvSpPr>
        <p:spPr>
          <a:xfrm>
            <a:off x="2969256" y="570659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FFFFFF">
                    <a:lumMod val="50000"/>
                  </a:srgbClr>
                </a:solidFill>
                <a:latin typeface="Arial" panose="020B0604020202020204"/>
                <a:ea typeface="+mn-ea"/>
                <a:cs typeface="+mn-cs"/>
              </a:rPr>
              <a:t>8387</a:t>
            </a:r>
          </a:p>
        </p:txBody>
      </p:sp>
      <p:sp>
        <p:nvSpPr>
          <p:cNvPr id="50" name="TextBox 49">
            <a:extLst>
              <a:ext uri="{FF2B5EF4-FFF2-40B4-BE49-F238E27FC236}">
                <a16:creationId xmlns:a16="http://schemas.microsoft.com/office/drawing/2014/main" id="{6742A5D7-CB52-43D4-8A5D-565A693E93E5}"/>
              </a:ext>
            </a:extLst>
          </p:cNvPr>
          <p:cNvSpPr txBox="1"/>
          <p:nvPr/>
        </p:nvSpPr>
        <p:spPr>
          <a:xfrm>
            <a:off x="3422602" y="570659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FFFFFF">
                    <a:lumMod val="50000"/>
                  </a:srgbClr>
                </a:solidFill>
                <a:latin typeface="Arial" panose="020B0604020202020204"/>
                <a:ea typeface="+mn-ea"/>
                <a:cs typeface="+mn-cs"/>
              </a:rPr>
              <a:t>8259</a:t>
            </a:r>
          </a:p>
        </p:txBody>
      </p:sp>
      <p:sp>
        <p:nvSpPr>
          <p:cNvPr id="51" name="TextBox 50">
            <a:extLst>
              <a:ext uri="{FF2B5EF4-FFF2-40B4-BE49-F238E27FC236}">
                <a16:creationId xmlns:a16="http://schemas.microsoft.com/office/drawing/2014/main" id="{9D4AF03F-9642-4F7F-A12F-A09724881437}"/>
              </a:ext>
            </a:extLst>
          </p:cNvPr>
          <p:cNvSpPr txBox="1"/>
          <p:nvPr/>
        </p:nvSpPr>
        <p:spPr>
          <a:xfrm>
            <a:off x="3875947" y="570659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FFFFFF">
                    <a:lumMod val="50000"/>
                  </a:srgbClr>
                </a:solidFill>
                <a:latin typeface="Arial" panose="020B0604020202020204"/>
                <a:ea typeface="+mn-ea"/>
                <a:cs typeface="+mn-cs"/>
              </a:rPr>
              <a:t>8127</a:t>
            </a:r>
          </a:p>
        </p:txBody>
      </p:sp>
      <p:sp>
        <p:nvSpPr>
          <p:cNvPr id="52" name="TextBox 51">
            <a:extLst>
              <a:ext uri="{FF2B5EF4-FFF2-40B4-BE49-F238E27FC236}">
                <a16:creationId xmlns:a16="http://schemas.microsoft.com/office/drawing/2014/main" id="{700A21FA-11BF-45A6-AAEF-31E89B1A9E17}"/>
              </a:ext>
            </a:extLst>
          </p:cNvPr>
          <p:cNvSpPr txBox="1"/>
          <p:nvPr/>
        </p:nvSpPr>
        <p:spPr>
          <a:xfrm>
            <a:off x="4329293" y="570659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FFFFFF">
                    <a:lumMod val="50000"/>
                  </a:srgbClr>
                </a:solidFill>
                <a:latin typeface="Arial" panose="020B0604020202020204"/>
                <a:ea typeface="+mn-ea"/>
                <a:cs typeface="+mn-cs"/>
              </a:rPr>
              <a:t>8003</a:t>
            </a:r>
          </a:p>
        </p:txBody>
      </p:sp>
      <p:sp>
        <p:nvSpPr>
          <p:cNvPr id="53" name="TextBox 52">
            <a:extLst>
              <a:ext uri="{FF2B5EF4-FFF2-40B4-BE49-F238E27FC236}">
                <a16:creationId xmlns:a16="http://schemas.microsoft.com/office/drawing/2014/main" id="{07278948-EB28-48C6-AB39-8E92067C18AE}"/>
              </a:ext>
            </a:extLst>
          </p:cNvPr>
          <p:cNvSpPr txBox="1"/>
          <p:nvPr/>
        </p:nvSpPr>
        <p:spPr>
          <a:xfrm>
            <a:off x="4782638" y="570659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FFFFFF">
                    <a:lumMod val="50000"/>
                  </a:srgbClr>
                </a:solidFill>
                <a:latin typeface="Arial" panose="020B0604020202020204"/>
                <a:ea typeface="+mn-ea"/>
                <a:cs typeface="+mn-cs"/>
              </a:rPr>
              <a:t>7880</a:t>
            </a:r>
          </a:p>
        </p:txBody>
      </p:sp>
      <p:sp>
        <p:nvSpPr>
          <p:cNvPr id="54" name="TextBox 53">
            <a:extLst>
              <a:ext uri="{FF2B5EF4-FFF2-40B4-BE49-F238E27FC236}">
                <a16:creationId xmlns:a16="http://schemas.microsoft.com/office/drawing/2014/main" id="{BAF62B06-CDF8-412E-A812-F327EF4E3A58}"/>
              </a:ext>
            </a:extLst>
          </p:cNvPr>
          <p:cNvSpPr txBox="1"/>
          <p:nvPr/>
        </p:nvSpPr>
        <p:spPr>
          <a:xfrm>
            <a:off x="5235983" y="570659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FFFFFF">
                    <a:lumMod val="50000"/>
                  </a:srgbClr>
                </a:solidFill>
                <a:latin typeface="Arial" panose="020B0604020202020204"/>
                <a:ea typeface="+mn-ea"/>
                <a:cs typeface="+mn-cs"/>
              </a:rPr>
              <a:t>7367</a:t>
            </a:r>
          </a:p>
        </p:txBody>
      </p:sp>
      <p:sp>
        <p:nvSpPr>
          <p:cNvPr id="55" name="TextBox 54">
            <a:extLst>
              <a:ext uri="{FF2B5EF4-FFF2-40B4-BE49-F238E27FC236}">
                <a16:creationId xmlns:a16="http://schemas.microsoft.com/office/drawing/2014/main" id="{0ADEBE78-B2AC-4266-8475-64AAEE80E45C}"/>
              </a:ext>
            </a:extLst>
          </p:cNvPr>
          <p:cNvSpPr txBox="1"/>
          <p:nvPr/>
        </p:nvSpPr>
        <p:spPr>
          <a:xfrm>
            <a:off x="5689328" y="5706599"/>
            <a:ext cx="524503"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b="0" dirty="0">
                <a:solidFill>
                  <a:srgbClr val="FFFFFF">
                    <a:lumMod val="50000"/>
                  </a:srgbClr>
                </a:solidFill>
                <a:latin typeface="Arial" panose="020B0604020202020204"/>
                <a:ea typeface="+mn-ea"/>
                <a:cs typeface="+mn-cs"/>
              </a:rPr>
              <a:t>5362</a:t>
            </a:r>
          </a:p>
        </p:txBody>
      </p:sp>
      <p:sp>
        <p:nvSpPr>
          <p:cNvPr id="57" name="TextBox 56">
            <a:extLst>
              <a:ext uri="{FF2B5EF4-FFF2-40B4-BE49-F238E27FC236}">
                <a16:creationId xmlns:a16="http://schemas.microsoft.com/office/drawing/2014/main" id="{A7872E1D-B4AE-4940-A70C-F2320F70397C}"/>
              </a:ext>
            </a:extLst>
          </p:cNvPr>
          <p:cNvSpPr txBox="1"/>
          <p:nvPr/>
        </p:nvSpPr>
        <p:spPr>
          <a:xfrm>
            <a:off x="2011473" y="5352647"/>
            <a:ext cx="790601" cy="258532"/>
          </a:xfrm>
          <a:prstGeom prst="rect">
            <a:avLst/>
          </a:prstGeom>
          <a:noFill/>
        </p:spPr>
        <p:txBody>
          <a:bodyPr wrap="none" rtlCol="0">
            <a:spAutoFit/>
          </a:bodyPr>
          <a:lstStyle/>
          <a:p>
            <a:pPr algn="ctr" fontAlgn="auto">
              <a:lnSpc>
                <a:spcPct val="90000"/>
              </a:lnSpc>
              <a:spcBef>
                <a:spcPts val="1200"/>
              </a:spcBef>
              <a:spcAft>
                <a:spcPts val="0"/>
              </a:spcAft>
              <a:buClr>
                <a:srgbClr val="7F134C"/>
              </a:buClr>
              <a:defRPr/>
            </a:pPr>
            <a:r>
              <a:rPr lang="en-US" sz="1200" dirty="0">
                <a:solidFill>
                  <a:srgbClr val="000000"/>
                </a:solidFill>
                <a:latin typeface="Arial" panose="020B0604020202020204"/>
                <a:ea typeface="+mn-ea"/>
                <a:cs typeface="+mn-cs"/>
              </a:rPr>
              <a:t>N at risk</a:t>
            </a:r>
            <a:endParaRPr lang="en-US" sz="1200" baseline="30000" dirty="0">
              <a:solidFill>
                <a:srgbClr val="000000"/>
              </a:solidFill>
              <a:latin typeface="Arial" panose="020B0604020202020204"/>
              <a:ea typeface="+mn-ea"/>
              <a:cs typeface="+mn-cs"/>
            </a:endParaRPr>
          </a:p>
        </p:txBody>
      </p:sp>
      <p:sp>
        <p:nvSpPr>
          <p:cNvPr id="58" name="TextBox 57">
            <a:extLst>
              <a:ext uri="{FF2B5EF4-FFF2-40B4-BE49-F238E27FC236}">
                <a16:creationId xmlns:a16="http://schemas.microsoft.com/office/drawing/2014/main" id="{F4F13A47-A489-44C8-A409-6FC0A16675B7}"/>
              </a:ext>
            </a:extLst>
          </p:cNvPr>
          <p:cNvSpPr txBox="1"/>
          <p:nvPr/>
        </p:nvSpPr>
        <p:spPr>
          <a:xfrm>
            <a:off x="1007572" y="5533939"/>
            <a:ext cx="1089273" cy="258532"/>
          </a:xfrm>
          <a:prstGeom prst="rect">
            <a:avLst/>
          </a:prstGeom>
          <a:noFill/>
        </p:spPr>
        <p:txBody>
          <a:bodyPr wrap="none" rtlCol="0">
            <a:spAutoFit/>
          </a:bodyPr>
          <a:lstStyle/>
          <a:p>
            <a:pPr algn="r" fontAlgn="auto">
              <a:lnSpc>
                <a:spcPct val="90000"/>
              </a:lnSpc>
              <a:spcBef>
                <a:spcPts val="1200"/>
              </a:spcBef>
              <a:spcAft>
                <a:spcPts val="0"/>
              </a:spcAft>
              <a:buClr>
                <a:srgbClr val="7F134C"/>
              </a:buClr>
              <a:defRPr/>
            </a:pPr>
            <a:r>
              <a:rPr lang="en-US" sz="1200" dirty="0">
                <a:solidFill>
                  <a:srgbClr val="7F134C"/>
                </a:solidFill>
                <a:latin typeface="Arial" panose="020B0604020202020204"/>
                <a:ea typeface="+mn-ea"/>
                <a:cs typeface="+mn-cs"/>
              </a:rPr>
              <a:t>DAPA 10 mg</a:t>
            </a:r>
          </a:p>
        </p:txBody>
      </p:sp>
      <p:sp>
        <p:nvSpPr>
          <p:cNvPr id="59" name="TextBox 58">
            <a:extLst>
              <a:ext uri="{FF2B5EF4-FFF2-40B4-BE49-F238E27FC236}">
                <a16:creationId xmlns:a16="http://schemas.microsoft.com/office/drawing/2014/main" id="{3F3664C8-ADA1-49A3-8272-A7D947003A37}"/>
              </a:ext>
            </a:extLst>
          </p:cNvPr>
          <p:cNvSpPr txBox="1"/>
          <p:nvPr/>
        </p:nvSpPr>
        <p:spPr>
          <a:xfrm>
            <a:off x="1322273" y="5702752"/>
            <a:ext cx="774571" cy="258532"/>
          </a:xfrm>
          <a:prstGeom prst="rect">
            <a:avLst/>
          </a:prstGeom>
          <a:noFill/>
        </p:spPr>
        <p:txBody>
          <a:bodyPr wrap="none" rtlCol="0">
            <a:spAutoFit/>
          </a:bodyPr>
          <a:lstStyle/>
          <a:p>
            <a:pPr algn="r" fontAlgn="auto">
              <a:lnSpc>
                <a:spcPct val="90000"/>
              </a:lnSpc>
              <a:spcBef>
                <a:spcPts val="1200"/>
              </a:spcBef>
              <a:spcAft>
                <a:spcPts val="0"/>
              </a:spcAft>
              <a:buClr>
                <a:srgbClr val="7F134C"/>
              </a:buClr>
              <a:defRPr/>
            </a:pPr>
            <a:r>
              <a:rPr lang="en-US" sz="1200" dirty="0">
                <a:solidFill>
                  <a:srgbClr val="FFFFFF">
                    <a:lumMod val="50000"/>
                  </a:srgbClr>
                </a:solidFill>
                <a:latin typeface="Arial" panose="020B0604020202020204"/>
                <a:ea typeface="+mn-ea"/>
                <a:cs typeface="+mn-cs"/>
              </a:rPr>
              <a:t>Placebo</a:t>
            </a:r>
          </a:p>
        </p:txBody>
      </p:sp>
      <p:sp>
        <p:nvSpPr>
          <p:cNvPr id="61" name="TextBox 60">
            <a:extLst>
              <a:ext uri="{FF2B5EF4-FFF2-40B4-BE49-F238E27FC236}">
                <a16:creationId xmlns:a16="http://schemas.microsoft.com/office/drawing/2014/main" id="{8149AA1B-E7AC-4CD2-92B5-8EA8F14A69C9}"/>
              </a:ext>
            </a:extLst>
          </p:cNvPr>
          <p:cNvSpPr txBox="1"/>
          <p:nvPr/>
        </p:nvSpPr>
        <p:spPr>
          <a:xfrm>
            <a:off x="1928328" y="2883892"/>
            <a:ext cx="269626" cy="258532"/>
          </a:xfrm>
          <a:prstGeom prst="rect">
            <a:avLst/>
          </a:prstGeom>
          <a:noFill/>
        </p:spPr>
        <p:txBody>
          <a:bodyPr wrap="none" rtlCol="0">
            <a:spAutoFit/>
          </a:bodyPr>
          <a:lstStyle/>
          <a:p>
            <a:pPr algn="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4</a:t>
            </a:r>
          </a:p>
        </p:txBody>
      </p:sp>
      <p:sp>
        <p:nvSpPr>
          <p:cNvPr id="62" name="TextBox 61">
            <a:extLst>
              <a:ext uri="{FF2B5EF4-FFF2-40B4-BE49-F238E27FC236}">
                <a16:creationId xmlns:a16="http://schemas.microsoft.com/office/drawing/2014/main" id="{A10FD8CD-1715-4E7B-90A1-519345496A64}"/>
              </a:ext>
            </a:extLst>
          </p:cNvPr>
          <p:cNvSpPr txBox="1"/>
          <p:nvPr/>
        </p:nvSpPr>
        <p:spPr>
          <a:xfrm>
            <a:off x="1928328" y="3757478"/>
            <a:ext cx="269626" cy="258532"/>
          </a:xfrm>
          <a:prstGeom prst="rect">
            <a:avLst/>
          </a:prstGeom>
          <a:noFill/>
        </p:spPr>
        <p:txBody>
          <a:bodyPr wrap="none" rtlCol="0">
            <a:spAutoFit/>
          </a:bodyPr>
          <a:lstStyle/>
          <a:p>
            <a:pPr algn="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2</a:t>
            </a:r>
          </a:p>
        </p:txBody>
      </p:sp>
      <p:sp>
        <p:nvSpPr>
          <p:cNvPr id="63" name="TextBox 62">
            <a:extLst>
              <a:ext uri="{FF2B5EF4-FFF2-40B4-BE49-F238E27FC236}">
                <a16:creationId xmlns:a16="http://schemas.microsoft.com/office/drawing/2014/main" id="{10134399-D70A-4556-B57D-6864D93C20BC}"/>
              </a:ext>
            </a:extLst>
          </p:cNvPr>
          <p:cNvSpPr txBox="1"/>
          <p:nvPr/>
        </p:nvSpPr>
        <p:spPr>
          <a:xfrm>
            <a:off x="1928328" y="4696470"/>
            <a:ext cx="269626" cy="258532"/>
          </a:xfrm>
          <a:prstGeom prst="rect">
            <a:avLst/>
          </a:prstGeom>
          <a:noFill/>
        </p:spPr>
        <p:txBody>
          <a:bodyPr wrap="none" rtlCol="0">
            <a:spAutoFit/>
          </a:bodyPr>
          <a:lstStyle/>
          <a:p>
            <a:pPr algn="r" fontAlgn="auto">
              <a:lnSpc>
                <a:spcPct val="90000"/>
              </a:lnSpc>
              <a:spcBef>
                <a:spcPts val="1200"/>
              </a:spcBef>
              <a:spcAft>
                <a:spcPts val="0"/>
              </a:spcAft>
              <a:buClr>
                <a:srgbClr val="7F134C"/>
              </a:buClr>
              <a:defRPr/>
            </a:pPr>
            <a:r>
              <a:rPr lang="en-US" sz="1200" b="0" dirty="0">
                <a:solidFill>
                  <a:srgbClr val="000000"/>
                </a:solidFill>
                <a:latin typeface="Arial" panose="020B0604020202020204"/>
                <a:ea typeface="+mn-ea"/>
                <a:cs typeface="+mn-cs"/>
              </a:rPr>
              <a:t>0</a:t>
            </a:r>
          </a:p>
        </p:txBody>
      </p:sp>
      <p:graphicFrame>
        <p:nvGraphicFramePr>
          <p:cNvPr id="67" name="Table 66">
            <a:extLst>
              <a:ext uri="{FF2B5EF4-FFF2-40B4-BE49-F238E27FC236}">
                <a16:creationId xmlns:a16="http://schemas.microsoft.com/office/drawing/2014/main" id="{54C51D9D-3F78-4707-AD37-B6100F73B152}"/>
              </a:ext>
            </a:extLst>
          </p:cNvPr>
          <p:cNvGraphicFramePr>
            <a:graphicFrameLocks noGrp="1"/>
          </p:cNvGraphicFramePr>
          <p:nvPr>
            <p:extLst/>
          </p:nvPr>
        </p:nvGraphicFramePr>
        <p:xfrm>
          <a:off x="2367098" y="1876311"/>
          <a:ext cx="1900323" cy="731520"/>
        </p:xfrm>
        <a:graphic>
          <a:graphicData uri="http://schemas.openxmlformats.org/drawingml/2006/table">
            <a:tbl>
              <a:tblPr firstRow="1" bandRow="1">
                <a:tableStyleId>{21E4AEA4-8DFA-4A89-87EB-49C32662AFE0}</a:tableStyleId>
              </a:tblPr>
              <a:tblGrid>
                <a:gridCol w="451934">
                  <a:extLst>
                    <a:ext uri="{9D8B030D-6E8A-4147-A177-3AD203B41FA5}">
                      <a16:colId xmlns:a16="http://schemas.microsoft.com/office/drawing/2014/main" val="663826443"/>
                    </a:ext>
                  </a:extLst>
                </a:gridCol>
                <a:gridCol w="707943">
                  <a:extLst>
                    <a:ext uri="{9D8B030D-6E8A-4147-A177-3AD203B41FA5}">
                      <a16:colId xmlns:a16="http://schemas.microsoft.com/office/drawing/2014/main" val="1572386964"/>
                    </a:ext>
                  </a:extLst>
                </a:gridCol>
                <a:gridCol w="740446">
                  <a:extLst>
                    <a:ext uri="{9D8B030D-6E8A-4147-A177-3AD203B41FA5}">
                      <a16:colId xmlns:a16="http://schemas.microsoft.com/office/drawing/2014/main" val="4213599810"/>
                    </a:ext>
                  </a:extLst>
                </a:gridCol>
              </a:tblGrid>
              <a:tr h="0">
                <a:tc>
                  <a:txBody>
                    <a:bodyPr/>
                    <a:lstStyle/>
                    <a:p>
                      <a:pPr algn="ctr"/>
                      <a:r>
                        <a:rPr lang="en-US" sz="1200" dirty="0">
                          <a:solidFill>
                            <a:schemeClr val="tx1"/>
                          </a:solidFill>
                        </a:rPr>
                        <a:t>HR</a:t>
                      </a:r>
                    </a:p>
                  </a:txBody>
                  <a:tcPr marL="34290" marR="34290">
                    <a:lnL w="19050" cap="flat" cmpd="sng" algn="ctr">
                      <a:solidFill>
                        <a:schemeClr val="tx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95% CI</a:t>
                      </a:r>
                    </a:p>
                  </a:txBody>
                  <a:tcPr marL="34290" marR="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p-value</a:t>
                      </a:r>
                    </a:p>
                  </a:txBody>
                  <a:tcPr marL="34290" marR="34290">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0288555"/>
                  </a:ext>
                </a:extLst>
              </a:tr>
              <a:tr h="0">
                <a:tc>
                  <a:txBody>
                    <a:bodyPr/>
                    <a:lstStyle/>
                    <a:p>
                      <a:pPr algn="ctr"/>
                      <a:r>
                        <a:rPr lang="en-US" sz="1200" dirty="0"/>
                        <a:t>0.83</a:t>
                      </a:r>
                    </a:p>
                  </a:txBody>
                  <a:tcPr marL="34290" marR="34290">
                    <a:lnL w="19050" cap="flat" cmpd="sng" algn="ctr">
                      <a:solidFill>
                        <a:schemeClr val="tx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t>(0.73, 0.95)</a:t>
                      </a:r>
                    </a:p>
                  </a:txBody>
                  <a:tcPr marL="34290" marR="3429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t>0.005</a:t>
                      </a:r>
                    </a:p>
                  </a:txBody>
                  <a:tcPr marL="34290" marR="34290">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0123564"/>
                  </a:ext>
                </a:extLst>
              </a:tr>
            </a:tbl>
          </a:graphicData>
        </a:graphic>
      </p:graphicFrame>
      <p:sp>
        <p:nvSpPr>
          <p:cNvPr id="70" name="Freeform: Shape 69">
            <a:extLst>
              <a:ext uri="{FF2B5EF4-FFF2-40B4-BE49-F238E27FC236}">
                <a16:creationId xmlns:a16="http://schemas.microsoft.com/office/drawing/2014/main" id="{5DF8A6C5-12E2-48F9-A5FC-0A7AFF3D7B47}"/>
              </a:ext>
            </a:extLst>
          </p:cNvPr>
          <p:cNvSpPr/>
          <p:nvPr/>
        </p:nvSpPr>
        <p:spPr>
          <a:xfrm>
            <a:off x="2331969" y="2216426"/>
            <a:ext cx="4278796" cy="2604052"/>
          </a:xfrm>
          <a:custGeom>
            <a:avLst/>
            <a:gdLst>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58818 w 5705061"/>
              <a:gd name="connsiteY119" fmla="*/ 1133061 h 2604052"/>
              <a:gd name="connsiteX120" fmla="*/ 3448879 w 5705061"/>
              <a:gd name="connsiteY120" fmla="*/ 1152939 h 2604052"/>
              <a:gd name="connsiteX121" fmla="*/ 3513483 w 5705061"/>
              <a:gd name="connsiteY121" fmla="*/ 1098274 h 2604052"/>
              <a:gd name="connsiteX122" fmla="*/ 3548270 w 5705061"/>
              <a:gd name="connsiteY122" fmla="*/ 1073426 h 2604052"/>
              <a:gd name="connsiteX123" fmla="*/ 3597966 w 5705061"/>
              <a:gd name="connsiteY123" fmla="*/ 1063487 h 2604052"/>
              <a:gd name="connsiteX124" fmla="*/ 3627783 w 5705061"/>
              <a:gd name="connsiteY124" fmla="*/ 1053548 h 2604052"/>
              <a:gd name="connsiteX125" fmla="*/ 3677479 w 5705061"/>
              <a:gd name="connsiteY125" fmla="*/ 1038639 h 2604052"/>
              <a:gd name="connsiteX126" fmla="*/ 3692387 w 5705061"/>
              <a:gd name="connsiteY126" fmla="*/ 1033670 h 2604052"/>
              <a:gd name="connsiteX127" fmla="*/ 3707296 w 5705061"/>
              <a:gd name="connsiteY127" fmla="*/ 1028700 h 2604052"/>
              <a:gd name="connsiteX128" fmla="*/ 3747052 w 5705061"/>
              <a:gd name="connsiteY128" fmla="*/ 1023731 h 2604052"/>
              <a:gd name="connsiteX129" fmla="*/ 3771900 w 5705061"/>
              <a:gd name="connsiteY129" fmla="*/ 1003852 h 2604052"/>
              <a:gd name="connsiteX130" fmla="*/ 3801718 w 5705061"/>
              <a:gd name="connsiteY130" fmla="*/ 993913 h 2604052"/>
              <a:gd name="connsiteX131" fmla="*/ 3816626 w 5705061"/>
              <a:gd name="connsiteY131" fmla="*/ 988944 h 2604052"/>
              <a:gd name="connsiteX132" fmla="*/ 3826566 w 5705061"/>
              <a:gd name="connsiteY132" fmla="*/ 979004 h 2604052"/>
              <a:gd name="connsiteX133" fmla="*/ 3906079 w 5705061"/>
              <a:gd name="connsiteY133" fmla="*/ 969065 h 2604052"/>
              <a:gd name="connsiteX134" fmla="*/ 3925957 w 5705061"/>
              <a:gd name="connsiteY134" fmla="*/ 954157 h 2604052"/>
              <a:gd name="connsiteX135" fmla="*/ 3945835 w 5705061"/>
              <a:gd name="connsiteY135" fmla="*/ 944217 h 2604052"/>
              <a:gd name="connsiteX136" fmla="*/ 3960744 w 5705061"/>
              <a:gd name="connsiteY136" fmla="*/ 934278 h 2604052"/>
              <a:gd name="connsiteX137" fmla="*/ 3965713 w 5705061"/>
              <a:gd name="connsiteY137" fmla="*/ 919370 h 2604052"/>
              <a:gd name="connsiteX138" fmla="*/ 3990561 w 5705061"/>
              <a:gd name="connsiteY138" fmla="*/ 894522 h 2604052"/>
              <a:gd name="connsiteX139" fmla="*/ 4020379 w 5705061"/>
              <a:gd name="connsiteY139" fmla="*/ 884583 h 2604052"/>
              <a:gd name="connsiteX140" fmla="*/ 4050196 w 5705061"/>
              <a:gd name="connsiteY140" fmla="*/ 864704 h 2604052"/>
              <a:gd name="connsiteX141" fmla="*/ 4070074 w 5705061"/>
              <a:gd name="connsiteY141" fmla="*/ 849796 h 2604052"/>
              <a:gd name="connsiteX142" fmla="*/ 4084983 w 5705061"/>
              <a:gd name="connsiteY142" fmla="*/ 844826 h 2604052"/>
              <a:gd name="connsiteX143" fmla="*/ 4114800 w 5705061"/>
              <a:gd name="connsiteY143" fmla="*/ 829917 h 2604052"/>
              <a:gd name="connsiteX144" fmla="*/ 4134679 w 5705061"/>
              <a:gd name="connsiteY144" fmla="*/ 810039 h 2604052"/>
              <a:gd name="connsiteX145" fmla="*/ 4144618 w 5705061"/>
              <a:gd name="connsiteY145" fmla="*/ 795131 h 2604052"/>
              <a:gd name="connsiteX146" fmla="*/ 4189344 w 5705061"/>
              <a:gd name="connsiteY146" fmla="*/ 780222 h 2604052"/>
              <a:gd name="connsiteX147" fmla="*/ 4204252 w 5705061"/>
              <a:gd name="connsiteY147" fmla="*/ 775252 h 2604052"/>
              <a:gd name="connsiteX148" fmla="*/ 4234070 w 5705061"/>
              <a:gd name="connsiteY148" fmla="*/ 755374 h 2604052"/>
              <a:gd name="connsiteX149" fmla="*/ 4248979 w 5705061"/>
              <a:gd name="connsiteY149" fmla="*/ 740465 h 2604052"/>
              <a:gd name="connsiteX150" fmla="*/ 4278796 w 5705061"/>
              <a:gd name="connsiteY150" fmla="*/ 730526 h 2604052"/>
              <a:gd name="connsiteX151" fmla="*/ 4293705 w 5705061"/>
              <a:gd name="connsiteY151" fmla="*/ 720587 h 2604052"/>
              <a:gd name="connsiteX152" fmla="*/ 4318552 w 5705061"/>
              <a:gd name="connsiteY152" fmla="*/ 685800 h 2604052"/>
              <a:gd name="connsiteX153" fmla="*/ 4328492 w 5705061"/>
              <a:gd name="connsiteY153" fmla="*/ 670891 h 2604052"/>
              <a:gd name="connsiteX154" fmla="*/ 4358309 w 5705061"/>
              <a:gd name="connsiteY154" fmla="*/ 651013 h 2604052"/>
              <a:gd name="connsiteX155" fmla="*/ 4373218 w 5705061"/>
              <a:gd name="connsiteY155" fmla="*/ 641074 h 2604052"/>
              <a:gd name="connsiteX156" fmla="*/ 4403035 w 5705061"/>
              <a:gd name="connsiteY156" fmla="*/ 621196 h 2604052"/>
              <a:gd name="connsiteX157" fmla="*/ 4432852 w 5705061"/>
              <a:gd name="connsiteY157" fmla="*/ 601317 h 2604052"/>
              <a:gd name="connsiteX158" fmla="*/ 4462670 w 5705061"/>
              <a:gd name="connsiteY158" fmla="*/ 591378 h 2604052"/>
              <a:gd name="connsiteX159" fmla="*/ 4492487 w 5705061"/>
              <a:gd name="connsiteY159" fmla="*/ 571500 h 2604052"/>
              <a:gd name="connsiteX160" fmla="*/ 4522305 w 5705061"/>
              <a:gd name="connsiteY160" fmla="*/ 546652 h 2604052"/>
              <a:gd name="connsiteX161" fmla="*/ 4576970 w 5705061"/>
              <a:gd name="connsiteY161" fmla="*/ 531744 h 2604052"/>
              <a:gd name="connsiteX162" fmla="*/ 4606787 w 5705061"/>
              <a:gd name="connsiteY162" fmla="*/ 521804 h 2604052"/>
              <a:gd name="connsiteX163" fmla="*/ 4621696 w 5705061"/>
              <a:gd name="connsiteY163" fmla="*/ 511865 h 2604052"/>
              <a:gd name="connsiteX164" fmla="*/ 4666422 w 5705061"/>
              <a:gd name="connsiteY164" fmla="*/ 506896 h 2604052"/>
              <a:gd name="connsiteX165" fmla="*/ 4671392 w 5705061"/>
              <a:gd name="connsiteY165" fmla="*/ 491987 h 2604052"/>
              <a:gd name="connsiteX166" fmla="*/ 4701209 w 5705061"/>
              <a:gd name="connsiteY166" fmla="*/ 477078 h 2604052"/>
              <a:gd name="connsiteX167" fmla="*/ 4706179 w 5705061"/>
              <a:gd name="connsiteY167" fmla="*/ 462170 h 2604052"/>
              <a:gd name="connsiteX168" fmla="*/ 4721087 w 5705061"/>
              <a:gd name="connsiteY168" fmla="*/ 447261 h 2604052"/>
              <a:gd name="connsiteX169" fmla="*/ 4775752 w 5705061"/>
              <a:gd name="connsiteY169" fmla="*/ 437322 h 2604052"/>
              <a:gd name="connsiteX170" fmla="*/ 4810539 w 5705061"/>
              <a:gd name="connsiteY170" fmla="*/ 432352 h 2604052"/>
              <a:gd name="connsiteX171" fmla="*/ 4835387 w 5705061"/>
              <a:gd name="connsiteY171" fmla="*/ 407504 h 2604052"/>
              <a:gd name="connsiteX172" fmla="*/ 4850296 w 5705061"/>
              <a:gd name="connsiteY172" fmla="*/ 397565 h 2604052"/>
              <a:gd name="connsiteX173" fmla="*/ 4875144 w 5705061"/>
              <a:gd name="connsiteY173" fmla="*/ 372717 h 2604052"/>
              <a:gd name="connsiteX174" fmla="*/ 4904961 w 5705061"/>
              <a:gd name="connsiteY174" fmla="*/ 367748 h 2604052"/>
              <a:gd name="connsiteX175" fmla="*/ 4919870 w 5705061"/>
              <a:gd name="connsiteY175" fmla="*/ 362778 h 2604052"/>
              <a:gd name="connsiteX176" fmla="*/ 4969566 w 5705061"/>
              <a:gd name="connsiteY176" fmla="*/ 342900 h 2604052"/>
              <a:gd name="connsiteX177" fmla="*/ 5054048 w 5705061"/>
              <a:gd name="connsiteY177" fmla="*/ 327991 h 2604052"/>
              <a:gd name="connsiteX178" fmla="*/ 5073926 w 5705061"/>
              <a:gd name="connsiteY178" fmla="*/ 323022 h 2604052"/>
              <a:gd name="connsiteX179" fmla="*/ 5083866 w 5705061"/>
              <a:gd name="connsiteY179" fmla="*/ 313083 h 2604052"/>
              <a:gd name="connsiteX180" fmla="*/ 5098774 w 5705061"/>
              <a:gd name="connsiteY180" fmla="*/ 308113 h 2604052"/>
              <a:gd name="connsiteX181" fmla="*/ 5103744 w 5705061"/>
              <a:gd name="connsiteY181" fmla="*/ 293204 h 2604052"/>
              <a:gd name="connsiteX182" fmla="*/ 5128592 w 5705061"/>
              <a:gd name="connsiteY182" fmla="*/ 293204 h 2604052"/>
              <a:gd name="connsiteX183" fmla="*/ 5178287 w 5705061"/>
              <a:gd name="connsiteY183" fmla="*/ 258417 h 2604052"/>
              <a:gd name="connsiteX184" fmla="*/ 5208105 w 5705061"/>
              <a:gd name="connsiteY184" fmla="*/ 223631 h 2604052"/>
              <a:gd name="connsiteX185" fmla="*/ 5223013 w 5705061"/>
              <a:gd name="connsiteY185" fmla="*/ 213691 h 2604052"/>
              <a:gd name="connsiteX186" fmla="*/ 5297557 w 5705061"/>
              <a:gd name="connsiteY186" fmla="*/ 213691 h 2604052"/>
              <a:gd name="connsiteX187" fmla="*/ 5312466 w 5705061"/>
              <a:gd name="connsiteY187" fmla="*/ 173935 h 2604052"/>
              <a:gd name="connsiteX188" fmla="*/ 5327374 w 5705061"/>
              <a:gd name="connsiteY188" fmla="*/ 173935 h 2604052"/>
              <a:gd name="connsiteX189" fmla="*/ 5327374 w 5705061"/>
              <a:gd name="connsiteY189" fmla="*/ 173935 h 2604052"/>
              <a:gd name="connsiteX190" fmla="*/ 5367131 w 5705061"/>
              <a:gd name="connsiteY190" fmla="*/ 114300 h 2604052"/>
              <a:gd name="connsiteX191" fmla="*/ 5367131 w 5705061"/>
              <a:gd name="connsiteY191" fmla="*/ 114300 h 2604052"/>
              <a:gd name="connsiteX192" fmla="*/ 5382039 w 5705061"/>
              <a:gd name="connsiteY192" fmla="*/ 104361 h 2604052"/>
              <a:gd name="connsiteX193" fmla="*/ 5382039 w 5705061"/>
              <a:gd name="connsiteY193" fmla="*/ 104361 h 2604052"/>
              <a:gd name="connsiteX194" fmla="*/ 5466522 w 5705061"/>
              <a:gd name="connsiteY194" fmla="*/ 84483 h 2604052"/>
              <a:gd name="connsiteX195" fmla="*/ 5466522 w 5705061"/>
              <a:gd name="connsiteY195" fmla="*/ 44726 h 2604052"/>
              <a:gd name="connsiteX196" fmla="*/ 5551005 w 5705061"/>
              <a:gd name="connsiteY196" fmla="*/ 54665 h 2604052"/>
              <a:gd name="connsiteX197" fmla="*/ 5560944 w 5705061"/>
              <a:gd name="connsiteY197" fmla="*/ 4970 h 2604052"/>
              <a:gd name="connsiteX198" fmla="*/ 5705061 w 5705061"/>
              <a:gd name="connsiteY198"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60806 w 5705061"/>
              <a:gd name="connsiteY119" fmla="*/ 1133061 h 2604052"/>
              <a:gd name="connsiteX120" fmla="*/ 3448879 w 5705061"/>
              <a:gd name="connsiteY120" fmla="*/ 1152939 h 2604052"/>
              <a:gd name="connsiteX121" fmla="*/ 3513483 w 5705061"/>
              <a:gd name="connsiteY121" fmla="*/ 1098274 h 2604052"/>
              <a:gd name="connsiteX122" fmla="*/ 3548270 w 5705061"/>
              <a:gd name="connsiteY122" fmla="*/ 1073426 h 2604052"/>
              <a:gd name="connsiteX123" fmla="*/ 3597966 w 5705061"/>
              <a:gd name="connsiteY123" fmla="*/ 1063487 h 2604052"/>
              <a:gd name="connsiteX124" fmla="*/ 3627783 w 5705061"/>
              <a:gd name="connsiteY124" fmla="*/ 1053548 h 2604052"/>
              <a:gd name="connsiteX125" fmla="*/ 3677479 w 5705061"/>
              <a:gd name="connsiteY125" fmla="*/ 1038639 h 2604052"/>
              <a:gd name="connsiteX126" fmla="*/ 3692387 w 5705061"/>
              <a:gd name="connsiteY126" fmla="*/ 1033670 h 2604052"/>
              <a:gd name="connsiteX127" fmla="*/ 3707296 w 5705061"/>
              <a:gd name="connsiteY127" fmla="*/ 1028700 h 2604052"/>
              <a:gd name="connsiteX128" fmla="*/ 3747052 w 5705061"/>
              <a:gd name="connsiteY128" fmla="*/ 1023731 h 2604052"/>
              <a:gd name="connsiteX129" fmla="*/ 3771900 w 5705061"/>
              <a:gd name="connsiteY129" fmla="*/ 1003852 h 2604052"/>
              <a:gd name="connsiteX130" fmla="*/ 3801718 w 5705061"/>
              <a:gd name="connsiteY130" fmla="*/ 993913 h 2604052"/>
              <a:gd name="connsiteX131" fmla="*/ 3816626 w 5705061"/>
              <a:gd name="connsiteY131" fmla="*/ 988944 h 2604052"/>
              <a:gd name="connsiteX132" fmla="*/ 3826566 w 5705061"/>
              <a:gd name="connsiteY132" fmla="*/ 979004 h 2604052"/>
              <a:gd name="connsiteX133" fmla="*/ 3906079 w 5705061"/>
              <a:gd name="connsiteY133" fmla="*/ 969065 h 2604052"/>
              <a:gd name="connsiteX134" fmla="*/ 3925957 w 5705061"/>
              <a:gd name="connsiteY134" fmla="*/ 954157 h 2604052"/>
              <a:gd name="connsiteX135" fmla="*/ 3945835 w 5705061"/>
              <a:gd name="connsiteY135" fmla="*/ 944217 h 2604052"/>
              <a:gd name="connsiteX136" fmla="*/ 3960744 w 5705061"/>
              <a:gd name="connsiteY136" fmla="*/ 934278 h 2604052"/>
              <a:gd name="connsiteX137" fmla="*/ 3965713 w 5705061"/>
              <a:gd name="connsiteY137" fmla="*/ 919370 h 2604052"/>
              <a:gd name="connsiteX138" fmla="*/ 3990561 w 5705061"/>
              <a:gd name="connsiteY138" fmla="*/ 894522 h 2604052"/>
              <a:gd name="connsiteX139" fmla="*/ 4020379 w 5705061"/>
              <a:gd name="connsiteY139" fmla="*/ 884583 h 2604052"/>
              <a:gd name="connsiteX140" fmla="*/ 4050196 w 5705061"/>
              <a:gd name="connsiteY140" fmla="*/ 864704 h 2604052"/>
              <a:gd name="connsiteX141" fmla="*/ 4070074 w 5705061"/>
              <a:gd name="connsiteY141" fmla="*/ 849796 h 2604052"/>
              <a:gd name="connsiteX142" fmla="*/ 4084983 w 5705061"/>
              <a:gd name="connsiteY142" fmla="*/ 844826 h 2604052"/>
              <a:gd name="connsiteX143" fmla="*/ 4114800 w 5705061"/>
              <a:gd name="connsiteY143" fmla="*/ 829917 h 2604052"/>
              <a:gd name="connsiteX144" fmla="*/ 4134679 w 5705061"/>
              <a:gd name="connsiteY144" fmla="*/ 810039 h 2604052"/>
              <a:gd name="connsiteX145" fmla="*/ 4144618 w 5705061"/>
              <a:gd name="connsiteY145" fmla="*/ 795131 h 2604052"/>
              <a:gd name="connsiteX146" fmla="*/ 4189344 w 5705061"/>
              <a:gd name="connsiteY146" fmla="*/ 780222 h 2604052"/>
              <a:gd name="connsiteX147" fmla="*/ 4204252 w 5705061"/>
              <a:gd name="connsiteY147" fmla="*/ 775252 h 2604052"/>
              <a:gd name="connsiteX148" fmla="*/ 4234070 w 5705061"/>
              <a:gd name="connsiteY148" fmla="*/ 755374 h 2604052"/>
              <a:gd name="connsiteX149" fmla="*/ 4248979 w 5705061"/>
              <a:gd name="connsiteY149" fmla="*/ 740465 h 2604052"/>
              <a:gd name="connsiteX150" fmla="*/ 4278796 w 5705061"/>
              <a:gd name="connsiteY150" fmla="*/ 730526 h 2604052"/>
              <a:gd name="connsiteX151" fmla="*/ 4293705 w 5705061"/>
              <a:gd name="connsiteY151" fmla="*/ 720587 h 2604052"/>
              <a:gd name="connsiteX152" fmla="*/ 4318552 w 5705061"/>
              <a:gd name="connsiteY152" fmla="*/ 685800 h 2604052"/>
              <a:gd name="connsiteX153" fmla="*/ 4328492 w 5705061"/>
              <a:gd name="connsiteY153" fmla="*/ 670891 h 2604052"/>
              <a:gd name="connsiteX154" fmla="*/ 4358309 w 5705061"/>
              <a:gd name="connsiteY154" fmla="*/ 651013 h 2604052"/>
              <a:gd name="connsiteX155" fmla="*/ 4373218 w 5705061"/>
              <a:gd name="connsiteY155" fmla="*/ 641074 h 2604052"/>
              <a:gd name="connsiteX156" fmla="*/ 4403035 w 5705061"/>
              <a:gd name="connsiteY156" fmla="*/ 621196 h 2604052"/>
              <a:gd name="connsiteX157" fmla="*/ 4432852 w 5705061"/>
              <a:gd name="connsiteY157" fmla="*/ 601317 h 2604052"/>
              <a:gd name="connsiteX158" fmla="*/ 4462670 w 5705061"/>
              <a:gd name="connsiteY158" fmla="*/ 591378 h 2604052"/>
              <a:gd name="connsiteX159" fmla="*/ 4492487 w 5705061"/>
              <a:gd name="connsiteY159" fmla="*/ 571500 h 2604052"/>
              <a:gd name="connsiteX160" fmla="*/ 4522305 w 5705061"/>
              <a:gd name="connsiteY160" fmla="*/ 546652 h 2604052"/>
              <a:gd name="connsiteX161" fmla="*/ 4576970 w 5705061"/>
              <a:gd name="connsiteY161" fmla="*/ 531744 h 2604052"/>
              <a:gd name="connsiteX162" fmla="*/ 4606787 w 5705061"/>
              <a:gd name="connsiteY162" fmla="*/ 521804 h 2604052"/>
              <a:gd name="connsiteX163" fmla="*/ 4621696 w 5705061"/>
              <a:gd name="connsiteY163" fmla="*/ 511865 h 2604052"/>
              <a:gd name="connsiteX164" fmla="*/ 4666422 w 5705061"/>
              <a:gd name="connsiteY164" fmla="*/ 506896 h 2604052"/>
              <a:gd name="connsiteX165" fmla="*/ 4671392 w 5705061"/>
              <a:gd name="connsiteY165" fmla="*/ 491987 h 2604052"/>
              <a:gd name="connsiteX166" fmla="*/ 4701209 w 5705061"/>
              <a:gd name="connsiteY166" fmla="*/ 477078 h 2604052"/>
              <a:gd name="connsiteX167" fmla="*/ 4706179 w 5705061"/>
              <a:gd name="connsiteY167" fmla="*/ 462170 h 2604052"/>
              <a:gd name="connsiteX168" fmla="*/ 4721087 w 5705061"/>
              <a:gd name="connsiteY168" fmla="*/ 447261 h 2604052"/>
              <a:gd name="connsiteX169" fmla="*/ 4775752 w 5705061"/>
              <a:gd name="connsiteY169" fmla="*/ 437322 h 2604052"/>
              <a:gd name="connsiteX170" fmla="*/ 4810539 w 5705061"/>
              <a:gd name="connsiteY170" fmla="*/ 432352 h 2604052"/>
              <a:gd name="connsiteX171" fmla="*/ 4835387 w 5705061"/>
              <a:gd name="connsiteY171" fmla="*/ 407504 h 2604052"/>
              <a:gd name="connsiteX172" fmla="*/ 4850296 w 5705061"/>
              <a:gd name="connsiteY172" fmla="*/ 397565 h 2604052"/>
              <a:gd name="connsiteX173" fmla="*/ 4875144 w 5705061"/>
              <a:gd name="connsiteY173" fmla="*/ 372717 h 2604052"/>
              <a:gd name="connsiteX174" fmla="*/ 4904961 w 5705061"/>
              <a:gd name="connsiteY174" fmla="*/ 367748 h 2604052"/>
              <a:gd name="connsiteX175" fmla="*/ 4919870 w 5705061"/>
              <a:gd name="connsiteY175" fmla="*/ 362778 h 2604052"/>
              <a:gd name="connsiteX176" fmla="*/ 4969566 w 5705061"/>
              <a:gd name="connsiteY176" fmla="*/ 342900 h 2604052"/>
              <a:gd name="connsiteX177" fmla="*/ 5054048 w 5705061"/>
              <a:gd name="connsiteY177" fmla="*/ 327991 h 2604052"/>
              <a:gd name="connsiteX178" fmla="*/ 5073926 w 5705061"/>
              <a:gd name="connsiteY178" fmla="*/ 323022 h 2604052"/>
              <a:gd name="connsiteX179" fmla="*/ 5083866 w 5705061"/>
              <a:gd name="connsiteY179" fmla="*/ 313083 h 2604052"/>
              <a:gd name="connsiteX180" fmla="*/ 5098774 w 5705061"/>
              <a:gd name="connsiteY180" fmla="*/ 308113 h 2604052"/>
              <a:gd name="connsiteX181" fmla="*/ 5103744 w 5705061"/>
              <a:gd name="connsiteY181" fmla="*/ 293204 h 2604052"/>
              <a:gd name="connsiteX182" fmla="*/ 5128592 w 5705061"/>
              <a:gd name="connsiteY182" fmla="*/ 293204 h 2604052"/>
              <a:gd name="connsiteX183" fmla="*/ 5178287 w 5705061"/>
              <a:gd name="connsiteY183" fmla="*/ 258417 h 2604052"/>
              <a:gd name="connsiteX184" fmla="*/ 5208105 w 5705061"/>
              <a:gd name="connsiteY184" fmla="*/ 223631 h 2604052"/>
              <a:gd name="connsiteX185" fmla="*/ 5223013 w 5705061"/>
              <a:gd name="connsiteY185" fmla="*/ 213691 h 2604052"/>
              <a:gd name="connsiteX186" fmla="*/ 5297557 w 5705061"/>
              <a:gd name="connsiteY186" fmla="*/ 213691 h 2604052"/>
              <a:gd name="connsiteX187" fmla="*/ 5312466 w 5705061"/>
              <a:gd name="connsiteY187" fmla="*/ 173935 h 2604052"/>
              <a:gd name="connsiteX188" fmla="*/ 5327374 w 5705061"/>
              <a:gd name="connsiteY188" fmla="*/ 173935 h 2604052"/>
              <a:gd name="connsiteX189" fmla="*/ 5327374 w 5705061"/>
              <a:gd name="connsiteY189" fmla="*/ 173935 h 2604052"/>
              <a:gd name="connsiteX190" fmla="*/ 5367131 w 5705061"/>
              <a:gd name="connsiteY190" fmla="*/ 114300 h 2604052"/>
              <a:gd name="connsiteX191" fmla="*/ 5367131 w 5705061"/>
              <a:gd name="connsiteY191" fmla="*/ 114300 h 2604052"/>
              <a:gd name="connsiteX192" fmla="*/ 5382039 w 5705061"/>
              <a:gd name="connsiteY192" fmla="*/ 104361 h 2604052"/>
              <a:gd name="connsiteX193" fmla="*/ 5382039 w 5705061"/>
              <a:gd name="connsiteY193" fmla="*/ 104361 h 2604052"/>
              <a:gd name="connsiteX194" fmla="*/ 5466522 w 5705061"/>
              <a:gd name="connsiteY194" fmla="*/ 84483 h 2604052"/>
              <a:gd name="connsiteX195" fmla="*/ 5466522 w 5705061"/>
              <a:gd name="connsiteY195" fmla="*/ 44726 h 2604052"/>
              <a:gd name="connsiteX196" fmla="*/ 5551005 w 5705061"/>
              <a:gd name="connsiteY196" fmla="*/ 54665 h 2604052"/>
              <a:gd name="connsiteX197" fmla="*/ 5560944 w 5705061"/>
              <a:gd name="connsiteY197" fmla="*/ 4970 h 2604052"/>
              <a:gd name="connsiteX198" fmla="*/ 5705061 w 5705061"/>
              <a:gd name="connsiteY198"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60806 w 5705061"/>
              <a:gd name="connsiteY119" fmla="*/ 1133061 h 2604052"/>
              <a:gd name="connsiteX120" fmla="*/ 3448879 w 5705061"/>
              <a:gd name="connsiteY120" fmla="*/ 1152939 h 2604052"/>
              <a:gd name="connsiteX121" fmla="*/ 3513483 w 5705061"/>
              <a:gd name="connsiteY121" fmla="*/ 1098274 h 2604052"/>
              <a:gd name="connsiteX122" fmla="*/ 3548270 w 5705061"/>
              <a:gd name="connsiteY122" fmla="*/ 1073426 h 2604052"/>
              <a:gd name="connsiteX123" fmla="*/ 3597966 w 5705061"/>
              <a:gd name="connsiteY123" fmla="*/ 1063487 h 2604052"/>
              <a:gd name="connsiteX124" fmla="*/ 3627783 w 5705061"/>
              <a:gd name="connsiteY124" fmla="*/ 1053548 h 2604052"/>
              <a:gd name="connsiteX125" fmla="*/ 3677479 w 5705061"/>
              <a:gd name="connsiteY125" fmla="*/ 1038639 h 2604052"/>
              <a:gd name="connsiteX126" fmla="*/ 3692387 w 5705061"/>
              <a:gd name="connsiteY126" fmla="*/ 1033670 h 2604052"/>
              <a:gd name="connsiteX127" fmla="*/ 3707296 w 5705061"/>
              <a:gd name="connsiteY127" fmla="*/ 1028700 h 2604052"/>
              <a:gd name="connsiteX128" fmla="*/ 3747052 w 5705061"/>
              <a:gd name="connsiteY128" fmla="*/ 1023731 h 2604052"/>
              <a:gd name="connsiteX129" fmla="*/ 3771900 w 5705061"/>
              <a:gd name="connsiteY129" fmla="*/ 1003852 h 2604052"/>
              <a:gd name="connsiteX130" fmla="*/ 3801718 w 5705061"/>
              <a:gd name="connsiteY130" fmla="*/ 993913 h 2604052"/>
              <a:gd name="connsiteX131" fmla="*/ 3816626 w 5705061"/>
              <a:gd name="connsiteY131" fmla="*/ 988944 h 2604052"/>
              <a:gd name="connsiteX132" fmla="*/ 3826566 w 5705061"/>
              <a:gd name="connsiteY132" fmla="*/ 979004 h 2604052"/>
              <a:gd name="connsiteX133" fmla="*/ 3906079 w 5705061"/>
              <a:gd name="connsiteY133" fmla="*/ 969065 h 2604052"/>
              <a:gd name="connsiteX134" fmla="*/ 3925957 w 5705061"/>
              <a:gd name="connsiteY134" fmla="*/ 954157 h 2604052"/>
              <a:gd name="connsiteX135" fmla="*/ 3945835 w 5705061"/>
              <a:gd name="connsiteY135" fmla="*/ 944217 h 2604052"/>
              <a:gd name="connsiteX136" fmla="*/ 3960744 w 5705061"/>
              <a:gd name="connsiteY136" fmla="*/ 934278 h 2604052"/>
              <a:gd name="connsiteX137" fmla="*/ 3965713 w 5705061"/>
              <a:gd name="connsiteY137" fmla="*/ 919370 h 2604052"/>
              <a:gd name="connsiteX138" fmla="*/ 3990561 w 5705061"/>
              <a:gd name="connsiteY138" fmla="*/ 894522 h 2604052"/>
              <a:gd name="connsiteX139" fmla="*/ 4020379 w 5705061"/>
              <a:gd name="connsiteY139" fmla="*/ 884583 h 2604052"/>
              <a:gd name="connsiteX140" fmla="*/ 4050196 w 5705061"/>
              <a:gd name="connsiteY140" fmla="*/ 864704 h 2604052"/>
              <a:gd name="connsiteX141" fmla="*/ 4070074 w 5705061"/>
              <a:gd name="connsiteY141" fmla="*/ 849796 h 2604052"/>
              <a:gd name="connsiteX142" fmla="*/ 4084983 w 5705061"/>
              <a:gd name="connsiteY142" fmla="*/ 844826 h 2604052"/>
              <a:gd name="connsiteX143" fmla="*/ 4114800 w 5705061"/>
              <a:gd name="connsiteY143" fmla="*/ 829917 h 2604052"/>
              <a:gd name="connsiteX144" fmla="*/ 4134679 w 5705061"/>
              <a:gd name="connsiteY144" fmla="*/ 810039 h 2604052"/>
              <a:gd name="connsiteX145" fmla="*/ 4144618 w 5705061"/>
              <a:gd name="connsiteY145" fmla="*/ 795131 h 2604052"/>
              <a:gd name="connsiteX146" fmla="*/ 4189344 w 5705061"/>
              <a:gd name="connsiteY146" fmla="*/ 780222 h 2604052"/>
              <a:gd name="connsiteX147" fmla="*/ 4204252 w 5705061"/>
              <a:gd name="connsiteY147" fmla="*/ 775252 h 2604052"/>
              <a:gd name="connsiteX148" fmla="*/ 4234070 w 5705061"/>
              <a:gd name="connsiteY148" fmla="*/ 755374 h 2604052"/>
              <a:gd name="connsiteX149" fmla="*/ 4248979 w 5705061"/>
              <a:gd name="connsiteY149" fmla="*/ 740465 h 2604052"/>
              <a:gd name="connsiteX150" fmla="*/ 4278796 w 5705061"/>
              <a:gd name="connsiteY150" fmla="*/ 730526 h 2604052"/>
              <a:gd name="connsiteX151" fmla="*/ 4293705 w 5705061"/>
              <a:gd name="connsiteY151" fmla="*/ 720587 h 2604052"/>
              <a:gd name="connsiteX152" fmla="*/ 4318552 w 5705061"/>
              <a:gd name="connsiteY152" fmla="*/ 685800 h 2604052"/>
              <a:gd name="connsiteX153" fmla="*/ 4328492 w 5705061"/>
              <a:gd name="connsiteY153" fmla="*/ 670891 h 2604052"/>
              <a:gd name="connsiteX154" fmla="*/ 4358309 w 5705061"/>
              <a:gd name="connsiteY154" fmla="*/ 651013 h 2604052"/>
              <a:gd name="connsiteX155" fmla="*/ 4373218 w 5705061"/>
              <a:gd name="connsiteY155" fmla="*/ 641074 h 2604052"/>
              <a:gd name="connsiteX156" fmla="*/ 4403035 w 5705061"/>
              <a:gd name="connsiteY156" fmla="*/ 621196 h 2604052"/>
              <a:gd name="connsiteX157" fmla="*/ 4432852 w 5705061"/>
              <a:gd name="connsiteY157" fmla="*/ 601317 h 2604052"/>
              <a:gd name="connsiteX158" fmla="*/ 4462670 w 5705061"/>
              <a:gd name="connsiteY158" fmla="*/ 591378 h 2604052"/>
              <a:gd name="connsiteX159" fmla="*/ 4492487 w 5705061"/>
              <a:gd name="connsiteY159" fmla="*/ 571500 h 2604052"/>
              <a:gd name="connsiteX160" fmla="*/ 4522305 w 5705061"/>
              <a:gd name="connsiteY160" fmla="*/ 546652 h 2604052"/>
              <a:gd name="connsiteX161" fmla="*/ 4576970 w 5705061"/>
              <a:gd name="connsiteY161" fmla="*/ 531744 h 2604052"/>
              <a:gd name="connsiteX162" fmla="*/ 4606787 w 5705061"/>
              <a:gd name="connsiteY162" fmla="*/ 521804 h 2604052"/>
              <a:gd name="connsiteX163" fmla="*/ 4621696 w 5705061"/>
              <a:gd name="connsiteY163" fmla="*/ 511865 h 2604052"/>
              <a:gd name="connsiteX164" fmla="*/ 4666422 w 5705061"/>
              <a:gd name="connsiteY164" fmla="*/ 506896 h 2604052"/>
              <a:gd name="connsiteX165" fmla="*/ 4671392 w 5705061"/>
              <a:gd name="connsiteY165" fmla="*/ 491987 h 2604052"/>
              <a:gd name="connsiteX166" fmla="*/ 4701209 w 5705061"/>
              <a:gd name="connsiteY166" fmla="*/ 477078 h 2604052"/>
              <a:gd name="connsiteX167" fmla="*/ 4706179 w 5705061"/>
              <a:gd name="connsiteY167" fmla="*/ 462170 h 2604052"/>
              <a:gd name="connsiteX168" fmla="*/ 4721087 w 5705061"/>
              <a:gd name="connsiteY168" fmla="*/ 447261 h 2604052"/>
              <a:gd name="connsiteX169" fmla="*/ 4775752 w 5705061"/>
              <a:gd name="connsiteY169" fmla="*/ 437322 h 2604052"/>
              <a:gd name="connsiteX170" fmla="*/ 4810539 w 5705061"/>
              <a:gd name="connsiteY170" fmla="*/ 432352 h 2604052"/>
              <a:gd name="connsiteX171" fmla="*/ 4835387 w 5705061"/>
              <a:gd name="connsiteY171" fmla="*/ 407504 h 2604052"/>
              <a:gd name="connsiteX172" fmla="*/ 4850296 w 5705061"/>
              <a:gd name="connsiteY172" fmla="*/ 397565 h 2604052"/>
              <a:gd name="connsiteX173" fmla="*/ 4875144 w 5705061"/>
              <a:gd name="connsiteY173" fmla="*/ 372717 h 2604052"/>
              <a:gd name="connsiteX174" fmla="*/ 4904961 w 5705061"/>
              <a:gd name="connsiteY174" fmla="*/ 367748 h 2604052"/>
              <a:gd name="connsiteX175" fmla="*/ 4919870 w 5705061"/>
              <a:gd name="connsiteY175" fmla="*/ 362778 h 2604052"/>
              <a:gd name="connsiteX176" fmla="*/ 4969566 w 5705061"/>
              <a:gd name="connsiteY176" fmla="*/ 342900 h 2604052"/>
              <a:gd name="connsiteX177" fmla="*/ 5054048 w 5705061"/>
              <a:gd name="connsiteY177" fmla="*/ 327991 h 2604052"/>
              <a:gd name="connsiteX178" fmla="*/ 5073926 w 5705061"/>
              <a:gd name="connsiteY178" fmla="*/ 323022 h 2604052"/>
              <a:gd name="connsiteX179" fmla="*/ 5083866 w 5705061"/>
              <a:gd name="connsiteY179" fmla="*/ 313083 h 2604052"/>
              <a:gd name="connsiteX180" fmla="*/ 5098774 w 5705061"/>
              <a:gd name="connsiteY180" fmla="*/ 308113 h 2604052"/>
              <a:gd name="connsiteX181" fmla="*/ 5103744 w 5705061"/>
              <a:gd name="connsiteY181" fmla="*/ 293204 h 2604052"/>
              <a:gd name="connsiteX182" fmla="*/ 5128592 w 5705061"/>
              <a:gd name="connsiteY182" fmla="*/ 293204 h 2604052"/>
              <a:gd name="connsiteX183" fmla="*/ 5178287 w 5705061"/>
              <a:gd name="connsiteY183" fmla="*/ 258417 h 2604052"/>
              <a:gd name="connsiteX184" fmla="*/ 5208105 w 5705061"/>
              <a:gd name="connsiteY184" fmla="*/ 223631 h 2604052"/>
              <a:gd name="connsiteX185" fmla="*/ 5223013 w 5705061"/>
              <a:gd name="connsiteY185" fmla="*/ 213691 h 2604052"/>
              <a:gd name="connsiteX186" fmla="*/ 5297557 w 5705061"/>
              <a:gd name="connsiteY186" fmla="*/ 213691 h 2604052"/>
              <a:gd name="connsiteX187" fmla="*/ 5312466 w 5705061"/>
              <a:gd name="connsiteY187" fmla="*/ 173935 h 2604052"/>
              <a:gd name="connsiteX188" fmla="*/ 5327374 w 5705061"/>
              <a:gd name="connsiteY188" fmla="*/ 173935 h 2604052"/>
              <a:gd name="connsiteX189" fmla="*/ 5327374 w 5705061"/>
              <a:gd name="connsiteY189" fmla="*/ 173935 h 2604052"/>
              <a:gd name="connsiteX190" fmla="*/ 5367131 w 5705061"/>
              <a:gd name="connsiteY190" fmla="*/ 114300 h 2604052"/>
              <a:gd name="connsiteX191" fmla="*/ 5367131 w 5705061"/>
              <a:gd name="connsiteY191" fmla="*/ 114300 h 2604052"/>
              <a:gd name="connsiteX192" fmla="*/ 5382039 w 5705061"/>
              <a:gd name="connsiteY192" fmla="*/ 104361 h 2604052"/>
              <a:gd name="connsiteX193" fmla="*/ 5382039 w 5705061"/>
              <a:gd name="connsiteY193" fmla="*/ 104361 h 2604052"/>
              <a:gd name="connsiteX194" fmla="*/ 5466522 w 5705061"/>
              <a:gd name="connsiteY194" fmla="*/ 84483 h 2604052"/>
              <a:gd name="connsiteX195" fmla="*/ 5466522 w 5705061"/>
              <a:gd name="connsiteY195" fmla="*/ 44726 h 2604052"/>
              <a:gd name="connsiteX196" fmla="*/ 5551005 w 5705061"/>
              <a:gd name="connsiteY196" fmla="*/ 54665 h 2604052"/>
              <a:gd name="connsiteX197" fmla="*/ 5560944 w 5705061"/>
              <a:gd name="connsiteY197" fmla="*/ 4970 h 2604052"/>
              <a:gd name="connsiteX198" fmla="*/ 5705061 w 5705061"/>
              <a:gd name="connsiteY198"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48879 w 5705061"/>
              <a:gd name="connsiteY119" fmla="*/ 1152939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16626 w 5705061"/>
              <a:gd name="connsiteY130" fmla="*/ 988944 h 2604052"/>
              <a:gd name="connsiteX131" fmla="*/ 3826566 w 5705061"/>
              <a:gd name="connsiteY131" fmla="*/ 979004 h 2604052"/>
              <a:gd name="connsiteX132" fmla="*/ 3906079 w 5705061"/>
              <a:gd name="connsiteY132" fmla="*/ 969065 h 2604052"/>
              <a:gd name="connsiteX133" fmla="*/ 3925957 w 5705061"/>
              <a:gd name="connsiteY133" fmla="*/ 954157 h 2604052"/>
              <a:gd name="connsiteX134" fmla="*/ 3945835 w 5705061"/>
              <a:gd name="connsiteY134" fmla="*/ 944217 h 2604052"/>
              <a:gd name="connsiteX135" fmla="*/ 3960744 w 5705061"/>
              <a:gd name="connsiteY135" fmla="*/ 934278 h 2604052"/>
              <a:gd name="connsiteX136" fmla="*/ 3965713 w 5705061"/>
              <a:gd name="connsiteY136" fmla="*/ 919370 h 2604052"/>
              <a:gd name="connsiteX137" fmla="*/ 3990561 w 5705061"/>
              <a:gd name="connsiteY137" fmla="*/ 894522 h 2604052"/>
              <a:gd name="connsiteX138" fmla="*/ 4020379 w 5705061"/>
              <a:gd name="connsiteY138" fmla="*/ 884583 h 2604052"/>
              <a:gd name="connsiteX139" fmla="*/ 4050196 w 5705061"/>
              <a:gd name="connsiteY139" fmla="*/ 864704 h 2604052"/>
              <a:gd name="connsiteX140" fmla="*/ 4070074 w 5705061"/>
              <a:gd name="connsiteY140" fmla="*/ 849796 h 2604052"/>
              <a:gd name="connsiteX141" fmla="*/ 4084983 w 5705061"/>
              <a:gd name="connsiteY141" fmla="*/ 844826 h 2604052"/>
              <a:gd name="connsiteX142" fmla="*/ 4114800 w 5705061"/>
              <a:gd name="connsiteY142" fmla="*/ 829917 h 2604052"/>
              <a:gd name="connsiteX143" fmla="*/ 4134679 w 5705061"/>
              <a:gd name="connsiteY143" fmla="*/ 810039 h 2604052"/>
              <a:gd name="connsiteX144" fmla="*/ 4144618 w 5705061"/>
              <a:gd name="connsiteY144" fmla="*/ 795131 h 2604052"/>
              <a:gd name="connsiteX145" fmla="*/ 4189344 w 5705061"/>
              <a:gd name="connsiteY145" fmla="*/ 780222 h 2604052"/>
              <a:gd name="connsiteX146" fmla="*/ 4204252 w 5705061"/>
              <a:gd name="connsiteY146" fmla="*/ 775252 h 2604052"/>
              <a:gd name="connsiteX147" fmla="*/ 4234070 w 5705061"/>
              <a:gd name="connsiteY147" fmla="*/ 755374 h 2604052"/>
              <a:gd name="connsiteX148" fmla="*/ 4248979 w 5705061"/>
              <a:gd name="connsiteY148" fmla="*/ 740465 h 2604052"/>
              <a:gd name="connsiteX149" fmla="*/ 4278796 w 5705061"/>
              <a:gd name="connsiteY149" fmla="*/ 730526 h 2604052"/>
              <a:gd name="connsiteX150" fmla="*/ 4293705 w 5705061"/>
              <a:gd name="connsiteY150" fmla="*/ 720587 h 2604052"/>
              <a:gd name="connsiteX151" fmla="*/ 4318552 w 5705061"/>
              <a:gd name="connsiteY151" fmla="*/ 685800 h 2604052"/>
              <a:gd name="connsiteX152" fmla="*/ 4328492 w 5705061"/>
              <a:gd name="connsiteY152" fmla="*/ 670891 h 2604052"/>
              <a:gd name="connsiteX153" fmla="*/ 4358309 w 5705061"/>
              <a:gd name="connsiteY153" fmla="*/ 651013 h 2604052"/>
              <a:gd name="connsiteX154" fmla="*/ 4373218 w 5705061"/>
              <a:gd name="connsiteY154" fmla="*/ 641074 h 2604052"/>
              <a:gd name="connsiteX155" fmla="*/ 4403035 w 5705061"/>
              <a:gd name="connsiteY155" fmla="*/ 621196 h 2604052"/>
              <a:gd name="connsiteX156" fmla="*/ 4432852 w 5705061"/>
              <a:gd name="connsiteY156" fmla="*/ 601317 h 2604052"/>
              <a:gd name="connsiteX157" fmla="*/ 4462670 w 5705061"/>
              <a:gd name="connsiteY157" fmla="*/ 591378 h 2604052"/>
              <a:gd name="connsiteX158" fmla="*/ 4492487 w 5705061"/>
              <a:gd name="connsiteY158" fmla="*/ 571500 h 2604052"/>
              <a:gd name="connsiteX159" fmla="*/ 4522305 w 5705061"/>
              <a:gd name="connsiteY159" fmla="*/ 546652 h 2604052"/>
              <a:gd name="connsiteX160" fmla="*/ 4576970 w 5705061"/>
              <a:gd name="connsiteY160" fmla="*/ 531744 h 2604052"/>
              <a:gd name="connsiteX161" fmla="*/ 4606787 w 5705061"/>
              <a:gd name="connsiteY161" fmla="*/ 521804 h 2604052"/>
              <a:gd name="connsiteX162" fmla="*/ 4621696 w 5705061"/>
              <a:gd name="connsiteY162" fmla="*/ 511865 h 2604052"/>
              <a:gd name="connsiteX163" fmla="*/ 4666422 w 5705061"/>
              <a:gd name="connsiteY163" fmla="*/ 506896 h 2604052"/>
              <a:gd name="connsiteX164" fmla="*/ 4671392 w 5705061"/>
              <a:gd name="connsiteY164" fmla="*/ 491987 h 2604052"/>
              <a:gd name="connsiteX165" fmla="*/ 4701209 w 5705061"/>
              <a:gd name="connsiteY165" fmla="*/ 477078 h 2604052"/>
              <a:gd name="connsiteX166" fmla="*/ 4706179 w 5705061"/>
              <a:gd name="connsiteY166" fmla="*/ 462170 h 2604052"/>
              <a:gd name="connsiteX167" fmla="*/ 4721087 w 5705061"/>
              <a:gd name="connsiteY167" fmla="*/ 447261 h 2604052"/>
              <a:gd name="connsiteX168" fmla="*/ 4775752 w 5705061"/>
              <a:gd name="connsiteY168" fmla="*/ 437322 h 2604052"/>
              <a:gd name="connsiteX169" fmla="*/ 4810539 w 5705061"/>
              <a:gd name="connsiteY169" fmla="*/ 432352 h 2604052"/>
              <a:gd name="connsiteX170" fmla="*/ 4835387 w 5705061"/>
              <a:gd name="connsiteY170" fmla="*/ 407504 h 2604052"/>
              <a:gd name="connsiteX171" fmla="*/ 4850296 w 5705061"/>
              <a:gd name="connsiteY171" fmla="*/ 397565 h 2604052"/>
              <a:gd name="connsiteX172" fmla="*/ 4875144 w 5705061"/>
              <a:gd name="connsiteY172" fmla="*/ 372717 h 2604052"/>
              <a:gd name="connsiteX173" fmla="*/ 4904961 w 5705061"/>
              <a:gd name="connsiteY173" fmla="*/ 367748 h 2604052"/>
              <a:gd name="connsiteX174" fmla="*/ 4919870 w 5705061"/>
              <a:gd name="connsiteY174" fmla="*/ 362778 h 2604052"/>
              <a:gd name="connsiteX175" fmla="*/ 4969566 w 5705061"/>
              <a:gd name="connsiteY175" fmla="*/ 342900 h 2604052"/>
              <a:gd name="connsiteX176" fmla="*/ 5054048 w 5705061"/>
              <a:gd name="connsiteY176" fmla="*/ 327991 h 2604052"/>
              <a:gd name="connsiteX177" fmla="*/ 5073926 w 5705061"/>
              <a:gd name="connsiteY177" fmla="*/ 323022 h 2604052"/>
              <a:gd name="connsiteX178" fmla="*/ 5083866 w 5705061"/>
              <a:gd name="connsiteY178" fmla="*/ 313083 h 2604052"/>
              <a:gd name="connsiteX179" fmla="*/ 5098774 w 5705061"/>
              <a:gd name="connsiteY179" fmla="*/ 308113 h 2604052"/>
              <a:gd name="connsiteX180" fmla="*/ 5103744 w 5705061"/>
              <a:gd name="connsiteY180" fmla="*/ 293204 h 2604052"/>
              <a:gd name="connsiteX181" fmla="*/ 5128592 w 5705061"/>
              <a:gd name="connsiteY181" fmla="*/ 293204 h 2604052"/>
              <a:gd name="connsiteX182" fmla="*/ 5178287 w 5705061"/>
              <a:gd name="connsiteY182" fmla="*/ 258417 h 2604052"/>
              <a:gd name="connsiteX183" fmla="*/ 5208105 w 5705061"/>
              <a:gd name="connsiteY183" fmla="*/ 223631 h 2604052"/>
              <a:gd name="connsiteX184" fmla="*/ 5223013 w 5705061"/>
              <a:gd name="connsiteY184" fmla="*/ 213691 h 2604052"/>
              <a:gd name="connsiteX185" fmla="*/ 5297557 w 5705061"/>
              <a:gd name="connsiteY185" fmla="*/ 213691 h 2604052"/>
              <a:gd name="connsiteX186" fmla="*/ 5312466 w 5705061"/>
              <a:gd name="connsiteY186" fmla="*/ 173935 h 2604052"/>
              <a:gd name="connsiteX187" fmla="*/ 5327374 w 5705061"/>
              <a:gd name="connsiteY187" fmla="*/ 173935 h 2604052"/>
              <a:gd name="connsiteX188" fmla="*/ 5327374 w 5705061"/>
              <a:gd name="connsiteY188" fmla="*/ 173935 h 2604052"/>
              <a:gd name="connsiteX189" fmla="*/ 5367131 w 5705061"/>
              <a:gd name="connsiteY189" fmla="*/ 114300 h 2604052"/>
              <a:gd name="connsiteX190" fmla="*/ 5367131 w 5705061"/>
              <a:gd name="connsiteY190" fmla="*/ 114300 h 2604052"/>
              <a:gd name="connsiteX191" fmla="*/ 5382039 w 5705061"/>
              <a:gd name="connsiteY191" fmla="*/ 104361 h 2604052"/>
              <a:gd name="connsiteX192" fmla="*/ 5382039 w 5705061"/>
              <a:gd name="connsiteY192" fmla="*/ 104361 h 2604052"/>
              <a:gd name="connsiteX193" fmla="*/ 5466522 w 5705061"/>
              <a:gd name="connsiteY193" fmla="*/ 84483 h 2604052"/>
              <a:gd name="connsiteX194" fmla="*/ 5466522 w 5705061"/>
              <a:gd name="connsiteY194" fmla="*/ 44726 h 2604052"/>
              <a:gd name="connsiteX195" fmla="*/ 5551005 w 5705061"/>
              <a:gd name="connsiteY195" fmla="*/ 54665 h 2604052"/>
              <a:gd name="connsiteX196" fmla="*/ 5560944 w 5705061"/>
              <a:gd name="connsiteY196" fmla="*/ 4970 h 2604052"/>
              <a:gd name="connsiteX197" fmla="*/ 5705061 w 5705061"/>
              <a:gd name="connsiteY197"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16626 w 5705061"/>
              <a:gd name="connsiteY130" fmla="*/ 988944 h 2604052"/>
              <a:gd name="connsiteX131" fmla="*/ 3826566 w 5705061"/>
              <a:gd name="connsiteY131" fmla="*/ 979004 h 2604052"/>
              <a:gd name="connsiteX132" fmla="*/ 3906079 w 5705061"/>
              <a:gd name="connsiteY132" fmla="*/ 969065 h 2604052"/>
              <a:gd name="connsiteX133" fmla="*/ 3925957 w 5705061"/>
              <a:gd name="connsiteY133" fmla="*/ 954157 h 2604052"/>
              <a:gd name="connsiteX134" fmla="*/ 3945835 w 5705061"/>
              <a:gd name="connsiteY134" fmla="*/ 944217 h 2604052"/>
              <a:gd name="connsiteX135" fmla="*/ 3960744 w 5705061"/>
              <a:gd name="connsiteY135" fmla="*/ 934278 h 2604052"/>
              <a:gd name="connsiteX136" fmla="*/ 3965713 w 5705061"/>
              <a:gd name="connsiteY136" fmla="*/ 919370 h 2604052"/>
              <a:gd name="connsiteX137" fmla="*/ 3990561 w 5705061"/>
              <a:gd name="connsiteY137" fmla="*/ 894522 h 2604052"/>
              <a:gd name="connsiteX138" fmla="*/ 4020379 w 5705061"/>
              <a:gd name="connsiteY138" fmla="*/ 884583 h 2604052"/>
              <a:gd name="connsiteX139" fmla="*/ 4050196 w 5705061"/>
              <a:gd name="connsiteY139" fmla="*/ 864704 h 2604052"/>
              <a:gd name="connsiteX140" fmla="*/ 4070074 w 5705061"/>
              <a:gd name="connsiteY140" fmla="*/ 849796 h 2604052"/>
              <a:gd name="connsiteX141" fmla="*/ 4084983 w 5705061"/>
              <a:gd name="connsiteY141" fmla="*/ 844826 h 2604052"/>
              <a:gd name="connsiteX142" fmla="*/ 4114800 w 5705061"/>
              <a:gd name="connsiteY142" fmla="*/ 829917 h 2604052"/>
              <a:gd name="connsiteX143" fmla="*/ 4134679 w 5705061"/>
              <a:gd name="connsiteY143" fmla="*/ 810039 h 2604052"/>
              <a:gd name="connsiteX144" fmla="*/ 4144618 w 5705061"/>
              <a:gd name="connsiteY144" fmla="*/ 795131 h 2604052"/>
              <a:gd name="connsiteX145" fmla="*/ 4189344 w 5705061"/>
              <a:gd name="connsiteY145" fmla="*/ 780222 h 2604052"/>
              <a:gd name="connsiteX146" fmla="*/ 4204252 w 5705061"/>
              <a:gd name="connsiteY146" fmla="*/ 775252 h 2604052"/>
              <a:gd name="connsiteX147" fmla="*/ 4234070 w 5705061"/>
              <a:gd name="connsiteY147" fmla="*/ 755374 h 2604052"/>
              <a:gd name="connsiteX148" fmla="*/ 4248979 w 5705061"/>
              <a:gd name="connsiteY148" fmla="*/ 740465 h 2604052"/>
              <a:gd name="connsiteX149" fmla="*/ 4278796 w 5705061"/>
              <a:gd name="connsiteY149" fmla="*/ 730526 h 2604052"/>
              <a:gd name="connsiteX150" fmla="*/ 4293705 w 5705061"/>
              <a:gd name="connsiteY150" fmla="*/ 720587 h 2604052"/>
              <a:gd name="connsiteX151" fmla="*/ 4318552 w 5705061"/>
              <a:gd name="connsiteY151" fmla="*/ 685800 h 2604052"/>
              <a:gd name="connsiteX152" fmla="*/ 4328492 w 5705061"/>
              <a:gd name="connsiteY152" fmla="*/ 670891 h 2604052"/>
              <a:gd name="connsiteX153" fmla="*/ 4358309 w 5705061"/>
              <a:gd name="connsiteY153" fmla="*/ 651013 h 2604052"/>
              <a:gd name="connsiteX154" fmla="*/ 4373218 w 5705061"/>
              <a:gd name="connsiteY154" fmla="*/ 641074 h 2604052"/>
              <a:gd name="connsiteX155" fmla="*/ 4403035 w 5705061"/>
              <a:gd name="connsiteY155" fmla="*/ 621196 h 2604052"/>
              <a:gd name="connsiteX156" fmla="*/ 4432852 w 5705061"/>
              <a:gd name="connsiteY156" fmla="*/ 601317 h 2604052"/>
              <a:gd name="connsiteX157" fmla="*/ 4462670 w 5705061"/>
              <a:gd name="connsiteY157" fmla="*/ 591378 h 2604052"/>
              <a:gd name="connsiteX158" fmla="*/ 4492487 w 5705061"/>
              <a:gd name="connsiteY158" fmla="*/ 571500 h 2604052"/>
              <a:gd name="connsiteX159" fmla="*/ 4522305 w 5705061"/>
              <a:gd name="connsiteY159" fmla="*/ 546652 h 2604052"/>
              <a:gd name="connsiteX160" fmla="*/ 4576970 w 5705061"/>
              <a:gd name="connsiteY160" fmla="*/ 531744 h 2604052"/>
              <a:gd name="connsiteX161" fmla="*/ 4606787 w 5705061"/>
              <a:gd name="connsiteY161" fmla="*/ 521804 h 2604052"/>
              <a:gd name="connsiteX162" fmla="*/ 4621696 w 5705061"/>
              <a:gd name="connsiteY162" fmla="*/ 511865 h 2604052"/>
              <a:gd name="connsiteX163" fmla="*/ 4666422 w 5705061"/>
              <a:gd name="connsiteY163" fmla="*/ 506896 h 2604052"/>
              <a:gd name="connsiteX164" fmla="*/ 4671392 w 5705061"/>
              <a:gd name="connsiteY164" fmla="*/ 491987 h 2604052"/>
              <a:gd name="connsiteX165" fmla="*/ 4701209 w 5705061"/>
              <a:gd name="connsiteY165" fmla="*/ 477078 h 2604052"/>
              <a:gd name="connsiteX166" fmla="*/ 4706179 w 5705061"/>
              <a:gd name="connsiteY166" fmla="*/ 462170 h 2604052"/>
              <a:gd name="connsiteX167" fmla="*/ 4721087 w 5705061"/>
              <a:gd name="connsiteY167" fmla="*/ 447261 h 2604052"/>
              <a:gd name="connsiteX168" fmla="*/ 4775752 w 5705061"/>
              <a:gd name="connsiteY168" fmla="*/ 437322 h 2604052"/>
              <a:gd name="connsiteX169" fmla="*/ 4810539 w 5705061"/>
              <a:gd name="connsiteY169" fmla="*/ 432352 h 2604052"/>
              <a:gd name="connsiteX170" fmla="*/ 4835387 w 5705061"/>
              <a:gd name="connsiteY170" fmla="*/ 407504 h 2604052"/>
              <a:gd name="connsiteX171" fmla="*/ 4850296 w 5705061"/>
              <a:gd name="connsiteY171" fmla="*/ 397565 h 2604052"/>
              <a:gd name="connsiteX172" fmla="*/ 4875144 w 5705061"/>
              <a:gd name="connsiteY172" fmla="*/ 372717 h 2604052"/>
              <a:gd name="connsiteX173" fmla="*/ 4904961 w 5705061"/>
              <a:gd name="connsiteY173" fmla="*/ 367748 h 2604052"/>
              <a:gd name="connsiteX174" fmla="*/ 4919870 w 5705061"/>
              <a:gd name="connsiteY174" fmla="*/ 362778 h 2604052"/>
              <a:gd name="connsiteX175" fmla="*/ 4969566 w 5705061"/>
              <a:gd name="connsiteY175" fmla="*/ 342900 h 2604052"/>
              <a:gd name="connsiteX176" fmla="*/ 5054048 w 5705061"/>
              <a:gd name="connsiteY176" fmla="*/ 327991 h 2604052"/>
              <a:gd name="connsiteX177" fmla="*/ 5073926 w 5705061"/>
              <a:gd name="connsiteY177" fmla="*/ 323022 h 2604052"/>
              <a:gd name="connsiteX178" fmla="*/ 5083866 w 5705061"/>
              <a:gd name="connsiteY178" fmla="*/ 313083 h 2604052"/>
              <a:gd name="connsiteX179" fmla="*/ 5098774 w 5705061"/>
              <a:gd name="connsiteY179" fmla="*/ 308113 h 2604052"/>
              <a:gd name="connsiteX180" fmla="*/ 5103744 w 5705061"/>
              <a:gd name="connsiteY180" fmla="*/ 293204 h 2604052"/>
              <a:gd name="connsiteX181" fmla="*/ 5128592 w 5705061"/>
              <a:gd name="connsiteY181" fmla="*/ 293204 h 2604052"/>
              <a:gd name="connsiteX182" fmla="*/ 5178287 w 5705061"/>
              <a:gd name="connsiteY182" fmla="*/ 258417 h 2604052"/>
              <a:gd name="connsiteX183" fmla="*/ 5208105 w 5705061"/>
              <a:gd name="connsiteY183" fmla="*/ 223631 h 2604052"/>
              <a:gd name="connsiteX184" fmla="*/ 5223013 w 5705061"/>
              <a:gd name="connsiteY184" fmla="*/ 213691 h 2604052"/>
              <a:gd name="connsiteX185" fmla="*/ 5297557 w 5705061"/>
              <a:gd name="connsiteY185" fmla="*/ 213691 h 2604052"/>
              <a:gd name="connsiteX186" fmla="*/ 5312466 w 5705061"/>
              <a:gd name="connsiteY186" fmla="*/ 173935 h 2604052"/>
              <a:gd name="connsiteX187" fmla="*/ 5327374 w 5705061"/>
              <a:gd name="connsiteY187" fmla="*/ 173935 h 2604052"/>
              <a:gd name="connsiteX188" fmla="*/ 5327374 w 5705061"/>
              <a:gd name="connsiteY188" fmla="*/ 173935 h 2604052"/>
              <a:gd name="connsiteX189" fmla="*/ 5367131 w 5705061"/>
              <a:gd name="connsiteY189" fmla="*/ 114300 h 2604052"/>
              <a:gd name="connsiteX190" fmla="*/ 5367131 w 5705061"/>
              <a:gd name="connsiteY190" fmla="*/ 114300 h 2604052"/>
              <a:gd name="connsiteX191" fmla="*/ 5382039 w 5705061"/>
              <a:gd name="connsiteY191" fmla="*/ 104361 h 2604052"/>
              <a:gd name="connsiteX192" fmla="*/ 5382039 w 5705061"/>
              <a:gd name="connsiteY192" fmla="*/ 104361 h 2604052"/>
              <a:gd name="connsiteX193" fmla="*/ 5466522 w 5705061"/>
              <a:gd name="connsiteY193" fmla="*/ 84483 h 2604052"/>
              <a:gd name="connsiteX194" fmla="*/ 5466522 w 5705061"/>
              <a:gd name="connsiteY194" fmla="*/ 44726 h 2604052"/>
              <a:gd name="connsiteX195" fmla="*/ 5551005 w 5705061"/>
              <a:gd name="connsiteY195" fmla="*/ 54665 h 2604052"/>
              <a:gd name="connsiteX196" fmla="*/ 5560944 w 5705061"/>
              <a:gd name="connsiteY196" fmla="*/ 4970 h 2604052"/>
              <a:gd name="connsiteX197" fmla="*/ 5705061 w 5705061"/>
              <a:gd name="connsiteY197"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16626 w 5705061"/>
              <a:gd name="connsiteY130" fmla="*/ 988944 h 2604052"/>
              <a:gd name="connsiteX131" fmla="*/ 3836505 w 5705061"/>
              <a:gd name="connsiteY131" fmla="*/ 996895 h 2604052"/>
              <a:gd name="connsiteX132" fmla="*/ 3906079 w 5705061"/>
              <a:gd name="connsiteY132" fmla="*/ 969065 h 2604052"/>
              <a:gd name="connsiteX133" fmla="*/ 3925957 w 5705061"/>
              <a:gd name="connsiteY133" fmla="*/ 954157 h 2604052"/>
              <a:gd name="connsiteX134" fmla="*/ 3945835 w 5705061"/>
              <a:gd name="connsiteY134" fmla="*/ 944217 h 2604052"/>
              <a:gd name="connsiteX135" fmla="*/ 3960744 w 5705061"/>
              <a:gd name="connsiteY135" fmla="*/ 934278 h 2604052"/>
              <a:gd name="connsiteX136" fmla="*/ 3965713 w 5705061"/>
              <a:gd name="connsiteY136" fmla="*/ 919370 h 2604052"/>
              <a:gd name="connsiteX137" fmla="*/ 3990561 w 5705061"/>
              <a:gd name="connsiteY137" fmla="*/ 894522 h 2604052"/>
              <a:gd name="connsiteX138" fmla="*/ 4020379 w 5705061"/>
              <a:gd name="connsiteY138" fmla="*/ 884583 h 2604052"/>
              <a:gd name="connsiteX139" fmla="*/ 4050196 w 5705061"/>
              <a:gd name="connsiteY139" fmla="*/ 864704 h 2604052"/>
              <a:gd name="connsiteX140" fmla="*/ 4070074 w 5705061"/>
              <a:gd name="connsiteY140" fmla="*/ 849796 h 2604052"/>
              <a:gd name="connsiteX141" fmla="*/ 4084983 w 5705061"/>
              <a:gd name="connsiteY141" fmla="*/ 844826 h 2604052"/>
              <a:gd name="connsiteX142" fmla="*/ 4114800 w 5705061"/>
              <a:gd name="connsiteY142" fmla="*/ 829917 h 2604052"/>
              <a:gd name="connsiteX143" fmla="*/ 4134679 w 5705061"/>
              <a:gd name="connsiteY143" fmla="*/ 810039 h 2604052"/>
              <a:gd name="connsiteX144" fmla="*/ 4144618 w 5705061"/>
              <a:gd name="connsiteY144" fmla="*/ 795131 h 2604052"/>
              <a:gd name="connsiteX145" fmla="*/ 4189344 w 5705061"/>
              <a:gd name="connsiteY145" fmla="*/ 780222 h 2604052"/>
              <a:gd name="connsiteX146" fmla="*/ 4204252 w 5705061"/>
              <a:gd name="connsiteY146" fmla="*/ 775252 h 2604052"/>
              <a:gd name="connsiteX147" fmla="*/ 4234070 w 5705061"/>
              <a:gd name="connsiteY147" fmla="*/ 755374 h 2604052"/>
              <a:gd name="connsiteX148" fmla="*/ 4248979 w 5705061"/>
              <a:gd name="connsiteY148" fmla="*/ 740465 h 2604052"/>
              <a:gd name="connsiteX149" fmla="*/ 4278796 w 5705061"/>
              <a:gd name="connsiteY149" fmla="*/ 730526 h 2604052"/>
              <a:gd name="connsiteX150" fmla="*/ 4293705 w 5705061"/>
              <a:gd name="connsiteY150" fmla="*/ 720587 h 2604052"/>
              <a:gd name="connsiteX151" fmla="*/ 4318552 w 5705061"/>
              <a:gd name="connsiteY151" fmla="*/ 685800 h 2604052"/>
              <a:gd name="connsiteX152" fmla="*/ 4328492 w 5705061"/>
              <a:gd name="connsiteY152" fmla="*/ 670891 h 2604052"/>
              <a:gd name="connsiteX153" fmla="*/ 4358309 w 5705061"/>
              <a:gd name="connsiteY153" fmla="*/ 651013 h 2604052"/>
              <a:gd name="connsiteX154" fmla="*/ 4373218 w 5705061"/>
              <a:gd name="connsiteY154" fmla="*/ 641074 h 2604052"/>
              <a:gd name="connsiteX155" fmla="*/ 4403035 w 5705061"/>
              <a:gd name="connsiteY155" fmla="*/ 621196 h 2604052"/>
              <a:gd name="connsiteX156" fmla="*/ 4432852 w 5705061"/>
              <a:gd name="connsiteY156" fmla="*/ 601317 h 2604052"/>
              <a:gd name="connsiteX157" fmla="*/ 4462670 w 5705061"/>
              <a:gd name="connsiteY157" fmla="*/ 591378 h 2604052"/>
              <a:gd name="connsiteX158" fmla="*/ 4492487 w 5705061"/>
              <a:gd name="connsiteY158" fmla="*/ 571500 h 2604052"/>
              <a:gd name="connsiteX159" fmla="*/ 4522305 w 5705061"/>
              <a:gd name="connsiteY159" fmla="*/ 546652 h 2604052"/>
              <a:gd name="connsiteX160" fmla="*/ 4576970 w 5705061"/>
              <a:gd name="connsiteY160" fmla="*/ 531744 h 2604052"/>
              <a:gd name="connsiteX161" fmla="*/ 4606787 w 5705061"/>
              <a:gd name="connsiteY161" fmla="*/ 521804 h 2604052"/>
              <a:gd name="connsiteX162" fmla="*/ 4621696 w 5705061"/>
              <a:gd name="connsiteY162" fmla="*/ 511865 h 2604052"/>
              <a:gd name="connsiteX163" fmla="*/ 4666422 w 5705061"/>
              <a:gd name="connsiteY163" fmla="*/ 506896 h 2604052"/>
              <a:gd name="connsiteX164" fmla="*/ 4671392 w 5705061"/>
              <a:gd name="connsiteY164" fmla="*/ 491987 h 2604052"/>
              <a:gd name="connsiteX165" fmla="*/ 4701209 w 5705061"/>
              <a:gd name="connsiteY165" fmla="*/ 477078 h 2604052"/>
              <a:gd name="connsiteX166" fmla="*/ 4706179 w 5705061"/>
              <a:gd name="connsiteY166" fmla="*/ 462170 h 2604052"/>
              <a:gd name="connsiteX167" fmla="*/ 4721087 w 5705061"/>
              <a:gd name="connsiteY167" fmla="*/ 447261 h 2604052"/>
              <a:gd name="connsiteX168" fmla="*/ 4775752 w 5705061"/>
              <a:gd name="connsiteY168" fmla="*/ 437322 h 2604052"/>
              <a:gd name="connsiteX169" fmla="*/ 4810539 w 5705061"/>
              <a:gd name="connsiteY169" fmla="*/ 432352 h 2604052"/>
              <a:gd name="connsiteX170" fmla="*/ 4835387 w 5705061"/>
              <a:gd name="connsiteY170" fmla="*/ 407504 h 2604052"/>
              <a:gd name="connsiteX171" fmla="*/ 4850296 w 5705061"/>
              <a:gd name="connsiteY171" fmla="*/ 397565 h 2604052"/>
              <a:gd name="connsiteX172" fmla="*/ 4875144 w 5705061"/>
              <a:gd name="connsiteY172" fmla="*/ 372717 h 2604052"/>
              <a:gd name="connsiteX173" fmla="*/ 4904961 w 5705061"/>
              <a:gd name="connsiteY173" fmla="*/ 367748 h 2604052"/>
              <a:gd name="connsiteX174" fmla="*/ 4919870 w 5705061"/>
              <a:gd name="connsiteY174" fmla="*/ 362778 h 2604052"/>
              <a:gd name="connsiteX175" fmla="*/ 4969566 w 5705061"/>
              <a:gd name="connsiteY175" fmla="*/ 342900 h 2604052"/>
              <a:gd name="connsiteX176" fmla="*/ 5054048 w 5705061"/>
              <a:gd name="connsiteY176" fmla="*/ 327991 h 2604052"/>
              <a:gd name="connsiteX177" fmla="*/ 5073926 w 5705061"/>
              <a:gd name="connsiteY177" fmla="*/ 323022 h 2604052"/>
              <a:gd name="connsiteX178" fmla="*/ 5083866 w 5705061"/>
              <a:gd name="connsiteY178" fmla="*/ 313083 h 2604052"/>
              <a:gd name="connsiteX179" fmla="*/ 5098774 w 5705061"/>
              <a:gd name="connsiteY179" fmla="*/ 308113 h 2604052"/>
              <a:gd name="connsiteX180" fmla="*/ 5103744 w 5705061"/>
              <a:gd name="connsiteY180" fmla="*/ 293204 h 2604052"/>
              <a:gd name="connsiteX181" fmla="*/ 5128592 w 5705061"/>
              <a:gd name="connsiteY181" fmla="*/ 293204 h 2604052"/>
              <a:gd name="connsiteX182" fmla="*/ 5178287 w 5705061"/>
              <a:gd name="connsiteY182" fmla="*/ 258417 h 2604052"/>
              <a:gd name="connsiteX183" fmla="*/ 5208105 w 5705061"/>
              <a:gd name="connsiteY183" fmla="*/ 223631 h 2604052"/>
              <a:gd name="connsiteX184" fmla="*/ 5223013 w 5705061"/>
              <a:gd name="connsiteY184" fmla="*/ 213691 h 2604052"/>
              <a:gd name="connsiteX185" fmla="*/ 5297557 w 5705061"/>
              <a:gd name="connsiteY185" fmla="*/ 213691 h 2604052"/>
              <a:gd name="connsiteX186" fmla="*/ 5312466 w 5705061"/>
              <a:gd name="connsiteY186" fmla="*/ 173935 h 2604052"/>
              <a:gd name="connsiteX187" fmla="*/ 5327374 w 5705061"/>
              <a:gd name="connsiteY187" fmla="*/ 173935 h 2604052"/>
              <a:gd name="connsiteX188" fmla="*/ 5327374 w 5705061"/>
              <a:gd name="connsiteY188" fmla="*/ 173935 h 2604052"/>
              <a:gd name="connsiteX189" fmla="*/ 5367131 w 5705061"/>
              <a:gd name="connsiteY189" fmla="*/ 114300 h 2604052"/>
              <a:gd name="connsiteX190" fmla="*/ 5367131 w 5705061"/>
              <a:gd name="connsiteY190" fmla="*/ 114300 h 2604052"/>
              <a:gd name="connsiteX191" fmla="*/ 5382039 w 5705061"/>
              <a:gd name="connsiteY191" fmla="*/ 104361 h 2604052"/>
              <a:gd name="connsiteX192" fmla="*/ 5382039 w 5705061"/>
              <a:gd name="connsiteY192" fmla="*/ 104361 h 2604052"/>
              <a:gd name="connsiteX193" fmla="*/ 5466522 w 5705061"/>
              <a:gd name="connsiteY193" fmla="*/ 84483 h 2604052"/>
              <a:gd name="connsiteX194" fmla="*/ 5466522 w 5705061"/>
              <a:gd name="connsiteY194" fmla="*/ 44726 h 2604052"/>
              <a:gd name="connsiteX195" fmla="*/ 5551005 w 5705061"/>
              <a:gd name="connsiteY195" fmla="*/ 54665 h 2604052"/>
              <a:gd name="connsiteX196" fmla="*/ 5560944 w 5705061"/>
              <a:gd name="connsiteY196" fmla="*/ 4970 h 2604052"/>
              <a:gd name="connsiteX197" fmla="*/ 5705061 w 5705061"/>
              <a:gd name="connsiteY197"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16626 w 5705061"/>
              <a:gd name="connsiteY130" fmla="*/ 988944 h 2604052"/>
              <a:gd name="connsiteX131" fmla="*/ 3836505 w 5705061"/>
              <a:gd name="connsiteY131" fmla="*/ 996895 h 2604052"/>
              <a:gd name="connsiteX132" fmla="*/ 3894152 w 5705061"/>
              <a:gd name="connsiteY132" fmla="*/ 988943 h 2604052"/>
              <a:gd name="connsiteX133" fmla="*/ 3925957 w 5705061"/>
              <a:gd name="connsiteY133" fmla="*/ 954157 h 2604052"/>
              <a:gd name="connsiteX134" fmla="*/ 3945835 w 5705061"/>
              <a:gd name="connsiteY134" fmla="*/ 944217 h 2604052"/>
              <a:gd name="connsiteX135" fmla="*/ 3960744 w 5705061"/>
              <a:gd name="connsiteY135" fmla="*/ 934278 h 2604052"/>
              <a:gd name="connsiteX136" fmla="*/ 3965713 w 5705061"/>
              <a:gd name="connsiteY136" fmla="*/ 919370 h 2604052"/>
              <a:gd name="connsiteX137" fmla="*/ 3990561 w 5705061"/>
              <a:gd name="connsiteY137" fmla="*/ 894522 h 2604052"/>
              <a:gd name="connsiteX138" fmla="*/ 4020379 w 5705061"/>
              <a:gd name="connsiteY138" fmla="*/ 884583 h 2604052"/>
              <a:gd name="connsiteX139" fmla="*/ 4050196 w 5705061"/>
              <a:gd name="connsiteY139" fmla="*/ 864704 h 2604052"/>
              <a:gd name="connsiteX140" fmla="*/ 4070074 w 5705061"/>
              <a:gd name="connsiteY140" fmla="*/ 849796 h 2604052"/>
              <a:gd name="connsiteX141" fmla="*/ 4084983 w 5705061"/>
              <a:gd name="connsiteY141" fmla="*/ 844826 h 2604052"/>
              <a:gd name="connsiteX142" fmla="*/ 4114800 w 5705061"/>
              <a:gd name="connsiteY142" fmla="*/ 829917 h 2604052"/>
              <a:gd name="connsiteX143" fmla="*/ 4134679 w 5705061"/>
              <a:gd name="connsiteY143" fmla="*/ 810039 h 2604052"/>
              <a:gd name="connsiteX144" fmla="*/ 4144618 w 5705061"/>
              <a:gd name="connsiteY144" fmla="*/ 795131 h 2604052"/>
              <a:gd name="connsiteX145" fmla="*/ 4189344 w 5705061"/>
              <a:gd name="connsiteY145" fmla="*/ 780222 h 2604052"/>
              <a:gd name="connsiteX146" fmla="*/ 4204252 w 5705061"/>
              <a:gd name="connsiteY146" fmla="*/ 775252 h 2604052"/>
              <a:gd name="connsiteX147" fmla="*/ 4234070 w 5705061"/>
              <a:gd name="connsiteY147" fmla="*/ 755374 h 2604052"/>
              <a:gd name="connsiteX148" fmla="*/ 4248979 w 5705061"/>
              <a:gd name="connsiteY148" fmla="*/ 740465 h 2604052"/>
              <a:gd name="connsiteX149" fmla="*/ 4278796 w 5705061"/>
              <a:gd name="connsiteY149" fmla="*/ 730526 h 2604052"/>
              <a:gd name="connsiteX150" fmla="*/ 4293705 w 5705061"/>
              <a:gd name="connsiteY150" fmla="*/ 720587 h 2604052"/>
              <a:gd name="connsiteX151" fmla="*/ 4318552 w 5705061"/>
              <a:gd name="connsiteY151" fmla="*/ 685800 h 2604052"/>
              <a:gd name="connsiteX152" fmla="*/ 4328492 w 5705061"/>
              <a:gd name="connsiteY152" fmla="*/ 670891 h 2604052"/>
              <a:gd name="connsiteX153" fmla="*/ 4358309 w 5705061"/>
              <a:gd name="connsiteY153" fmla="*/ 651013 h 2604052"/>
              <a:gd name="connsiteX154" fmla="*/ 4373218 w 5705061"/>
              <a:gd name="connsiteY154" fmla="*/ 641074 h 2604052"/>
              <a:gd name="connsiteX155" fmla="*/ 4403035 w 5705061"/>
              <a:gd name="connsiteY155" fmla="*/ 621196 h 2604052"/>
              <a:gd name="connsiteX156" fmla="*/ 4432852 w 5705061"/>
              <a:gd name="connsiteY156" fmla="*/ 601317 h 2604052"/>
              <a:gd name="connsiteX157" fmla="*/ 4462670 w 5705061"/>
              <a:gd name="connsiteY157" fmla="*/ 591378 h 2604052"/>
              <a:gd name="connsiteX158" fmla="*/ 4492487 w 5705061"/>
              <a:gd name="connsiteY158" fmla="*/ 571500 h 2604052"/>
              <a:gd name="connsiteX159" fmla="*/ 4522305 w 5705061"/>
              <a:gd name="connsiteY159" fmla="*/ 546652 h 2604052"/>
              <a:gd name="connsiteX160" fmla="*/ 4576970 w 5705061"/>
              <a:gd name="connsiteY160" fmla="*/ 531744 h 2604052"/>
              <a:gd name="connsiteX161" fmla="*/ 4606787 w 5705061"/>
              <a:gd name="connsiteY161" fmla="*/ 521804 h 2604052"/>
              <a:gd name="connsiteX162" fmla="*/ 4621696 w 5705061"/>
              <a:gd name="connsiteY162" fmla="*/ 511865 h 2604052"/>
              <a:gd name="connsiteX163" fmla="*/ 4666422 w 5705061"/>
              <a:gd name="connsiteY163" fmla="*/ 506896 h 2604052"/>
              <a:gd name="connsiteX164" fmla="*/ 4671392 w 5705061"/>
              <a:gd name="connsiteY164" fmla="*/ 491987 h 2604052"/>
              <a:gd name="connsiteX165" fmla="*/ 4701209 w 5705061"/>
              <a:gd name="connsiteY165" fmla="*/ 477078 h 2604052"/>
              <a:gd name="connsiteX166" fmla="*/ 4706179 w 5705061"/>
              <a:gd name="connsiteY166" fmla="*/ 462170 h 2604052"/>
              <a:gd name="connsiteX167" fmla="*/ 4721087 w 5705061"/>
              <a:gd name="connsiteY167" fmla="*/ 447261 h 2604052"/>
              <a:gd name="connsiteX168" fmla="*/ 4775752 w 5705061"/>
              <a:gd name="connsiteY168" fmla="*/ 437322 h 2604052"/>
              <a:gd name="connsiteX169" fmla="*/ 4810539 w 5705061"/>
              <a:gd name="connsiteY169" fmla="*/ 432352 h 2604052"/>
              <a:gd name="connsiteX170" fmla="*/ 4835387 w 5705061"/>
              <a:gd name="connsiteY170" fmla="*/ 407504 h 2604052"/>
              <a:gd name="connsiteX171" fmla="*/ 4850296 w 5705061"/>
              <a:gd name="connsiteY171" fmla="*/ 397565 h 2604052"/>
              <a:gd name="connsiteX172" fmla="*/ 4875144 w 5705061"/>
              <a:gd name="connsiteY172" fmla="*/ 372717 h 2604052"/>
              <a:gd name="connsiteX173" fmla="*/ 4904961 w 5705061"/>
              <a:gd name="connsiteY173" fmla="*/ 367748 h 2604052"/>
              <a:gd name="connsiteX174" fmla="*/ 4919870 w 5705061"/>
              <a:gd name="connsiteY174" fmla="*/ 362778 h 2604052"/>
              <a:gd name="connsiteX175" fmla="*/ 4969566 w 5705061"/>
              <a:gd name="connsiteY175" fmla="*/ 342900 h 2604052"/>
              <a:gd name="connsiteX176" fmla="*/ 5054048 w 5705061"/>
              <a:gd name="connsiteY176" fmla="*/ 327991 h 2604052"/>
              <a:gd name="connsiteX177" fmla="*/ 5073926 w 5705061"/>
              <a:gd name="connsiteY177" fmla="*/ 323022 h 2604052"/>
              <a:gd name="connsiteX178" fmla="*/ 5083866 w 5705061"/>
              <a:gd name="connsiteY178" fmla="*/ 313083 h 2604052"/>
              <a:gd name="connsiteX179" fmla="*/ 5098774 w 5705061"/>
              <a:gd name="connsiteY179" fmla="*/ 308113 h 2604052"/>
              <a:gd name="connsiteX180" fmla="*/ 5103744 w 5705061"/>
              <a:gd name="connsiteY180" fmla="*/ 293204 h 2604052"/>
              <a:gd name="connsiteX181" fmla="*/ 5128592 w 5705061"/>
              <a:gd name="connsiteY181" fmla="*/ 293204 h 2604052"/>
              <a:gd name="connsiteX182" fmla="*/ 5178287 w 5705061"/>
              <a:gd name="connsiteY182" fmla="*/ 258417 h 2604052"/>
              <a:gd name="connsiteX183" fmla="*/ 5208105 w 5705061"/>
              <a:gd name="connsiteY183" fmla="*/ 223631 h 2604052"/>
              <a:gd name="connsiteX184" fmla="*/ 5223013 w 5705061"/>
              <a:gd name="connsiteY184" fmla="*/ 213691 h 2604052"/>
              <a:gd name="connsiteX185" fmla="*/ 5297557 w 5705061"/>
              <a:gd name="connsiteY185" fmla="*/ 213691 h 2604052"/>
              <a:gd name="connsiteX186" fmla="*/ 5312466 w 5705061"/>
              <a:gd name="connsiteY186" fmla="*/ 173935 h 2604052"/>
              <a:gd name="connsiteX187" fmla="*/ 5327374 w 5705061"/>
              <a:gd name="connsiteY187" fmla="*/ 173935 h 2604052"/>
              <a:gd name="connsiteX188" fmla="*/ 5327374 w 5705061"/>
              <a:gd name="connsiteY188" fmla="*/ 173935 h 2604052"/>
              <a:gd name="connsiteX189" fmla="*/ 5367131 w 5705061"/>
              <a:gd name="connsiteY189" fmla="*/ 114300 h 2604052"/>
              <a:gd name="connsiteX190" fmla="*/ 5367131 w 5705061"/>
              <a:gd name="connsiteY190" fmla="*/ 114300 h 2604052"/>
              <a:gd name="connsiteX191" fmla="*/ 5382039 w 5705061"/>
              <a:gd name="connsiteY191" fmla="*/ 104361 h 2604052"/>
              <a:gd name="connsiteX192" fmla="*/ 5382039 w 5705061"/>
              <a:gd name="connsiteY192" fmla="*/ 104361 h 2604052"/>
              <a:gd name="connsiteX193" fmla="*/ 5466522 w 5705061"/>
              <a:gd name="connsiteY193" fmla="*/ 84483 h 2604052"/>
              <a:gd name="connsiteX194" fmla="*/ 5466522 w 5705061"/>
              <a:gd name="connsiteY194" fmla="*/ 44726 h 2604052"/>
              <a:gd name="connsiteX195" fmla="*/ 5551005 w 5705061"/>
              <a:gd name="connsiteY195" fmla="*/ 54665 h 2604052"/>
              <a:gd name="connsiteX196" fmla="*/ 5560944 w 5705061"/>
              <a:gd name="connsiteY196" fmla="*/ 4970 h 2604052"/>
              <a:gd name="connsiteX197" fmla="*/ 5705061 w 5705061"/>
              <a:gd name="connsiteY197"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16626 w 5705061"/>
              <a:gd name="connsiteY130" fmla="*/ 988944 h 2604052"/>
              <a:gd name="connsiteX131" fmla="*/ 3836505 w 5705061"/>
              <a:gd name="connsiteY131" fmla="*/ 996895 h 2604052"/>
              <a:gd name="connsiteX132" fmla="*/ 3894152 w 5705061"/>
              <a:gd name="connsiteY132" fmla="*/ 988943 h 2604052"/>
              <a:gd name="connsiteX133" fmla="*/ 3925957 w 5705061"/>
              <a:gd name="connsiteY133" fmla="*/ 954157 h 2604052"/>
              <a:gd name="connsiteX134" fmla="*/ 3945835 w 5705061"/>
              <a:gd name="connsiteY134" fmla="*/ 944217 h 2604052"/>
              <a:gd name="connsiteX135" fmla="*/ 3960744 w 5705061"/>
              <a:gd name="connsiteY135" fmla="*/ 934278 h 2604052"/>
              <a:gd name="connsiteX136" fmla="*/ 3965713 w 5705061"/>
              <a:gd name="connsiteY136" fmla="*/ 919370 h 2604052"/>
              <a:gd name="connsiteX137" fmla="*/ 3990561 w 5705061"/>
              <a:gd name="connsiteY137" fmla="*/ 894522 h 2604052"/>
              <a:gd name="connsiteX138" fmla="*/ 4020379 w 5705061"/>
              <a:gd name="connsiteY138" fmla="*/ 884583 h 2604052"/>
              <a:gd name="connsiteX139" fmla="*/ 4050196 w 5705061"/>
              <a:gd name="connsiteY139" fmla="*/ 864704 h 2604052"/>
              <a:gd name="connsiteX140" fmla="*/ 4070074 w 5705061"/>
              <a:gd name="connsiteY140" fmla="*/ 849796 h 2604052"/>
              <a:gd name="connsiteX141" fmla="*/ 4084983 w 5705061"/>
              <a:gd name="connsiteY141" fmla="*/ 844826 h 2604052"/>
              <a:gd name="connsiteX142" fmla="*/ 4114800 w 5705061"/>
              <a:gd name="connsiteY142" fmla="*/ 829917 h 2604052"/>
              <a:gd name="connsiteX143" fmla="*/ 4134679 w 5705061"/>
              <a:gd name="connsiteY143" fmla="*/ 810039 h 2604052"/>
              <a:gd name="connsiteX144" fmla="*/ 4144618 w 5705061"/>
              <a:gd name="connsiteY144" fmla="*/ 795131 h 2604052"/>
              <a:gd name="connsiteX145" fmla="*/ 4189344 w 5705061"/>
              <a:gd name="connsiteY145" fmla="*/ 780222 h 2604052"/>
              <a:gd name="connsiteX146" fmla="*/ 4204252 w 5705061"/>
              <a:gd name="connsiteY146" fmla="*/ 775252 h 2604052"/>
              <a:gd name="connsiteX147" fmla="*/ 4234070 w 5705061"/>
              <a:gd name="connsiteY147" fmla="*/ 755374 h 2604052"/>
              <a:gd name="connsiteX148" fmla="*/ 4248979 w 5705061"/>
              <a:gd name="connsiteY148" fmla="*/ 740465 h 2604052"/>
              <a:gd name="connsiteX149" fmla="*/ 4278796 w 5705061"/>
              <a:gd name="connsiteY149" fmla="*/ 730526 h 2604052"/>
              <a:gd name="connsiteX150" fmla="*/ 4293705 w 5705061"/>
              <a:gd name="connsiteY150" fmla="*/ 720587 h 2604052"/>
              <a:gd name="connsiteX151" fmla="*/ 4318552 w 5705061"/>
              <a:gd name="connsiteY151" fmla="*/ 685800 h 2604052"/>
              <a:gd name="connsiteX152" fmla="*/ 4328492 w 5705061"/>
              <a:gd name="connsiteY152" fmla="*/ 670891 h 2604052"/>
              <a:gd name="connsiteX153" fmla="*/ 4358309 w 5705061"/>
              <a:gd name="connsiteY153" fmla="*/ 651013 h 2604052"/>
              <a:gd name="connsiteX154" fmla="*/ 4373218 w 5705061"/>
              <a:gd name="connsiteY154" fmla="*/ 641074 h 2604052"/>
              <a:gd name="connsiteX155" fmla="*/ 4403035 w 5705061"/>
              <a:gd name="connsiteY155" fmla="*/ 621196 h 2604052"/>
              <a:gd name="connsiteX156" fmla="*/ 4432852 w 5705061"/>
              <a:gd name="connsiteY156" fmla="*/ 601317 h 2604052"/>
              <a:gd name="connsiteX157" fmla="*/ 4462670 w 5705061"/>
              <a:gd name="connsiteY157" fmla="*/ 591378 h 2604052"/>
              <a:gd name="connsiteX158" fmla="*/ 4492487 w 5705061"/>
              <a:gd name="connsiteY158" fmla="*/ 571500 h 2604052"/>
              <a:gd name="connsiteX159" fmla="*/ 4522305 w 5705061"/>
              <a:gd name="connsiteY159" fmla="*/ 546652 h 2604052"/>
              <a:gd name="connsiteX160" fmla="*/ 4576970 w 5705061"/>
              <a:gd name="connsiteY160" fmla="*/ 531744 h 2604052"/>
              <a:gd name="connsiteX161" fmla="*/ 4606787 w 5705061"/>
              <a:gd name="connsiteY161" fmla="*/ 521804 h 2604052"/>
              <a:gd name="connsiteX162" fmla="*/ 4621696 w 5705061"/>
              <a:gd name="connsiteY162" fmla="*/ 511865 h 2604052"/>
              <a:gd name="connsiteX163" fmla="*/ 4666422 w 5705061"/>
              <a:gd name="connsiteY163" fmla="*/ 506896 h 2604052"/>
              <a:gd name="connsiteX164" fmla="*/ 4671392 w 5705061"/>
              <a:gd name="connsiteY164" fmla="*/ 491987 h 2604052"/>
              <a:gd name="connsiteX165" fmla="*/ 4701209 w 5705061"/>
              <a:gd name="connsiteY165" fmla="*/ 477078 h 2604052"/>
              <a:gd name="connsiteX166" fmla="*/ 4706179 w 5705061"/>
              <a:gd name="connsiteY166" fmla="*/ 462170 h 2604052"/>
              <a:gd name="connsiteX167" fmla="*/ 4721087 w 5705061"/>
              <a:gd name="connsiteY167" fmla="*/ 447261 h 2604052"/>
              <a:gd name="connsiteX168" fmla="*/ 4775752 w 5705061"/>
              <a:gd name="connsiteY168" fmla="*/ 437322 h 2604052"/>
              <a:gd name="connsiteX169" fmla="*/ 4810539 w 5705061"/>
              <a:gd name="connsiteY169" fmla="*/ 432352 h 2604052"/>
              <a:gd name="connsiteX170" fmla="*/ 4835387 w 5705061"/>
              <a:gd name="connsiteY170" fmla="*/ 407504 h 2604052"/>
              <a:gd name="connsiteX171" fmla="*/ 4850296 w 5705061"/>
              <a:gd name="connsiteY171" fmla="*/ 397565 h 2604052"/>
              <a:gd name="connsiteX172" fmla="*/ 4875144 w 5705061"/>
              <a:gd name="connsiteY172" fmla="*/ 372717 h 2604052"/>
              <a:gd name="connsiteX173" fmla="*/ 4904961 w 5705061"/>
              <a:gd name="connsiteY173" fmla="*/ 367748 h 2604052"/>
              <a:gd name="connsiteX174" fmla="*/ 4919870 w 5705061"/>
              <a:gd name="connsiteY174" fmla="*/ 362778 h 2604052"/>
              <a:gd name="connsiteX175" fmla="*/ 4969566 w 5705061"/>
              <a:gd name="connsiteY175" fmla="*/ 342900 h 2604052"/>
              <a:gd name="connsiteX176" fmla="*/ 5054048 w 5705061"/>
              <a:gd name="connsiteY176" fmla="*/ 327991 h 2604052"/>
              <a:gd name="connsiteX177" fmla="*/ 5073926 w 5705061"/>
              <a:gd name="connsiteY177" fmla="*/ 323022 h 2604052"/>
              <a:gd name="connsiteX178" fmla="*/ 5083866 w 5705061"/>
              <a:gd name="connsiteY178" fmla="*/ 313083 h 2604052"/>
              <a:gd name="connsiteX179" fmla="*/ 5098774 w 5705061"/>
              <a:gd name="connsiteY179" fmla="*/ 308113 h 2604052"/>
              <a:gd name="connsiteX180" fmla="*/ 5103744 w 5705061"/>
              <a:gd name="connsiteY180" fmla="*/ 293204 h 2604052"/>
              <a:gd name="connsiteX181" fmla="*/ 5128592 w 5705061"/>
              <a:gd name="connsiteY181" fmla="*/ 293204 h 2604052"/>
              <a:gd name="connsiteX182" fmla="*/ 5178287 w 5705061"/>
              <a:gd name="connsiteY182" fmla="*/ 258417 h 2604052"/>
              <a:gd name="connsiteX183" fmla="*/ 5208105 w 5705061"/>
              <a:gd name="connsiteY183" fmla="*/ 223631 h 2604052"/>
              <a:gd name="connsiteX184" fmla="*/ 5223013 w 5705061"/>
              <a:gd name="connsiteY184" fmla="*/ 213691 h 2604052"/>
              <a:gd name="connsiteX185" fmla="*/ 5297557 w 5705061"/>
              <a:gd name="connsiteY185" fmla="*/ 213691 h 2604052"/>
              <a:gd name="connsiteX186" fmla="*/ 5312466 w 5705061"/>
              <a:gd name="connsiteY186" fmla="*/ 173935 h 2604052"/>
              <a:gd name="connsiteX187" fmla="*/ 5327374 w 5705061"/>
              <a:gd name="connsiteY187" fmla="*/ 173935 h 2604052"/>
              <a:gd name="connsiteX188" fmla="*/ 5327374 w 5705061"/>
              <a:gd name="connsiteY188" fmla="*/ 173935 h 2604052"/>
              <a:gd name="connsiteX189" fmla="*/ 5367131 w 5705061"/>
              <a:gd name="connsiteY189" fmla="*/ 114300 h 2604052"/>
              <a:gd name="connsiteX190" fmla="*/ 5367131 w 5705061"/>
              <a:gd name="connsiteY190" fmla="*/ 114300 h 2604052"/>
              <a:gd name="connsiteX191" fmla="*/ 5382039 w 5705061"/>
              <a:gd name="connsiteY191" fmla="*/ 104361 h 2604052"/>
              <a:gd name="connsiteX192" fmla="*/ 5382039 w 5705061"/>
              <a:gd name="connsiteY192" fmla="*/ 104361 h 2604052"/>
              <a:gd name="connsiteX193" fmla="*/ 5466522 w 5705061"/>
              <a:gd name="connsiteY193" fmla="*/ 84483 h 2604052"/>
              <a:gd name="connsiteX194" fmla="*/ 5466522 w 5705061"/>
              <a:gd name="connsiteY194" fmla="*/ 44726 h 2604052"/>
              <a:gd name="connsiteX195" fmla="*/ 5551005 w 5705061"/>
              <a:gd name="connsiteY195" fmla="*/ 54665 h 2604052"/>
              <a:gd name="connsiteX196" fmla="*/ 5560944 w 5705061"/>
              <a:gd name="connsiteY196" fmla="*/ 4970 h 2604052"/>
              <a:gd name="connsiteX197" fmla="*/ 5705061 w 5705061"/>
              <a:gd name="connsiteY197"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8796 w 5705061"/>
              <a:gd name="connsiteY148" fmla="*/ 730526 h 2604052"/>
              <a:gd name="connsiteX149" fmla="*/ 4293705 w 5705061"/>
              <a:gd name="connsiteY149" fmla="*/ 720587 h 2604052"/>
              <a:gd name="connsiteX150" fmla="*/ 4318552 w 5705061"/>
              <a:gd name="connsiteY150" fmla="*/ 685800 h 2604052"/>
              <a:gd name="connsiteX151" fmla="*/ 4328492 w 5705061"/>
              <a:gd name="connsiteY151" fmla="*/ 670891 h 2604052"/>
              <a:gd name="connsiteX152" fmla="*/ 4358309 w 5705061"/>
              <a:gd name="connsiteY152" fmla="*/ 651013 h 2604052"/>
              <a:gd name="connsiteX153" fmla="*/ 4373218 w 5705061"/>
              <a:gd name="connsiteY153" fmla="*/ 641074 h 2604052"/>
              <a:gd name="connsiteX154" fmla="*/ 4403035 w 5705061"/>
              <a:gd name="connsiteY154" fmla="*/ 621196 h 2604052"/>
              <a:gd name="connsiteX155" fmla="*/ 4432852 w 5705061"/>
              <a:gd name="connsiteY155" fmla="*/ 601317 h 2604052"/>
              <a:gd name="connsiteX156" fmla="*/ 4462670 w 5705061"/>
              <a:gd name="connsiteY156" fmla="*/ 591378 h 2604052"/>
              <a:gd name="connsiteX157" fmla="*/ 4492487 w 5705061"/>
              <a:gd name="connsiteY157" fmla="*/ 571500 h 2604052"/>
              <a:gd name="connsiteX158" fmla="*/ 4522305 w 5705061"/>
              <a:gd name="connsiteY158" fmla="*/ 546652 h 2604052"/>
              <a:gd name="connsiteX159" fmla="*/ 4576970 w 5705061"/>
              <a:gd name="connsiteY159" fmla="*/ 531744 h 2604052"/>
              <a:gd name="connsiteX160" fmla="*/ 4606787 w 5705061"/>
              <a:gd name="connsiteY160" fmla="*/ 521804 h 2604052"/>
              <a:gd name="connsiteX161" fmla="*/ 4621696 w 5705061"/>
              <a:gd name="connsiteY161" fmla="*/ 511865 h 2604052"/>
              <a:gd name="connsiteX162" fmla="*/ 4666422 w 5705061"/>
              <a:gd name="connsiteY162" fmla="*/ 506896 h 2604052"/>
              <a:gd name="connsiteX163" fmla="*/ 4671392 w 5705061"/>
              <a:gd name="connsiteY163" fmla="*/ 491987 h 2604052"/>
              <a:gd name="connsiteX164" fmla="*/ 4701209 w 5705061"/>
              <a:gd name="connsiteY164" fmla="*/ 477078 h 2604052"/>
              <a:gd name="connsiteX165" fmla="*/ 4706179 w 5705061"/>
              <a:gd name="connsiteY165" fmla="*/ 462170 h 2604052"/>
              <a:gd name="connsiteX166" fmla="*/ 4721087 w 5705061"/>
              <a:gd name="connsiteY166" fmla="*/ 447261 h 2604052"/>
              <a:gd name="connsiteX167" fmla="*/ 4775752 w 5705061"/>
              <a:gd name="connsiteY167" fmla="*/ 437322 h 2604052"/>
              <a:gd name="connsiteX168" fmla="*/ 4810539 w 5705061"/>
              <a:gd name="connsiteY168" fmla="*/ 432352 h 2604052"/>
              <a:gd name="connsiteX169" fmla="*/ 4835387 w 5705061"/>
              <a:gd name="connsiteY169" fmla="*/ 407504 h 2604052"/>
              <a:gd name="connsiteX170" fmla="*/ 4850296 w 5705061"/>
              <a:gd name="connsiteY170" fmla="*/ 397565 h 2604052"/>
              <a:gd name="connsiteX171" fmla="*/ 4875144 w 5705061"/>
              <a:gd name="connsiteY171" fmla="*/ 372717 h 2604052"/>
              <a:gd name="connsiteX172" fmla="*/ 4904961 w 5705061"/>
              <a:gd name="connsiteY172" fmla="*/ 367748 h 2604052"/>
              <a:gd name="connsiteX173" fmla="*/ 4919870 w 5705061"/>
              <a:gd name="connsiteY173" fmla="*/ 362778 h 2604052"/>
              <a:gd name="connsiteX174" fmla="*/ 4969566 w 5705061"/>
              <a:gd name="connsiteY174" fmla="*/ 342900 h 2604052"/>
              <a:gd name="connsiteX175" fmla="*/ 5054048 w 5705061"/>
              <a:gd name="connsiteY175" fmla="*/ 327991 h 2604052"/>
              <a:gd name="connsiteX176" fmla="*/ 5073926 w 5705061"/>
              <a:gd name="connsiteY176" fmla="*/ 323022 h 2604052"/>
              <a:gd name="connsiteX177" fmla="*/ 5083866 w 5705061"/>
              <a:gd name="connsiteY177" fmla="*/ 313083 h 2604052"/>
              <a:gd name="connsiteX178" fmla="*/ 5098774 w 5705061"/>
              <a:gd name="connsiteY178" fmla="*/ 308113 h 2604052"/>
              <a:gd name="connsiteX179" fmla="*/ 5103744 w 5705061"/>
              <a:gd name="connsiteY179" fmla="*/ 293204 h 2604052"/>
              <a:gd name="connsiteX180" fmla="*/ 5128592 w 5705061"/>
              <a:gd name="connsiteY180" fmla="*/ 293204 h 2604052"/>
              <a:gd name="connsiteX181" fmla="*/ 5178287 w 5705061"/>
              <a:gd name="connsiteY181" fmla="*/ 258417 h 2604052"/>
              <a:gd name="connsiteX182" fmla="*/ 5208105 w 5705061"/>
              <a:gd name="connsiteY182" fmla="*/ 223631 h 2604052"/>
              <a:gd name="connsiteX183" fmla="*/ 5223013 w 5705061"/>
              <a:gd name="connsiteY183" fmla="*/ 213691 h 2604052"/>
              <a:gd name="connsiteX184" fmla="*/ 5297557 w 5705061"/>
              <a:gd name="connsiteY184" fmla="*/ 213691 h 2604052"/>
              <a:gd name="connsiteX185" fmla="*/ 5312466 w 5705061"/>
              <a:gd name="connsiteY185" fmla="*/ 173935 h 2604052"/>
              <a:gd name="connsiteX186" fmla="*/ 5327374 w 5705061"/>
              <a:gd name="connsiteY186" fmla="*/ 173935 h 2604052"/>
              <a:gd name="connsiteX187" fmla="*/ 5327374 w 5705061"/>
              <a:gd name="connsiteY187" fmla="*/ 173935 h 2604052"/>
              <a:gd name="connsiteX188" fmla="*/ 5367131 w 5705061"/>
              <a:gd name="connsiteY188" fmla="*/ 114300 h 2604052"/>
              <a:gd name="connsiteX189" fmla="*/ 5367131 w 5705061"/>
              <a:gd name="connsiteY189" fmla="*/ 114300 h 2604052"/>
              <a:gd name="connsiteX190" fmla="*/ 5382039 w 5705061"/>
              <a:gd name="connsiteY190" fmla="*/ 104361 h 2604052"/>
              <a:gd name="connsiteX191" fmla="*/ 5382039 w 5705061"/>
              <a:gd name="connsiteY191" fmla="*/ 104361 h 2604052"/>
              <a:gd name="connsiteX192" fmla="*/ 5466522 w 5705061"/>
              <a:gd name="connsiteY192" fmla="*/ 84483 h 2604052"/>
              <a:gd name="connsiteX193" fmla="*/ 5466522 w 5705061"/>
              <a:gd name="connsiteY193" fmla="*/ 44726 h 2604052"/>
              <a:gd name="connsiteX194" fmla="*/ 5551005 w 5705061"/>
              <a:gd name="connsiteY194" fmla="*/ 54665 h 2604052"/>
              <a:gd name="connsiteX195" fmla="*/ 5560944 w 5705061"/>
              <a:gd name="connsiteY195" fmla="*/ 4970 h 2604052"/>
              <a:gd name="connsiteX196" fmla="*/ 5705061 w 5705061"/>
              <a:gd name="connsiteY196"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8796 w 5705061"/>
              <a:gd name="connsiteY148" fmla="*/ 730526 h 2604052"/>
              <a:gd name="connsiteX149" fmla="*/ 4293705 w 5705061"/>
              <a:gd name="connsiteY149" fmla="*/ 720587 h 2604052"/>
              <a:gd name="connsiteX150" fmla="*/ 4318552 w 5705061"/>
              <a:gd name="connsiteY150" fmla="*/ 685800 h 2604052"/>
              <a:gd name="connsiteX151" fmla="*/ 4328492 w 5705061"/>
              <a:gd name="connsiteY151" fmla="*/ 670891 h 2604052"/>
              <a:gd name="connsiteX152" fmla="*/ 4358309 w 5705061"/>
              <a:gd name="connsiteY152" fmla="*/ 651013 h 2604052"/>
              <a:gd name="connsiteX153" fmla="*/ 4373218 w 5705061"/>
              <a:gd name="connsiteY153" fmla="*/ 641074 h 2604052"/>
              <a:gd name="connsiteX154" fmla="*/ 4403035 w 5705061"/>
              <a:gd name="connsiteY154" fmla="*/ 621196 h 2604052"/>
              <a:gd name="connsiteX155" fmla="*/ 4432852 w 5705061"/>
              <a:gd name="connsiteY155" fmla="*/ 601317 h 2604052"/>
              <a:gd name="connsiteX156" fmla="*/ 4462670 w 5705061"/>
              <a:gd name="connsiteY156" fmla="*/ 591378 h 2604052"/>
              <a:gd name="connsiteX157" fmla="*/ 4492487 w 5705061"/>
              <a:gd name="connsiteY157" fmla="*/ 571500 h 2604052"/>
              <a:gd name="connsiteX158" fmla="*/ 4522305 w 5705061"/>
              <a:gd name="connsiteY158" fmla="*/ 546652 h 2604052"/>
              <a:gd name="connsiteX159" fmla="*/ 4576970 w 5705061"/>
              <a:gd name="connsiteY159" fmla="*/ 531744 h 2604052"/>
              <a:gd name="connsiteX160" fmla="*/ 4606787 w 5705061"/>
              <a:gd name="connsiteY160" fmla="*/ 521804 h 2604052"/>
              <a:gd name="connsiteX161" fmla="*/ 4621696 w 5705061"/>
              <a:gd name="connsiteY161" fmla="*/ 511865 h 2604052"/>
              <a:gd name="connsiteX162" fmla="*/ 4666422 w 5705061"/>
              <a:gd name="connsiteY162" fmla="*/ 506896 h 2604052"/>
              <a:gd name="connsiteX163" fmla="*/ 4671392 w 5705061"/>
              <a:gd name="connsiteY163" fmla="*/ 491987 h 2604052"/>
              <a:gd name="connsiteX164" fmla="*/ 4701209 w 5705061"/>
              <a:gd name="connsiteY164" fmla="*/ 477078 h 2604052"/>
              <a:gd name="connsiteX165" fmla="*/ 4706179 w 5705061"/>
              <a:gd name="connsiteY165" fmla="*/ 462170 h 2604052"/>
              <a:gd name="connsiteX166" fmla="*/ 4721087 w 5705061"/>
              <a:gd name="connsiteY166" fmla="*/ 447261 h 2604052"/>
              <a:gd name="connsiteX167" fmla="*/ 4775752 w 5705061"/>
              <a:gd name="connsiteY167" fmla="*/ 437322 h 2604052"/>
              <a:gd name="connsiteX168" fmla="*/ 4810539 w 5705061"/>
              <a:gd name="connsiteY168" fmla="*/ 432352 h 2604052"/>
              <a:gd name="connsiteX169" fmla="*/ 4835387 w 5705061"/>
              <a:gd name="connsiteY169" fmla="*/ 407504 h 2604052"/>
              <a:gd name="connsiteX170" fmla="*/ 4850296 w 5705061"/>
              <a:gd name="connsiteY170" fmla="*/ 397565 h 2604052"/>
              <a:gd name="connsiteX171" fmla="*/ 4875144 w 5705061"/>
              <a:gd name="connsiteY171" fmla="*/ 372717 h 2604052"/>
              <a:gd name="connsiteX172" fmla="*/ 4904961 w 5705061"/>
              <a:gd name="connsiteY172" fmla="*/ 367748 h 2604052"/>
              <a:gd name="connsiteX173" fmla="*/ 4919870 w 5705061"/>
              <a:gd name="connsiteY173" fmla="*/ 362778 h 2604052"/>
              <a:gd name="connsiteX174" fmla="*/ 4969566 w 5705061"/>
              <a:gd name="connsiteY174" fmla="*/ 342900 h 2604052"/>
              <a:gd name="connsiteX175" fmla="*/ 5054048 w 5705061"/>
              <a:gd name="connsiteY175" fmla="*/ 327991 h 2604052"/>
              <a:gd name="connsiteX176" fmla="*/ 5073926 w 5705061"/>
              <a:gd name="connsiteY176" fmla="*/ 323022 h 2604052"/>
              <a:gd name="connsiteX177" fmla="*/ 5083866 w 5705061"/>
              <a:gd name="connsiteY177" fmla="*/ 313083 h 2604052"/>
              <a:gd name="connsiteX178" fmla="*/ 5098774 w 5705061"/>
              <a:gd name="connsiteY178" fmla="*/ 308113 h 2604052"/>
              <a:gd name="connsiteX179" fmla="*/ 5103744 w 5705061"/>
              <a:gd name="connsiteY179" fmla="*/ 293204 h 2604052"/>
              <a:gd name="connsiteX180" fmla="*/ 5128592 w 5705061"/>
              <a:gd name="connsiteY180" fmla="*/ 293204 h 2604052"/>
              <a:gd name="connsiteX181" fmla="*/ 5178287 w 5705061"/>
              <a:gd name="connsiteY181" fmla="*/ 258417 h 2604052"/>
              <a:gd name="connsiteX182" fmla="*/ 5208105 w 5705061"/>
              <a:gd name="connsiteY182" fmla="*/ 223631 h 2604052"/>
              <a:gd name="connsiteX183" fmla="*/ 5223013 w 5705061"/>
              <a:gd name="connsiteY183" fmla="*/ 213691 h 2604052"/>
              <a:gd name="connsiteX184" fmla="*/ 5297557 w 5705061"/>
              <a:gd name="connsiteY184" fmla="*/ 213691 h 2604052"/>
              <a:gd name="connsiteX185" fmla="*/ 5312466 w 5705061"/>
              <a:gd name="connsiteY185" fmla="*/ 173935 h 2604052"/>
              <a:gd name="connsiteX186" fmla="*/ 5327374 w 5705061"/>
              <a:gd name="connsiteY186" fmla="*/ 173935 h 2604052"/>
              <a:gd name="connsiteX187" fmla="*/ 5327374 w 5705061"/>
              <a:gd name="connsiteY187" fmla="*/ 173935 h 2604052"/>
              <a:gd name="connsiteX188" fmla="*/ 5367131 w 5705061"/>
              <a:gd name="connsiteY188" fmla="*/ 114300 h 2604052"/>
              <a:gd name="connsiteX189" fmla="*/ 5367131 w 5705061"/>
              <a:gd name="connsiteY189" fmla="*/ 114300 h 2604052"/>
              <a:gd name="connsiteX190" fmla="*/ 5382039 w 5705061"/>
              <a:gd name="connsiteY190" fmla="*/ 104361 h 2604052"/>
              <a:gd name="connsiteX191" fmla="*/ 5382039 w 5705061"/>
              <a:gd name="connsiteY191" fmla="*/ 104361 h 2604052"/>
              <a:gd name="connsiteX192" fmla="*/ 5466522 w 5705061"/>
              <a:gd name="connsiteY192" fmla="*/ 84483 h 2604052"/>
              <a:gd name="connsiteX193" fmla="*/ 5466522 w 5705061"/>
              <a:gd name="connsiteY193" fmla="*/ 44726 h 2604052"/>
              <a:gd name="connsiteX194" fmla="*/ 5551005 w 5705061"/>
              <a:gd name="connsiteY194" fmla="*/ 54665 h 2604052"/>
              <a:gd name="connsiteX195" fmla="*/ 5560944 w 5705061"/>
              <a:gd name="connsiteY195" fmla="*/ 4970 h 2604052"/>
              <a:gd name="connsiteX196" fmla="*/ 5705061 w 5705061"/>
              <a:gd name="connsiteY196"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8796 w 5705061"/>
              <a:gd name="connsiteY148" fmla="*/ 730526 h 2604052"/>
              <a:gd name="connsiteX149" fmla="*/ 4318552 w 5705061"/>
              <a:gd name="connsiteY149" fmla="*/ 685800 h 2604052"/>
              <a:gd name="connsiteX150" fmla="*/ 4328492 w 5705061"/>
              <a:gd name="connsiteY150" fmla="*/ 670891 h 2604052"/>
              <a:gd name="connsiteX151" fmla="*/ 4358309 w 5705061"/>
              <a:gd name="connsiteY151" fmla="*/ 651013 h 2604052"/>
              <a:gd name="connsiteX152" fmla="*/ 4373218 w 5705061"/>
              <a:gd name="connsiteY152" fmla="*/ 641074 h 2604052"/>
              <a:gd name="connsiteX153" fmla="*/ 4403035 w 5705061"/>
              <a:gd name="connsiteY153" fmla="*/ 621196 h 2604052"/>
              <a:gd name="connsiteX154" fmla="*/ 4432852 w 5705061"/>
              <a:gd name="connsiteY154" fmla="*/ 601317 h 2604052"/>
              <a:gd name="connsiteX155" fmla="*/ 4462670 w 5705061"/>
              <a:gd name="connsiteY155" fmla="*/ 591378 h 2604052"/>
              <a:gd name="connsiteX156" fmla="*/ 4492487 w 5705061"/>
              <a:gd name="connsiteY156" fmla="*/ 571500 h 2604052"/>
              <a:gd name="connsiteX157" fmla="*/ 4522305 w 5705061"/>
              <a:gd name="connsiteY157" fmla="*/ 546652 h 2604052"/>
              <a:gd name="connsiteX158" fmla="*/ 4576970 w 5705061"/>
              <a:gd name="connsiteY158" fmla="*/ 531744 h 2604052"/>
              <a:gd name="connsiteX159" fmla="*/ 4606787 w 5705061"/>
              <a:gd name="connsiteY159" fmla="*/ 521804 h 2604052"/>
              <a:gd name="connsiteX160" fmla="*/ 4621696 w 5705061"/>
              <a:gd name="connsiteY160" fmla="*/ 511865 h 2604052"/>
              <a:gd name="connsiteX161" fmla="*/ 4666422 w 5705061"/>
              <a:gd name="connsiteY161" fmla="*/ 506896 h 2604052"/>
              <a:gd name="connsiteX162" fmla="*/ 4671392 w 5705061"/>
              <a:gd name="connsiteY162" fmla="*/ 491987 h 2604052"/>
              <a:gd name="connsiteX163" fmla="*/ 4701209 w 5705061"/>
              <a:gd name="connsiteY163" fmla="*/ 477078 h 2604052"/>
              <a:gd name="connsiteX164" fmla="*/ 4706179 w 5705061"/>
              <a:gd name="connsiteY164" fmla="*/ 462170 h 2604052"/>
              <a:gd name="connsiteX165" fmla="*/ 4721087 w 5705061"/>
              <a:gd name="connsiteY165" fmla="*/ 447261 h 2604052"/>
              <a:gd name="connsiteX166" fmla="*/ 4775752 w 5705061"/>
              <a:gd name="connsiteY166" fmla="*/ 437322 h 2604052"/>
              <a:gd name="connsiteX167" fmla="*/ 4810539 w 5705061"/>
              <a:gd name="connsiteY167" fmla="*/ 432352 h 2604052"/>
              <a:gd name="connsiteX168" fmla="*/ 4835387 w 5705061"/>
              <a:gd name="connsiteY168" fmla="*/ 407504 h 2604052"/>
              <a:gd name="connsiteX169" fmla="*/ 4850296 w 5705061"/>
              <a:gd name="connsiteY169" fmla="*/ 397565 h 2604052"/>
              <a:gd name="connsiteX170" fmla="*/ 4875144 w 5705061"/>
              <a:gd name="connsiteY170" fmla="*/ 372717 h 2604052"/>
              <a:gd name="connsiteX171" fmla="*/ 4904961 w 5705061"/>
              <a:gd name="connsiteY171" fmla="*/ 367748 h 2604052"/>
              <a:gd name="connsiteX172" fmla="*/ 4919870 w 5705061"/>
              <a:gd name="connsiteY172" fmla="*/ 362778 h 2604052"/>
              <a:gd name="connsiteX173" fmla="*/ 4969566 w 5705061"/>
              <a:gd name="connsiteY173" fmla="*/ 342900 h 2604052"/>
              <a:gd name="connsiteX174" fmla="*/ 5054048 w 5705061"/>
              <a:gd name="connsiteY174" fmla="*/ 327991 h 2604052"/>
              <a:gd name="connsiteX175" fmla="*/ 5073926 w 5705061"/>
              <a:gd name="connsiteY175" fmla="*/ 323022 h 2604052"/>
              <a:gd name="connsiteX176" fmla="*/ 5083866 w 5705061"/>
              <a:gd name="connsiteY176" fmla="*/ 313083 h 2604052"/>
              <a:gd name="connsiteX177" fmla="*/ 5098774 w 5705061"/>
              <a:gd name="connsiteY177" fmla="*/ 308113 h 2604052"/>
              <a:gd name="connsiteX178" fmla="*/ 5103744 w 5705061"/>
              <a:gd name="connsiteY178" fmla="*/ 293204 h 2604052"/>
              <a:gd name="connsiteX179" fmla="*/ 5128592 w 5705061"/>
              <a:gd name="connsiteY179" fmla="*/ 293204 h 2604052"/>
              <a:gd name="connsiteX180" fmla="*/ 5178287 w 5705061"/>
              <a:gd name="connsiteY180" fmla="*/ 258417 h 2604052"/>
              <a:gd name="connsiteX181" fmla="*/ 5208105 w 5705061"/>
              <a:gd name="connsiteY181" fmla="*/ 223631 h 2604052"/>
              <a:gd name="connsiteX182" fmla="*/ 5223013 w 5705061"/>
              <a:gd name="connsiteY182" fmla="*/ 213691 h 2604052"/>
              <a:gd name="connsiteX183" fmla="*/ 5297557 w 5705061"/>
              <a:gd name="connsiteY183" fmla="*/ 213691 h 2604052"/>
              <a:gd name="connsiteX184" fmla="*/ 5312466 w 5705061"/>
              <a:gd name="connsiteY184" fmla="*/ 173935 h 2604052"/>
              <a:gd name="connsiteX185" fmla="*/ 5327374 w 5705061"/>
              <a:gd name="connsiteY185" fmla="*/ 173935 h 2604052"/>
              <a:gd name="connsiteX186" fmla="*/ 5327374 w 5705061"/>
              <a:gd name="connsiteY186" fmla="*/ 173935 h 2604052"/>
              <a:gd name="connsiteX187" fmla="*/ 5367131 w 5705061"/>
              <a:gd name="connsiteY187" fmla="*/ 114300 h 2604052"/>
              <a:gd name="connsiteX188" fmla="*/ 5367131 w 5705061"/>
              <a:gd name="connsiteY188" fmla="*/ 114300 h 2604052"/>
              <a:gd name="connsiteX189" fmla="*/ 5382039 w 5705061"/>
              <a:gd name="connsiteY189" fmla="*/ 104361 h 2604052"/>
              <a:gd name="connsiteX190" fmla="*/ 5382039 w 5705061"/>
              <a:gd name="connsiteY190" fmla="*/ 104361 h 2604052"/>
              <a:gd name="connsiteX191" fmla="*/ 5466522 w 5705061"/>
              <a:gd name="connsiteY191" fmla="*/ 84483 h 2604052"/>
              <a:gd name="connsiteX192" fmla="*/ 5466522 w 5705061"/>
              <a:gd name="connsiteY192" fmla="*/ 44726 h 2604052"/>
              <a:gd name="connsiteX193" fmla="*/ 5551005 w 5705061"/>
              <a:gd name="connsiteY193" fmla="*/ 54665 h 2604052"/>
              <a:gd name="connsiteX194" fmla="*/ 5560944 w 5705061"/>
              <a:gd name="connsiteY194" fmla="*/ 4970 h 2604052"/>
              <a:gd name="connsiteX195" fmla="*/ 5705061 w 5705061"/>
              <a:gd name="connsiteY195"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4820 w 5705061"/>
              <a:gd name="connsiteY148" fmla="*/ 710648 h 2604052"/>
              <a:gd name="connsiteX149" fmla="*/ 4318552 w 5705061"/>
              <a:gd name="connsiteY149" fmla="*/ 685800 h 2604052"/>
              <a:gd name="connsiteX150" fmla="*/ 4328492 w 5705061"/>
              <a:gd name="connsiteY150" fmla="*/ 670891 h 2604052"/>
              <a:gd name="connsiteX151" fmla="*/ 4358309 w 5705061"/>
              <a:gd name="connsiteY151" fmla="*/ 651013 h 2604052"/>
              <a:gd name="connsiteX152" fmla="*/ 4373218 w 5705061"/>
              <a:gd name="connsiteY152" fmla="*/ 641074 h 2604052"/>
              <a:gd name="connsiteX153" fmla="*/ 4403035 w 5705061"/>
              <a:gd name="connsiteY153" fmla="*/ 621196 h 2604052"/>
              <a:gd name="connsiteX154" fmla="*/ 4432852 w 5705061"/>
              <a:gd name="connsiteY154" fmla="*/ 601317 h 2604052"/>
              <a:gd name="connsiteX155" fmla="*/ 4462670 w 5705061"/>
              <a:gd name="connsiteY155" fmla="*/ 591378 h 2604052"/>
              <a:gd name="connsiteX156" fmla="*/ 4492487 w 5705061"/>
              <a:gd name="connsiteY156" fmla="*/ 571500 h 2604052"/>
              <a:gd name="connsiteX157" fmla="*/ 4522305 w 5705061"/>
              <a:gd name="connsiteY157" fmla="*/ 546652 h 2604052"/>
              <a:gd name="connsiteX158" fmla="*/ 4576970 w 5705061"/>
              <a:gd name="connsiteY158" fmla="*/ 531744 h 2604052"/>
              <a:gd name="connsiteX159" fmla="*/ 4606787 w 5705061"/>
              <a:gd name="connsiteY159" fmla="*/ 521804 h 2604052"/>
              <a:gd name="connsiteX160" fmla="*/ 4621696 w 5705061"/>
              <a:gd name="connsiteY160" fmla="*/ 511865 h 2604052"/>
              <a:gd name="connsiteX161" fmla="*/ 4666422 w 5705061"/>
              <a:gd name="connsiteY161" fmla="*/ 506896 h 2604052"/>
              <a:gd name="connsiteX162" fmla="*/ 4671392 w 5705061"/>
              <a:gd name="connsiteY162" fmla="*/ 491987 h 2604052"/>
              <a:gd name="connsiteX163" fmla="*/ 4701209 w 5705061"/>
              <a:gd name="connsiteY163" fmla="*/ 477078 h 2604052"/>
              <a:gd name="connsiteX164" fmla="*/ 4706179 w 5705061"/>
              <a:gd name="connsiteY164" fmla="*/ 462170 h 2604052"/>
              <a:gd name="connsiteX165" fmla="*/ 4721087 w 5705061"/>
              <a:gd name="connsiteY165" fmla="*/ 447261 h 2604052"/>
              <a:gd name="connsiteX166" fmla="*/ 4775752 w 5705061"/>
              <a:gd name="connsiteY166" fmla="*/ 437322 h 2604052"/>
              <a:gd name="connsiteX167" fmla="*/ 4810539 w 5705061"/>
              <a:gd name="connsiteY167" fmla="*/ 432352 h 2604052"/>
              <a:gd name="connsiteX168" fmla="*/ 4835387 w 5705061"/>
              <a:gd name="connsiteY168" fmla="*/ 407504 h 2604052"/>
              <a:gd name="connsiteX169" fmla="*/ 4850296 w 5705061"/>
              <a:gd name="connsiteY169" fmla="*/ 397565 h 2604052"/>
              <a:gd name="connsiteX170" fmla="*/ 4875144 w 5705061"/>
              <a:gd name="connsiteY170" fmla="*/ 372717 h 2604052"/>
              <a:gd name="connsiteX171" fmla="*/ 4904961 w 5705061"/>
              <a:gd name="connsiteY171" fmla="*/ 367748 h 2604052"/>
              <a:gd name="connsiteX172" fmla="*/ 4919870 w 5705061"/>
              <a:gd name="connsiteY172" fmla="*/ 362778 h 2604052"/>
              <a:gd name="connsiteX173" fmla="*/ 4969566 w 5705061"/>
              <a:gd name="connsiteY173" fmla="*/ 342900 h 2604052"/>
              <a:gd name="connsiteX174" fmla="*/ 5054048 w 5705061"/>
              <a:gd name="connsiteY174" fmla="*/ 327991 h 2604052"/>
              <a:gd name="connsiteX175" fmla="*/ 5073926 w 5705061"/>
              <a:gd name="connsiteY175" fmla="*/ 323022 h 2604052"/>
              <a:gd name="connsiteX176" fmla="*/ 5083866 w 5705061"/>
              <a:gd name="connsiteY176" fmla="*/ 313083 h 2604052"/>
              <a:gd name="connsiteX177" fmla="*/ 5098774 w 5705061"/>
              <a:gd name="connsiteY177" fmla="*/ 308113 h 2604052"/>
              <a:gd name="connsiteX178" fmla="*/ 5103744 w 5705061"/>
              <a:gd name="connsiteY178" fmla="*/ 293204 h 2604052"/>
              <a:gd name="connsiteX179" fmla="*/ 5128592 w 5705061"/>
              <a:gd name="connsiteY179" fmla="*/ 293204 h 2604052"/>
              <a:gd name="connsiteX180" fmla="*/ 5178287 w 5705061"/>
              <a:gd name="connsiteY180" fmla="*/ 258417 h 2604052"/>
              <a:gd name="connsiteX181" fmla="*/ 5208105 w 5705061"/>
              <a:gd name="connsiteY181" fmla="*/ 223631 h 2604052"/>
              <a:gd name="connsiteX182" fmla="*/ 5223013 w 5705061"/>
              <a:gd name="connsiteY182" fmla="*/ 213691 h 2604052"/>
              <a:gd name="connsiteX183" fmla="*/ 5297557 w 5705061"/>
              <a:gd name="connsiteY183" fmla="*/ 213691 h 2604052"/>
              <a:gd name="connsiteX184" fmla="*/ 5312466 w 5705061"/>
              <a:gd name="connsiteY184" fmla="*/ 173935 h 2604052"/>
              <a:gd name="connsiteX185" fmla="*/ 5327374 w 5705061"/>
              <a:gd name="connsiteY185" fmla="*/ 173935 h 2604052"/>
              <a:gd name="connsiteX186" fmla="*/ 5327374 w 5705061"/>
              <a:gd name="connsiteY186" fmla="*/ 173935 h 2604052"/>
              <a:gd name="connsiteX187" fmla="*/ 5367131 w 5705061"/>
              <a:gd name="connsiteY187" fmla="*/ 114300 h 2604052"/>
              <a:gd name="connsiteX188" fmla="*/ 5367131 w 5705061"/>
              <a:gd name="connsiteY188" fmla="*/ 114300 h 2604052"/>
              <a:gd name="connsiteX189" fmla="*/ 5382039 w 5705061"/>
              <a:gd name="connsiteY189" fmla="*/ 104361 h 2604052"/>
              <a:gd name="connsiteX190" fmla="*/ 5382039 w 5705061"/>
              <a:gd name="connsiteY190" fmla="*/ 104361 h 2604052"/>
              <a:gd name="connsiteX191" fmla="*/ 5466522 w 5705061"/>
              <a:gd name="connsiteY191" fmla="*/ 84483 h 2604052"/>
              <a:gd name="connsiteX192" fmla="*/ 5466522 w 5705061"/>
              <a:gd name="connsiteY192" fmla="*/ 44726 h 2604052"/>
              <a:gd name="connsiteX193" fmla="*/ 5551005 w 5705061"/>
              <a:gd name="connsiteY193" fmla="*/ 54665 h 2604052"/>
              <a:gd name="connsiteX194" fmla="*/ 5560944 w 5705061"/>
              <a:gd name="connsiteY194" fmla="*/ 4970 h 2604052"/>
              <a:gd name="connsiteX195" fmla="*/ 5705061 w 5705061"/>
              <a:gd name="connsiteY195"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4820 w 5705061"/>
              <a:gd name="connsiteY148" fmla="*/ 710648 h 2604052"/>
              <a:gd name="connsiteX149" fmla="*/ 4308613 w 5705061"/>
              <a:gd name="connsiteY149" fmla="*/ 683812 h 2604052"/>
              <a:gd name="connsiteX150" fmla="*/ 4328492 w 5705061"/>
              <a:gd name="connsiteY150" fmla="*/ 670891 h 2604052"/>
              <a:gd name="connsiteX151" fmla="*/ 4358309 w 5705061"/>
              <a:gd name="connsiteY151" fmla="*/ 651013 h 2604052"/>
              <a:gd name="connsiteX152" fmla="*/ 4373218 w 5705061"/>
              <a:gd name="connsiteY152" fmla="*/ 641074 h 2604052"/>
              <a:gd name="connsiteX153" fmla="*/ 4403035 w 5705061"/>
              <a:gd name="connsiteY153" fmla="*/ 621196 h 2604052"/>
              <a:gd name="connsiteX154" fmla="*/ 4432852 w 5705061"/>
              <a:gd name="connsiteY154" fmla="*/ 601317 h 2604052"/>
              <a:gd name="connsiteX155" fmla="*/ 4462670 w 5705061"/>
              <a:gd name="connsiteY155" fmla="*/ 591378 h 2604052"/>
              <a:gd name="connsiteX156" fmla="*/ 4492487 w 5705061"/>
              <a:gd name="connsiteY156" fmla="*/ 571500 h 2604052"/>
              <a:gd name="connsiteX157" fmla="*/ 4522305 w 5705061"/>
              <a:gd name="connsiteY157" fmla="*/ 546652 h 2604052"/>
              <a:gd name="connsiteX158" fmla="*/ 4576970 w 5705061"/>
              <a:gd name="connsiteY158" fmla="*/ 531744 h 2604052"/>
              <a:gd name="connsiteX159" fmla="*/ 4606787 w 5705061"/>
              <a:gd name="connsiteY159" fmla="*/ 521804 h 2604052"/>
              <a:gd name="connsiteX160" fmla="*/ 4621696 w 5705061"/>
              <a:gd name="connsiteY160" fmla="*/ 511865 h 2604052"/>
              <a:gd name="connsiteX161" fmla="*/ 4666422 w 5705061"/>
              <a:gd name="connsiteY161" fmla="*/ 506896 h 2604052"/>
              <a:gd name="connsiteX162" fmla="*/ 4671392 w 5705061"/>
              <a:gd name="connsiteY162" fmla="*/ 491987 h 2604052"/>
              <a:gd name="connsiteX163" fmla="*/ 4701209 w 5705061"/>
              <a:gd name="connsiteY163" fmla="*/ 477078 h 2604052"/>
              <a:gd name="connsiteX164" fmla="*/ 4706179 w 5705061"/>
              <a:gd name="connsiteY164" fmla="*/ 462170 h 2604052"/>
              <a:gd name="connsiteX165" fmla="*/ 4721087 w 5705061"/>
              <a:gd name="connsiteY165" fmla="*/ 447261 h 2604052"/>
              <a:gd name="connsiteX166" fmla="*/ 4775752 w 5705061"/>
              <a:gd name="connsiteY166" fmla="*/ 437322 h 2604052"/>
              <a:gd name="connsiteX167" fmla="*/ 4810539 w 5705061"/>
              <a:gd name="connsiteY167" fmla="*/ 432352 h 2604052"/>
              <a:gd name="connsiteX168" fmla="*/ 4835387 w 5705061"/>
              <a:gd name="connsiteY168" fmla="*/ 407504 h 2604052"/>
              <a:gd name="connsiteX169" fmla="*/ 4850296 w 5705061"/>
              <a:gd name="connsiteY169" fmla="*/ 397565 h 2604052"/>
              <a:gd name="connsiteX170" fmla="*/ 4875144 w 5705061"/>
              <a:gd name="connsiteY170" fmla="*/ 372717 h 2604052"/>
              <a:gd name="connsiteX171" fmla="*/ 4904961 w 5705061"/>
              <a:gd name="connsiteY171" fmla="*/ 367748 h 2604052"/>
              <a:gd name="connsiteX172" fmla="*/ 4919870 w 5705061"/>
              <a:gd name="connsiteY172" fmla="*/ 362778 h 2604052"/>
              <a:gd name="connsiteX173" fmla="*/ 4969566 w 5705061"/>
              <a:gd name="connsiteY173" fmla="*/ 342900 h 2604052"/>
              <a:gd name="connsiteX174" fmla="*/ 5054048 w 5705061"/>
              <a:gd name="connsiteY174" fmla="*/ 327991 h 2604052"/>
              <a:gd name="connsiteX175" fmla="*/ 5073926 w 5705061"/>
              <a:gd name="connsiteY175" fmla="*/ 323022 h 2604052"/>
              <a:gd name="connsiteX176" fmla="*/ 5083866 w 5705061"/>
              <a:gd name="connsiteY176" fmla="*/ 313083 h 2604052"/>
              <a:gd name="connsiteX177" fmla="*/ 5098774 w 5705061"/>
              <a:gd name="connsiteY177" fmla="*/ 308113 h 2604052"/>
              <a:gd name="connsiteX178" fmla="*/ 5103744 w 5705061"/>
              <a:gd name="connsiteY178" fmla="*/ 293204 h 2604052"/>
              <a:gd name="connsiteX179" fmla="*/ 5128592 w 5705061"/>
              <a:gd name="connsiteY179" fmla="*/ 293204 h 2604052"/>
              <a:gd name="connsiteX180" fmla="*/ 5178287 w 5705061"/>
              <a:gd name="connsiteY180" fmla="*/ 258417 h 2604052"/>
              <a:gd name="connsiteX181" fmla="*/ 5208105 w 5705061"/>
              <a:gd name="connsiteY181" fmla="*/ 223631 h 2604052"/>
              <a:gd name="connsiteX182" fmla="*/ 5223013 w 5705061"/>
              <a:gd name="connsiteY182" fmla="*/ 213691 h 2604052"/>
              <a:gd name="connsiteX183" fmla="*/ 5297557 w 5705061"/>
              <a:gd name="connsiteY183" fmla="*/ 213691 h 2604052"/>
              <a:gd name="connsiteX184" fmla="*/ 5312466 w 5705061"/>
              <a:gd name="connsiteY184" fmla="*/ 173935 h 2604052"/>
              <a:gd name="connsiteX185" fmla="*/ 5327374 w 5705061"/>
              <a:gd name="connsiteY185" fmla="*/ 173935 h 2604052"/>
              <a:gd name="connsiteX186" fmla="*/ 5327374 w 5705061"/>
              <a:gd name="connsiteY186" fmla="*/ 173935 h 2604052"/>
              <a:gd name="connsiteX187" fmla="*/ 5367131 w 5705061"/>
              <a:gd name="connsiteY187" fmla="*/ 114300 h 2604052"/>
              <a:gd name="connsiteX188" fmla="*/ 5367131 w 5705061"/>
              <a:gd name="connsiteY188" fmla="*/ 114300 h 2604052"/>
              <a:gd name="connsiteX189" fmla="*/ 5382039 w 5705061"/>
              <a:gd name="connsiteY189" fmla="*/ 104361 h 2604052"/>
              <a:gd name="connsiteX190" fmla="*/ 5382039 w 5705061"/>
              <a:gd name="connsiteY190" fmla="*/ 104361 h 2604052"/>
              <a:gd name="connsiteX191" fmla="*/ 5466522 w 5705061"/>
              <a:gd name="connsiteY191" fmla="*/ 84483 h 2604052"/>
              <a:gd name="connsiteX192" fmla="*/ 5466522 w 5705061"/>
              <a:gd name="connsiteY192" fmla="*/ 44726 h 2604052"/>
              <a:gd name="connsiteX193" fmla="*/ 5551005 w 5705061"/>
              <a:gd name="connsiteY193" fmla="*/ 54665 h 2604052"/>
              <a:gd name="connsiteX194" fmla="*/ 5560944 w 5705061"/>
              <a:gd name="connsiteY194" fmla="*/ 4970 h 2604052"/>
              <a:gd name="connsiteX195" fmla="*/ 5705061 w 5705061"/>
              <a:gd name="connsiteY195"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4820 w 5705061"/>
              <a:gd name="connsiteY148" fmla="*/ 710648 h 2604052"/>
              <a:gd name="connsiteX149" fmla="*/ 4308613 w 5705061"/>
              <a:gd name="connsiteY149" fmla="*/ 683812 h 2604052"/>
              <a:gd name="connsiteX150" fmla="*/ 4328492 w 5705061"/>
              <a:gd name="connsiteY150" fmla="*/ 670891 h 2604052"/>
              <a:gd name="connsiteX151" fmla="*/ 4358309 w 5705061"/>
              <a:gd name="connsiteY151" fmla="*/ 651013 h 2604052"/>
              <a:gd name="connsiteX152" fmla="*/ 4373218 w 5705061"/>
              <a:gd name="connsiteY152" fmla="*/ 641074 h 2604052"/>
              <a:gd name="connsiteX153" fmla="*/ 4403035 w 5705061"/>
              <a:gd name="connsiteY153" fmla="*/ 621196 h 2604052"/>
              <a:gd name="connsiteX154" fmla="*/ 4432852 w 5705061"/>
              <a:gd name="connsiteY154" fmla="*/ 601317 h 2604052"/>
              <a:gd name="connsiteX155" fmla="*/ 4462670 w 5705061"/>
              <a:gd name="connsiteY155" fmla="*/ 591378 h 2604052"/>
              <a:gd name="connsiteX156" fmla="*/ 4492487 w 5705061"/>
              <a:gd name="connsiteY156" fmla="*/ 571500 h 2604052"/>
              <a:gd name="connsiteX157" fmla="*/ 4522305 w 5705061"/>
              <a:gd name="connsiteY157" fmla="*/ 546652 h 2604052"/>
              <a:gd name="connsiteX158" fmla="*/ 4576970 w 5705061"/>
              <a:gd name="connsiteY158" fmla="*/ 531744 h 2604052"/>
              <a:gd name="connsiteX159" fmla="*/ 4606787 w 5705061"/>
              <a:gd name="connsiteY159" fmla="*/ 521804 h 2604052"/>
              <a:gd name="connsiteX160" fmla="*/ 4621696 w 5705061"/>
              <a:gd name="connsiteY160" fmla="*/ 511865 h 2604052"/>
              <a:gd name="connsiteX161" fmla="*/ 4666422 w 5705061"/>
              <a:gd name="connsiteY161" fmla="*/ 506896 h 2604052"/>
              <a:gd name="connsiteX162" fmla="*/ 4671392 w 5705061"/>
              <a:gd name="connsiteY162" fmla="*/ 491987 h 2604052"/>
              <a:gd name="connsiteX163" fmla="*/ 4701209 w 5705061"/>
              <a:gd name="connsiteY163" fmla="*/ 477078 h 2604052"/>
              <a:gd name="connsiteX164" fmla="*/ 4706179 w 5705061"/>
              <a:gd name="connsiteY164" fmla="*/ 462170 h 2604052"/>
              <a:gd name="connsiteX165" fmla="*/ 4721087 w 5705061"/>
              <a:gd name="connsiteY165" fmla="*/ 447261 h 2604052"/>
              <a:gd name="connsiteX166" fmla="*/ 4775752 w 5705061"/>
              <a:gd name="connsiteY166" fmla="*/ 437322 h 2604052"/>
              <a:gd name="connsiteX167" fmla="*/ 4810539 w 5705061"/>
              <a:gd name="connsiteY167" fmla="*/ 432352 h 2604052"/>
              <a:gd name="connsiteX168" fmla="*/ 4835387 w 5705061"/>
              <a:gd name="connsiteY168" fmla="*/ 407504 h 2604052"/>
              <a:gd name="connsiteX169" fmla="*/ 4850296 w 5705061"/>
              <a:gd name="connsiteY169" fmla="*/ 397565 h 2604052"/>
              <a:gd name="connsiteX170" fmla="*/ 4885084 w 5705061"/>
              <a:gd name="connsiteY170" fmla="*/ 396571 h 2604052"/>
              <a:gd name="connsiteX171" fmla="*/ 4904961 w 5705061"/>
              <a:gd name="connsiteY171" fmla="*/ 367748 h 2604052"/>
              <a:gd name="connsiteX172" fmla="*/ 4919870 w 5705061"/>
              <a:gd name="connsiteY172" fmla="*/ 362778 h 2604052"/>
              <a:gd name="connsiteX173" fmla="*/ 4969566 w 5705061"/>
              <a:gd name="connsiteY173" fmla="*/ 342900 h 2604052"/>
              <a:gd name="connsiteX174" fmla="*/ 5054048 w 5705061"/>
              <a:gd name="connsiteY174" fmla="*/ 327991 h 2604052"/>
              <a:gd name="connsiteX175" fmla="*/ 5073926 w 5705061"/>
              <a:gd name="connsiteY175" fmla="*/ 323022 h 2604052"/>
              <a:gd name="connsiteX176" fmla="*/ 5083866 w 5705061"/>
              <a:gd name="connsiteY176" fmla="*/ 313083 h 2604052"/>
              <a:gd name="connsiteX177" fmla="*/ 5098774 w 5705061"/>
              <a:gd name="connsiteY177" fmla="*/ 308113 h 2604052"/>
              <a:gd name="connsiteX178" fmla="*/ 5103744 w 5705061"/>
              <a:gd name="connsiteY178" fmla="*/ 293204 h 2604052"/>
              <a:gd name="connsiteX179" fmla="*/ 5128592 w 5705061"/>
              <a:gd name="connsiteY179" fmla="*/ 293204 h 2604052"/>
              <a:gd name="connsiteX180" fmla="*/ 5178287 w 5705061"/>
              <a:gd name="connsiteY180" fmla="*/ 258417 h 2604052"/>
              <a:gd name="connsiteX181" fmla="*/ 5208105 w 5705061"/>
              <a:gd name="connsiteY181" fmla="*/ 223631 h 2604052"/>
              <a:gd name="connsiteX182" fmla="*/ 5223013 w 5705061"/>
              <a:gd name="connsiteY182" fmla="*/ 213691 h 2604052"/>
              <a:gd name="connsiteX183" fmla="*/ 5297557 w 5705061"/>
              <a:gd name="connsiteY183" fmla="*/ 213691 h 2604052"/>
              <a:gd name="connsiteX184" fmla="*/ 5312466 w 5705061"/>
              <a:gd name="connsiteY184" fmla="*/ 173935 h 2604052"/>
              <a:gd name="connsiteX185" fmla="*/ 5327374 w 5705061"/>
              <a:gd name="connsiteY185" fmla="*/ 173935 h 2604052"/>
              <a:gd name="connsiteX186" fmla="*/ 5327374 w 5705061"/>
              <a:gd name="connsiteY186" fmla="*/ 173935 h 2604052"/>
              <a:gd name="connsiteX187" fmla="*/ 5367131 w 5705061"/>
              <a:gd name="connsiteY187" fmla="*/ 114300 h 2604052"/>
              <a:gd name="connsiteX188" fmla="*/ 5367131 w 5705061"/>
              <a:gd name="connsiteY188" fmla="*/ 114300 h 2604052"/>
              <a:gd name="connsiteX189" fmla="*/ 5382039 w 5705061"/>
              <a:gd name="connsiteY189" fmla="*/ 104361 h 2604052"/>
              <a:gd name="connsiteX190" fmla="*/ 5382039 w 5705061"/>
              <a:gd name="connsiteY190" fmla="*/ 104361 h 2604052"/>
              <a:gd name="connsiteX191" fmla="*/ 5466522 w 5705061"/>
              <a:gd name="connsiteY191" fmla="*/ 84483 h 2604052"/>
              <a:gd name="connsiteX192" fmla="*/ 5466522 w 5705061"/>
              <a:gd name="connsiteY192" fmla="*/ 44726 h 2604052"/>
              <a:gd name="connsiteX193" fmla="*/ 5551005 w 5705061"/>
              <a:gd name="connsiteY193" fmla="*/ 54665 h 2604052"/>
              <a:gd name="connsiteX194" fmla="*/ 5560944 w 5705061"/>
              <a:gd name="connsiteY194" fmla="*/ 4970 h 2604052"/>
              <a:gd name="connsiteX195" fmla="*/ 5705061 w 5705061"/>
              <a:gd name="connsiteY195"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4820 w 5705061"/>
              <a:gd name="connsiteY148" fmla="*/ 710648 h 2604052"/>
              <a:gd name="connsiteX149" fmla="*/ 4308613 w 5705061"/>
              <a:gd name="connsiteY149" fmla="*/ 683812 h 2604052"/>
              <a:gd name="connsiteX150" fmla="*/ 4328492 w 5705061"/>
              <a:gd name="connsiteY150" fmla="*/ 670891 h 2604052"/>
              <a:gd name="connsiteX151" fmla="*/ 4358309 w 5705061"/>
              <a:gd name="connsiteY151" fmla="*/ 651013 h 2604052"/>
              <a:gd name="connsiteX152" fmla="*/ 4373218 w 5705061"/>
              <a:gd name="connsiteY152" fmla="*/ 641074 h 2604052"/>
              <a:gd name="connsiteX153" fmla="*/ 4403035 w 5705061"/>
              <a:gd name="connsiteY153" fmla="*/ 621196 h 2604052"/>
              <a:gd name="connsiteX154" fmla="*/ 4432852 w 5705061"/>
              <a:gd name="connsiteY154" fmla="*/ 601317 h 2604052"/>
              <a:gd name="connsiteX155" fmla="*/ 4462670 w 5705061"/>
              <a:gd name="connsiteY155" fmla="*/ 591378 h 2604052"/>
              <a:gd name="connsiteX156" fmla="*/ 4492487 w 5705061"/>
              <a:gd name="connsiteY156" fmla="*/ 571500 h 2604052"/>
              <a:gd name="connsiteX157" fmla="*/ 4522305 w 5705061"/>
              <a:gd name="connsiteY157" fmla="*/ 546652 h 2604052"/>
              <a:gd name="connsiteX158" fmla="*/ 4576970 w 5705061"/>
              <a:gd name="connsiteY158" fmla="*/ 531744 h 2604052"/>
              <a:gd name="connsiteX159" fmla="*/ 4606787 w 5705061"/>
              <a:gd name="connsiteY159" fmla="*/ 521804 h 2604052"/>
              <a:gd name="connsiteX160" fmla="*/ 4621696 w 5705061"/>
              <a:gd name="connsiteY160" fmla="*/ 511865 h 2604052"/>
              <a:gd name="connsiteX161" fmla="*/ 4666422 w 5705061"/>
              <a:gd name="connsiteY161" fmla="*/ 506896 h 2604052"/>
              <a:gd name="connsiteX162" fmla="*/ 4671392 w 5705061"/>
              <a:gd name="connsiteY162" fmla="*/ 491987 h 2604052"/>
              <a:gd name="connsiteX163" fmla="*/ 4701209 w 5705061"/>
              <a:gd name="connsiteY163" fmla="*/ 477078 h 2604052"/>
              <a:gd name="connsiteX164" fmla="*/ 4706179 w 5705061"/>
              <a:gd name="connsiteY164" fmla="*/ 462170 h 2604052"/>
              <a:gd name="connsiteX165" fmla="*/ 4721087 w 5705061"/>
              <a:gd name="connsiteY165" fmla="*/ 447261 h 2604052"/>
              <a:gd name="connsiteX166" fmla="*/ 4775752 w 5705061"/>
              <a:gd name="connsiteY166" fmla="*/ 437322 h 2604052"/>
              <a:gd name="connsiteX167" fmla="*/ 4810539 w 5705061"/>
              <a:gd name="connsiteY167" fmla="*/ 432352 h 2604052"/>
              <a:gd name="connsiteX168" fmla="*/ 4835387 w 5705061"/>
              <a:gd name="connsiteY168" fmla="*/ 407504 h 2604052"/>
              <a:gd name="connsiteX169" fmla="*/ 4850296 w 5705061"/>
              <a:gd name="connsiteY169" fmla="*/ 397565 h 2604052"/>
              <a:gd name="connsiteX170" fmla="*/ 4885084 w 5705061"/>
              <a:gd name="connsiteY170" fmla="*/ 396571 h 2604052"/>
              <a:gd name="connsiteX171" fmla="*/ 4904961 w 5705061"/>
              <a:gd name="connsiteY171" fmla="*/ 367748 h 2604052"/>
              <a:gd name="connsiteX172" fmla="*/ 4931797 w 5705061"/>
              <a:gd name="connsiteY172" fmla="*/ 384644 h 2604052"/>
              <a:gd name="connsiteX173" fmla="*/ 4969566 w 5705061"/>
              <a:gd name="connsiteY173" fmla="*/ 342900 h 2604052"/>
              <a:gd name="connsiteX174" fmla="*/ 5054048 w 5705061"/>
              <a:gd name="connsiteY174" fmla="*/ 327991 h 2604052"/>
              <a:gd name="connsiteX175" fmla="*/ 5073926 w 5705061"/>
              <a:gd name="connsiteY175" fmla="*/ 323022 h 2604052"/>
              <a:gd name="connsiteX176" fmla="*/ 5083866 w 5705061"/>
              <a:gd name="connsiteY176" fmla="*/ 313083 h 2604052"/>
              <a:gd name="connsiteX177" fmla="*/ 5098774 w 5705061"/>
              <a:gd name="connsiteY177" fmla="*/ 308113 h 2604052"/>
              <a:gd name="connsiteX178" fmla="*/ 5103744 w 5705061"/>
              <a:gd name="connsiteY178" fmla="*/ 293204 h 2604052"/>
              <a:gd name="connsiteX179" fmla="*/ 5128592 w 5705061"/>
              <a:gd name="connsiteY179" fmla="*/ 293204 h 2604052"/>
              <a:gd name="connsiteX180" fmla="*/ 5178287 w 5705061"/>
              <a:gd name="connsiteY180" fmla="*/ 258417 h 2604052"/>
              <a:gd name="connsiteX181" fmla="*/ 5208105 w 5705061"/>
              <a:gd name="connsiteY181" fmla="*/ 223631 h 2604052"/>
              <a:gd name="connsiteX182" fmla="*/ 5223013 w 5705061"/>
              <a:gd name="connsiteY182" fmla="*/ 213691 h 2604052"/>
              <a:gd name="connsiteX183" fmla="*/ 5297557 w 5705061"/>
              <a:gd name="connsiteY183" fmla="*/ 213691 h 2604052"/>
              <a:gd name="connsiteX184" fmla="*/ 5312466 w 5705061"/>
              <a:gd name="connsiteY184" fmla="*/ 173935 h 2604052"/>
              <a:gd name="connsiteX185" fmla="*/ 5327374 w 5705061"/>
              <a:gd name="connsiteY185" fmla="*/ 173935 h 2604052"/>
              <a:gd name="connsiteX186" fmla="*/ 5327374 w 5705061"/>
              <a:gd name="connsiteY186" fmla="*/ 173935 h 2604052"/>
              <a:gd name="connsiteX187" fmla="*/ 5367131 w 5705061"/>
              <a:gd name="connsiteY187" fmla="*/ 114300 h 2604052"/>
              <a:gd name="connsiteX188" fmla="*/ 5367131 w 5705061"/>
              <a:gd name="connsiteY188" fmla="*/ 114300 h 2604052"/>
              <a:gd name="connsiteX189" fmla="*/ 5382039 w 5705061"/>
              <a:gd name="connsiteY189" fmla="*/ 104361 h 2604052"/>
              <a:gd name="connsiteX190" fmla="*/ 5382039 w 5705061"/>
              <a:gd name="connsiteY190" fmla="*/ 104361 h 2604052"/>
              <a:gd name="connsiteX191" fmla="*/ 5466522 w 5705061"/>
              <a:gd name="connsiteY191" fmla="*/ 84483 h 2604052"/>
              <a:gd name="connsiteX192" fmla="*/ 5466522 w 5705061"/>
              <a:gd name="connsiteY192" fmla="*/ 44726 h 2604052"/>
              <a:gd name="connsiteX193" fmla="*/ 5551005 w 5705061"/>
              <a:gd name="connsiteY193" fmla="*/ 54665 h 2604052"/>
              <a:gd name="connsiteX194" fmla="*/ 5560944 w 5705061"/>
              <a:gd name="connsiteY194" fmla="*/ 4970 h 2604052"/>
              <a:gd name="connsiteX195" fmla="*/ 5705061 w 5705061"/>
              <a:gd name="connsiteY195"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4820 w 5705061"/>
              <a:gd name="connsiteY148" fmla="*/ 710648 h 2604052"/>
              <a:gd name="connsiteX149" fmla="*/ 4308613 w 5705061"/>
              <a:gd name="connsiteY149" fmla="*/ 683812 h 2604052"/>
              <a:gd name="connsiteX150" fmla="*/ 4328492 w 5705061"/>
              <a:gd name="connsiteY150" fmla="*/ 670891 h 2604052"/>
              <a:gd name="connsiteX151" fmla="*/ 4358309 w 5705061"/>
              <a:gd name="connsiteY151" fmla="*/ 651013 h 2604052"/>
              <a:gd name="connsiteX152" fmla="*/ 4373218 w 5705061"/>
              <a:gd name="connsiteY152" fmla="*/ 641074 h 2604052"/>
              <a:gd name="connsiteX153" fmla="*/ 4403035 w 5705061"/>
              <a:gd name="connsiteY153" fmla="*/ 621196 h 2604052"/>
              <a:gd name="connsiteX154" fmla="*/ 4432852 w 5705061"/>
              <a:gd name="connsiteY154" fmla="*/ 601317 h 2604052"/>
              <a:gd name="connsiteX155" fmla="*/ 4462670 w 5705061"/>
              <a:gd name="connsiteY155" fmla="*/ 591378 h 2604052"/>
              <a:gd name="connsiteX156" fmla="*/ 4492487 w 5705061"/>
              <a:gd name="connsiteY156" fmla="*/ 571500 h 2604052"/>
              <a:gd name="connsiteX157" fmla="*/ 4522305 w 5705061"/>
              <a:gd name="connsiteY157" fmla="*/ 546652 h 2604052"/>
              <a:gd name="connsiteX158" fmla="*/ 4576970 w 5705061"/>
              <a:gd name="connsiteY158" fmla="*/ 531744 h 2604052"/>
              <a:gd name="connsiteX159" fmla="*/ 4606787 w 5705061"/>
              <a:gd name="connsiteY159" fmla="*/ 521804 h 2604052"/>
              <a:gd name="connsiteX160" fmla="*/ 4621696 w 5705061"/>
              <a:gd name="connsiteY160" fmla="*/ 511865 h 2604052"/>
              <a:gd name="connsiteX161" fmla="*/ 4666422 w 5705061"/>
              <a:gd name="connsiteY161" fmla="*/ 506896 h 2604052"/>
              <a:gd name="connsiteX162" fmla="*/ 4671392 w 5705061"/>
              <a:gd name="connsiteY162" fmla="*/ 491987 h 2604052"/>
              <a:gd name="connsiteX163" fmla="*/ 4701209 w 5705061"/>
              <a:gd name="connsiteY163" fmla="*/ 477078 h 2604052"/>
              <a:gd name="connsiteX164" fmla="*/ 4706179 w 5705061"/>
              <a:gd name="connsiteY164" fmla="*/ 462170 h 2604052"/>
              <a:gd name="connsiteX165" fmla="*/ 4721087 w 5705061"/>
              <a:gd name="connsiteY165" fmla="*/ 447261 h 2604052"/>
              <a:gd name="connsiteX166" fmla="*/ 4775752 w 5705061"/>
              <a:gd name="connsiteY166" fmla="*/ 437322 h 2604052"/>
              <a:gd name="connsiteX167" fmla="*/ 4810539 w 5705061"/>
              <a:gd name="connsiteY167" fmla="*/ 432352 h 2604052"/>
              <a:gd name="connsiteX168" fmla="*/ 4835387 w 5705061"/>
              <a:gd name="connsiteY168" fmla="*/ 407504 h 2604052"/>
              <a:gd name="connsiteX169" fmla="*/ 4850296 w 5705061"/>
              <a:gd name="connsiteY169" fmla="*/ 397565 h 2604052"/>
              <a:gd name="connsiteX170" fmla="*/ 4885084 w 5705061"/>
              <a:gd name="connsiteY170" fmla="*/ 396571 h 2604052"/>
              <a:gd name="connsiteX171" fmla="*/ 4904961 w 5705061"/>
              <a:gd name="connsiteY171" fmla="*/ 397565 h 2604052"/>
              <a:gd name="connsiteX172" fmla="*/ 4931797 w 5705061"/>
              <a:gd name="connsiteY172" fmla="*/ 384644 h 2604052"/>
              <a:gd name="connsiteX173" fmla="*/ 4969566 w 5705061"/>
              <a:gd name="connsiteY173" fmla="*/ 342900 h 2604052"/>
              <a:gd name="connsiteX174" fmla="*/ 5054048 w 5705061"/>
              <a:gd name="connsiteY174" fmla="*/ 327991 h 2604052"/>
              <a:gd name="connsiteX175" fmla="*/ 5073926 w 5705061"/>
              <a:gd name="connsiteY175" fmla="*/ 323022 h 2604052"/>
              <a:gd name="connsiteX176" fmla="*/ 5083866 w 5705061"/>
              <a:gd name="connsiteY176" fmla="*/ 313083 h 2604052"/>
              <a:gd name="connsiteX177" fmla="*/ 5098774 w 5705061"/>
              <a:gd name="connsiteY177" fmla="*/ 308113 h 2604052"/>
              <a:gd name="connsiteX178" fmla="*/ 5103744 w 5705061"/>
              <a:gd name="connsiteY178" fmla="*/ 293204 h 2604052"/>
              <a:gd name="connsiteX179" fmla="*/ 5128592 w 5705061"/>
              <a:gd name="connsiteY179" fmla="*/ 293204 h 2604052"/>
              <a:gd name="connsiteX180" fmla="*/ 5178287 w 5705061"/>
              <a:gd name="connsiteY180" fmla="*/ 258417 h 2604052"/>
              <a:gd name="connsiteX181" fmla="*/ 5208105 w 5705061"/>
              <a:gd name="connsiteY181" fmla="*/ 223631 h 2604052"/>
              <a:gd name="connsiteX182" fmla="*/ 5223013 w 5705061"/>
              <a:gd name="connsiteY182" fmla="*/ 213691 h 2604052"/>
              <a:gd name="connsiteX183" fmla="*/ 5297557 w 5705061"/>
              <a:gd name="connsiteY183" fmla="*/ 213691 h 2604052"/>
              <a:gd name="connsiteX184" fmla="*/ 5312466 w 5705061"/>
              <a:gd name="connsiteY184" fmla="*/ 173935 h 2604052"/>
              <a:gd name="connsiteX185" fmla="*/ 5327374 w 5705061"/>
              <a:gd name="connsiteY185" fmla="*/ 173935 h 2604052"/>
              <a:gd name="connsiteX186" fmla="*/ 5327374 w 5705061"/>
              <a:gd name="connsiteY186" fmla="*/ 173935 h 2604052"/>
              <a:gd name="connsiteX187" fmla="*/ 5367131 w 5705061"/>
              <a:gd name="connsiteY187" fmla="*/ 114300 h 2604052"/>
              <a:gd name="connsiteX188" fmla="*/ 5367131 w 5705061"/>
              <a:gd name="connsiteY188" fmla="*/ 114300 h 2604052"/>
              <a:gd name="connsiteX189" fmla="*/ 5382039 w 5705061"/>
              <a:gd name="connsiteY189" fmla="*/ 104361 h 2604052"/>
              <a:gd name="connsiteX190" fmla="*/ 5382039 w 5705061"/>
              <a:gd name="connsiteY190" fmla="*/ 104361 h 2604052"/>
              <a:gd name="connsiteX191" fmla="*/ 5466522 w 5705061"/>
              <a:gd name="connsiteY191" fmla="*/ 84483 h 2604052"/>
              <a:gd name="connsiteX192" fmla="*/ 5466522 w 5705061"/>
              <a:gd name="connsiteY192" fmla="*/ 44726 h 2604052"/>
              <a:gd name="connsiteX193" fmla="*/ 5551005 w 5705061"/>
              <a:gd name="connsiteY193" fmla="*/ 54665 h 2604052"/>
              <a:gd name="connsiteX194" fmla="*/ 5560944 w 5705061"/>
              <a:gd name="connsiteY194" fmla="*/ 4970 h 2604052"/>
              <a:gd name="connsiteX195" fmla="*/ 5705061 w 5705061"/>
              <a:gd name="connsiteY195"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4820 w 5705061"/>
              <a:gd name="connsiteY148" fmla="*/ 710648 h 2604052"/>
              <a:gd name="connsiteX149" fmla="*/ 4308613 w 5705061"/>
              <a:gd name="connsiteY149" fmla="*/ 683812 h 2604052"/>
              <a:gd name="connsiteX150" fmla="*/ 4328492 w 5705061"/>
              <a:gd name="connsiteY150" fmla="*/ 670891 h 2604052"/>
              <a:gd name="connsiteX151" fmla="*/ 4358309 w 5705061"/>
              <a:gd name="connsiteY151" fmla="*/ 651013 h 2604052"/>
              <a:gd name="connsiteX152" fmla="*/ 4373218 w 5705061"/>
              <a:gd name="connsiteY152" fmla="*/ 641074 h 2604052"/>
              <a:gd name="connsiteX153" fmla="*/ 4403035 w 5705061"/>
              <a:gd name="connsiteY153" fmla="*/ 621196 h 2604052"/>
              <a:gd name="connsiteX154" fmla="*/ 4432852 w 5705061"/>
              <a:gd name="connsiteY154" fmla="*/ 601317 h 2604052"/>
              <a:gd name="connsiteX155" fmla="*/ 4462670 w 5705061"/>
              <a:gd name="connsiteY155" fmla="*/ 591378 h 2604052"/>
              <a:gd name="connsiteX156" fmla="*/ 4492487 w 5705061"/>
              <a:gd name="connsiteY156" fmla="*/ 571500 h 2604052"/>
              <a:gd name="connsiteX157" fmla="*/ 4522305 w 5705061"/>
              <a:gd name="connsiteY157" fmla="*/ 546652 h 2604052"/>
              <a:gd name="connsiteX158" fmla="*/ 4576970 w 5705061"/>
              <a:gd name="connsiteY158" fmla="*/ 531744 h 2604052"/>
              <a:gd name="connsiteX159" fmla="*/ 4606787 w 5705061"/>
              <a:gd name="connsiteY159" fmla="*/ 521804 h 2604052"/>
              <a:gd name="connsiteX160" fmla="*/ 4621696 w 5705061"/>
              <a:gd name="connsiteY160" fmla="*/ 511865 h 2604052"/>
              <a:gd name="connsiteX161" fmla="*/ 4666422 w 5705061"/>
              <a:gd name="connsiteY161" fmla="*/ 506896 h 2604052"/>
              <a:gd name="connsiteX162" fmla="*/ 4671392 w 5705061"/>
              <a:gd name="connsiteY162" fmla="*/ 491987 h 2604052"/>
              <a:gd name="connsiteX163" fmla="*/ 4701209 w 5705061"/>
              <a:gd name="connsiteY163" fmla="*/ 477078 h 2604052"/>
              <a:gd name="connsiteX164" fmla="*/ 4706179 w 5705061"/>
              <a:gd name="connsiteY164" fmla="*/ 462170 h 2604052"/>
              <a:gd name="connsiteX165" fmla="*/ 4721087 w 5705061"/>
              <a:gd name="connsiteY165" fmla="*/ 447261 h 2604052"/>
              <a:gd name="connsiteX166" fmla="*/ 4775752 w 5705061"/>
              <a:gd name="connsiteY166" fmla="*/ 437322 h 2604052"/>
              <a:gd name="connsiteX167" fmla="*/ 4810539 w 5705061"/>
              <a:gd name="connsiteY167" fmla="*/ 432352 h 2604052"/>
              <a:gd name="connsiteX168" fmla="*/ 4835387 w 5705061"/>
              <a:gd name="connsiteY168" fmla="*/ 407504 h 2604052"/>
              <a:gd name="connsiteX169" fmla="*/ 4850296 w 5705061"/>
              <a:gd name="connsiteY169" fmla="*/ 397565 h 2604052"/>
              <a:gd name="connsiteX170" fmla="*/ 4885084 w 5705061"/>
              <a:gd name="connsiteY170" fmla="*/ 396571 h 2604052"/>
              <a:gd name="connsiteX171" fmla="*/ 4904961 w 5705061"/>
              <a:gd name="connsiteY171" fmla="*/ 397565 h 2604052"/>
              <a:gd name="connsiteX172" fmla="*/ 4931797 w 5705061"/>
              <a:gd name="connsiteY172" fmla="*/ 384644 h 2604052"/>
              <a:gd name="connsiteX173" fmla="*/ 4981493 w 5705061"/>
              <a:gd name="connsiteY173" fmla="*/ 362778 h 2604052"/>
              <a:gd name="connsiteX174" fmla="*/ 5054048 w 5705061"/>
              <a:gd name="connsiteY174" fmla="*/ 327991 h 2604052"/>
              <a:gd name="connsiteX175" fmla="*/ 5073926 w 5705061"/>
              <a:gd name="connsiteY175" fmla="*/ 323022 h 2604052"/>
              <a:gd name="connsiteX176" fmla="*/ 5083866 w 5705061"/>
              <a:gd name="connsiteY176" fmla="*/ 313083 h 2604052"/>
              <a:gd name="connsiteX177" fmla="*/ 5098774 w 5705061"/>
              <a:gd name="connsiteY177" fmla="*/ 308113 h 2604052"/>
              <a:gd name="connsiteX178" fmla="*/ 5103744 w 5705061"/>
              <a:gd name="connsiteY178" fmla="*/ 293204 h 2604052"/>
              <a:gd name="connsiteX179" fmla="*/ 5128592 w 5705061"/>
              <a:gd name="connsiteY179" fmla="*/ 293204 h 2604052"/>
              <a:gd name="connsiteX180" fmla="*/ 5178287 w 5705061"/>
              <a:gd name="connsiteY180" fmla="*/ 258417 h 2604052"/>
              <a:gd name="connsiteX181" fmla="*/ 5208105 w 5705061"/>
              <a:gd name="connsiteY181" fmla="*/ 223631 h 2604052"/>
              <a:gd name="connsiteX182" fmla="*/ 5223013 w 5705061"/>
              <a:gd name="connsiteY182" fmla="*/ 213691 h 2604052"/>
              <a:gd name="connsiteX183" fmla="*/ 5297557 w 5705061"/>
              <a:gd name="connsiteY183" fmla="*/ 213691 h 2604052"/>
              <a:gd name="connsiteX184" fmla="*/ 5312466 w 5705061"/>
              <a:gd name="connsiteY184" fmla="*/ 173935 h 2604052"/>
              <a:gd name="connsiteX185" fmla="*/ 5327374 w 5705061"/>
              <a:gd name="connsiteY185" fmla="*/ 173935 h 2604052"/>
              <a:gd name="connsiteX186" fmla="*/ 5327374 w 5705061"/>
              <a:gd name="connsiteY186" fmla="*/ 173935 h 2604052"/>
              <a:gd name="connsiteX187" fmla="*/ 5367131 w 5705061"/>
              <a:gd name="connsiteY187" fmla="*/ 114300 h 2604052"/>
              <a:gd name="connsiteX188" fmla="*/ 5367131 w 5705061"/>
              <a:gd name="connsiteY188" fmla="*/ 114300 h 2604052"/>
              <a:gd name="connsiteX189" fmla="*/ 5382039 w 5705061"/>
              <a:gd name="connsiteY189" fmla="*/ 104361 h 2604052"/>
              <a:gd name="connsiteX190" fmla="*/ 5382039 w 5705061"/>
              <a:gd name="connsiteY190" fmla="*/ 104361 h 2604052"/>
              <a:gd name="connsiteX191" fmla="*/ 5466522 w 5705061"/>
              <a:gd name="connsiteY191" fmla="*/ 84483 h 2604052"/>
              <a:gd name="connsiteX192" fmla="*/ 5466522 w 5705061"/>
              <a:gd name="connsiteY192" fmla="*/ 44726 h 2604052"/>
              <a:gd name="connsiteX193" fmla="*/ 5551005 w 5705061"/>
              <a:gd name="connsiteY193" fmla="*/ 54665 h 2604052"/>
              <a:gd name="connsiteX194" fmla="*/ 5560944 w 5705061"/>
              <a:gd name="connsiteY194" fmla="*/ 4970 h 2604052"/>
              <a:gd name="connsiteX195" fmla="*/ 5705061 w 5705061"/>
              <a:gd name="connsiteY195"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4820 w 5705061"/>
              <a:gd name="connsiteY148" fmla="*/ 710648 h 2604052"/>
              <a:gd name="connsiteX149" fmla="*/ 4308613 w 5705061"/>
              <a:gd name="connsiteY149" fmla="*/ 683812 h 2604052"/>
              <a:gd name="connsiteX150" fmla="*/ 4328492 w 5705061"/>
              <a:gd name="connsiteY150" fmla="*/ 670891 h 2604052"/>
              <a:gd name="connsiteX151" fmla="*/ 4358309 w 5705061"/>
              <a:gd name="connsiteY151" fmla="*/ 651013 h 2604052"/>
              <a:gd name="connsiteX152" fmla="*/ 4373218 w 5705061"/>
              <a:gd name="connsiteY152" fmla="*/ 641074 h 2604052"/>
              <a:gd name="connsiteX153" fmla="*/ 4403035 w 5705061"/>
              <a:gd name="connsiteY153" fmla="*/ 621196 h 2604052"/>
              <a:gd name="connsiteX154" fmla="*/ 4432852 w 5705061"/>
              <a:gd name="connsiteY154" fmla="*/ 601317 h 2604052"/>
              <a:gd name="connsiteX155" fmla="*/ 4462670 w 5705061"/>
              <a:gd name="connsiteY155" fmla="*/ 591378 h 2604052"/>
              <a:gd name="connsiteX156" fmla="*/ 4492487 w 5705061"/>
              <a:gd name="connsiteY156" fmla="*/ 571500 h 2604052"/>
              <a:gd name="connsiteX157" fmla="*/ 4522305 w 5705061"/>
              <a:gd name="connsiteY157" fmla="*/ 546652 h 2604052"/>
              <a:gd name="connsiteX158" fmla="*/ 4576970 w 5705061"/>
              <a:gd name="connsiteY158" fmla="*/ 531744 h 2604052"/>
              <a:gd name="connsiteX159" fmla="*/ 4606787 w 5705061"/>
              <a:gd name="connsiteY159" fmla="*/ 521804 h 2604052"/>
              <a:gd name="connsiteX160" fmla="*/ 4621696 w 5705061"/>
              <a:gd name="connsiteY160" fmla="*/ 511865 h 2604052"/>
              <a:gd name="connsiteX161" fmla="*/ 4666422 w 5705061"/>
              <a:gd name="connsiteY161" fmla="*/ 506896 h 2604052"/>
              <a:gd name="connsiteX162" fmla="*/ 4671392 w 5705061"/>
              <a:gd name="connsiteY162" fmla="*/ 491987 h 2604052"/>
              <a:gd name="connsiteX163" fmla="*/ 4701209 w 5705061"/>
              <a:gd name="connsiteY163" fmla="*/ 477078 h 2604052"/>
              <a:gd name="connsiteX164" fmla="*/ 4706179 w 5705061"/>
              <a:gd name="connsiteY164" fmla="*/ 462170 h 2604052"/>
              <a:gd name="connsiteX165" fmla="*/ 4721087 w 5705061"/>
              <a:gd name="connsiteY165" fmla="*/ 447261 h 2604052"/>
              <a:gd name="connsiteX166" fmla="*/ 4775752 w 5705061"/>
              <a:gd name="connsiteY166" fmla="*/ 437322 h 2604052"/>
              <a:gd name="connsiteX167" fmla="*/ 4810539 w 5705061"/>
              <a:gd name="connsiteY167" fmla="*/ 432352 h 2604052"/>
              <a:gd name="connsiteX168" fmla="*/ 4835387 w 5705061"/>
              <a:gd name="connsiteY168" fmla="*/ 407504 h 2604052"/>
              <a:gd name="connsiteX169" fmla="*/ 4850296 w 5705061"/>
              <a:gd name="connsiteY169" fmla="*/ 397565 h 2604052"/>
              <a:gd name="connsiteX170" fmla="*/ 4885084 w 5705061"/>
              <a:gd name="connsiteY170" fmla="*/ 396571 h 2604052"/>
              <a:gd name="connsiteX171" fmla="*/ 4904961 w 5705061"/>
              <a:gd name="connsiteY171" fmla="*/ 397565 h 2604052"/>
              <a:gd name="connsiteX172" fmla="*/ 4931797 w 5705061"/>
              <a:gd name="connsiteY172" fmla="*/ 384644 h 2604052"/>
              <a:gd name="connsiteX173" fmla="*/ 4981493 w 5705061"/>
              <a:gd name="connsiteY173" fmla="*/ 362778 h 2604052"/>
              <a:gd name="connsiteX174" fmla="*/ 5030194 w 5705061"/>
              <a:gd name="connsiteY174" fmla="*/ 349857 h 2604052"/>
              <a:gd name="connsiteX175" fmla="*/ 5073926 w 5705061"/>
              <a:gd name="connsiteY175" fmla="*/ 323022 h 2604052"/>
              <a:gd name="connsiteX176" fmla="*/ 5083866 w 5705061"/>
              <a:gd name="connsiteY176" fmla="*/ 313083 h 2604052"/>
              <a:gd name="connsiteX177" fmla="*/ 5098774 w 5705061"/>
              <a:gd name="connsiteY177" fmla="*/ 308113 h 2604052"/>
              <a:gd name="connsiteX178" fmla="*/ 5103744 w 5705061"/>
              <a:gd name="connsiteY178" fmla="*/ 293204 h 2604052"/>
              <a:gd name="connsiteX179" fmla="*/ 5128592 w 5705061"/>
              <a:gd name="connsiteY179" fmla="*/ 293204 h 2604052"/>
              <a:gd name="connsiteX180" fmla="*/ 5178287 w 5705061"/>
              <a:gd name="connsiteY180" fmla="*/ 258417 h 2604052"/>
              <a:gd name="connsiteX181" fmla="*/ 5208105 w 5705061"/>
              <a:gd name="connsiteY181" fmla="*/ 223631 h 2604052"/>
              <a:gd name="connsiteX182" fmla="*/ 5223013 w 5705061"/>
              <a:gd name="connsiteY182" fmla="*/ 213691 h 2604052"/>
              <a:gd name="connsiteX183" fmla="*/ 5297557 w 5705061"/>
              <a:gd name="connsiteY183" fmla="*/ 213691 h 2604052"/>
              <a:gd name="connsiteX184" fmla="*/ 5312466 w 5705061"/>
              <a:gd name="connsiteY184" fmla="*/ 173935 h 2604052"/>
              <a:gd name="connsiteX185" fmla="*/ 5327374 w 5705061"/>
              <a:gd name="connsiteY185" fmla="*/ 173935 h 2604052"/>
              <a:gd name="connsiteX186" fmla="*/ 5327374 w 5705061"/>
              <a:gd name="connsiteY186" fmla="*/ 173935 h 2604052"/>
              <a:gd name="connsiteX187" fmla="*/ 5367131 w 5705061"/>
              <a:gd name="connsiteY187" fmla="*/ 114300 h 2604052"/>
              <a:gd name="connsiteX188" fmla="*/ 5367131 w 5705061"/>
              <a:gd name="connsiteY188" fmla="*/ 114300 h 2604052"/>
              <a:gd name="connsiteX189" fmla="*/ 5382039 w 5705061"/>
              <a:gd name="connsiteY189" fmla="*/ 104361 h 2604052"/>
              <a:gd name="connsiteX190" fmla="*/ 5382039 w 5705061"/>
              <a:gd name="connsiteY190" fmla="*/ 104361 h 2604052"/>
              <a:gd name="connsiteX191" fmla="*/ 5466522 w 5705061"/>
              <a:gd name="connsiteY191" fmla="*/ 84483 h 2604052"/>
              <a:gd name="connsiteX192" fmla="*/ 5466522 w 5705061"/>
              <a:gd name="connsiteY192" fmla="*/ 44726 h 2604052"/>
              <a:gd name="connsiteX193" fmla="*/ 5551005 w 5705061"/>
              <a:gd name="connsiteY193" fmla="*/ 54665 h 2604052"/>
              <a:gd name="connsiteX194" fmla="*/ 5560944 w 5705061"/>
              <a:gd name="connsiteY194" fmla="*/ 4970 h 2604052"/>
              <a:gd name="connsiteX195" fmla="*/ 5705061 w 5705061"/>
              <a:gd name="connsiteY195"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4820 w 5705061"/>
              <a:gd name="connsiteY148" fmla="*/ 710648 h 2604052"/>
              <a:gd name="connsiteX149" fmla="*/ 4308613 w 5705061"/>
              <a:gd name="connsiteY149" fmla="*/ 683812 h 2604052"/>
              <a:gd name="connsiteX150" fmla="*/ 4328492 w 5705061"/>
              <a:gd name="connsiteY150" fmla="*/ 670891 h 2604052"/>
              <a:gd name="connsiteX151" fmla="*/ 4358309 w 5705061"/>
              <a:gd name="connsiteY151" fmla="*/ 651013 h 2604052"/>
              <a:gd name="connsiteX152" fmla="*/ 4373218 w 5705061"/>
              <a:gd name="connsiteY152" fmla="*/ 641074 h 2604052"/>
              <a:gd name="connsiteX153" fmla="*/ 4403035 w 5705061"/>
              <a:gd name="connsiteY153" fmla="*/ 621196 h 2604052"/>
              <a:gd name="connsiteX154" fmla="*/ 4432852 w 5705061"/>
              <a:gd name="connsiteY154" fmla="*/ 601317 h 2604052"/>
              <a:gd name="connsiteX155" fmla="*/ 4462670 w 5705061"/>
              <a:gd name="connsiteY155" fmla="*/ 591378 h 2604052"/>
              <a:gd name="connsiteX156" fmla="*/ 4492487 w 5705061"/>
              <a:gd name="connsiteY156" fmla="*/ 571500 h 2604052"/>
              <a:gd name="connsiteX157" fmla="*/ 4522305 w 5705061"/>
              <a:gd name="connsiteY157" fmla="*/ 546652 h 2604052"/>
              <a:gd name="connsiteX158" fmla="*/ 4576970 w 5705061"/>
              <a:gd name="connsiteY158" fmla="*/ 531744 h 2604052"/>
              <a:gd name="connsiteX159" fmla="*/ 4606787 w 5705061"/>
              <a:gd name="connsiteY159" fmla="*/ 521804 h 2604052"/>
              <a:gd name="connsiteX160" fmla="*/ 4621696 w 5705061"/>
              <a:gd name="connsiteY160" fmla="*/ 511865 h 2604052"/>
              <a:gd name="connsiteX161" fmla="*/ 4666422 w 5705061"/>
              <a:gd name="connsiteY161" fmla="*/ 506896 h 2604052"/>
              <a:gd name="connsiteX162" fmla="*/ 4671392 w 5705061"/>
              <a:gd name="connsiteY162" fmla="*/ 491987 h 2604052"/>
              <a:gd name="connsiteX163" fmla="*/ 4701209 w 5705061"/>
              <a:gd name="connsiteY163" fmla="*/ 477078 h 2604052"/>
              <a:gd name="connsiteX164" fmla="*/ 4706179 w 5705061"/>
              <a:gd name="connsiteY164" fmla="*/ 462170 h 2604052"/>
              <a:gd name="connsiteX165" fmla="*/ 4721087 w 5705061"/>
              <a:gd name="connsiteY165" fmla="*/ 447261 h 2604052"/>
              <a:gd name="connsiteX166" fmla="*/ 4775752 w 5705061"/>
              <a:gd name="connsiteY166" fmla="*/ 437322 h 2604052"/>
              <a:gd name="connsiteX167" fmla="*/ 4810539 w 5705061"/>
              <a:gd name="connsiteY167" fmla="*/ 432352 h 2604052"/>
              <a:gd name="connsiteX168" fmla="*/ 4835387 w 5705061"/>
              <a:gd name="connsiteY168" fmla="*/ 407504 h 2604052"/>
              <a:gd name="connsiteX169" fmla="*/ 4850296 w 5705061"/>
              <a:gd name="connsiteY169" fmla="*/ 397565 h 2604052"/>
              <a:gd name="connsiteX170" fmla="*/ 4885084 w 5705061"/>
              <a:gd name="connsiteY170" fmla="*/ 396571 h 2604052"/>
              <a:gd name="connsiteX171" fmla="*/ 4904961 w 5705061"/>
              <a:gd name="connsiteY171" fmla="*/ 397565 h 2604052"/>
              <a:gd name="connsiteX172" fmla="*/ 4931797 w 5705061"/>
              <a:gd name="connsiteY172" fmla="*/ 384644 h 2604052"/>
              <a:gd name="connsiteX173" fmla="*/ 4981493 w 5705061"/>
              <a:gd name="connsiteY173" fmla="*/ 362778 h 2604052"/>
              <a:gd name="connsiteX174" fmla="*/ 5030194 w 5705061"/>
              <a:gd name="connsiteY174" fmla="*/ 349857 h 2604052"/>
              <a:gd name="connsiteX175" fmla="*/ 5073926 w 5705061"/>
              <a:gd name="connsiteY175" fmla="*/ 323022 h 2604052"/>
              <a:gd name="connsiteX176" fmla="*/ 5083866 w 5705061"/>
              <a:gd name="connsiteY176" fmla="*/ 313083 h 2604052"/>
              <a:gd name="connsiteX177" fmla="*/ 5098774 w 5705061"/>
              <a:gd name="connsiteY177" fmla="*/ 308113 h 2604052"/>
              <a:gd name="connsiteX178" fmla="*/ 5103744 w 5705061"/>
              <a:gd name="connsiteY178" fmla="*/ 293204 h 2604052"/>
              <a:gd name="connsiteX179" fmla="*/ 5128592 w 5705061"/>
              <a:gd name="connsiteY179" fmla="*/ 293204 h 2604052"/>
              <a:gd name="connsiteX180" fmla="*/ 5178287 w 5705061"/>
              <a:gd name="connsiteY180" fmla="*/ 258417 h 2604052"/>
              <a:gd name="connsiteX181" fmla="*/ 5208105 w 5705061"/>
              <a:gd name="connsiteY181" fmla="*/ 223631 h 2604052"/>
              <a:gd name="connsiteX182" fmla="*/ 5223013 w 5705061"/>
              <a:gd name="connsiteY182" fmla="*/ 213691 h 2604052"/>
              <a:gd name="connsiteX183" fmla="*/ 5297557 w 5705061"/>
              <a:gd name="connsiteY183" fmla="*/ 213691 h 2604052"/>
              <a:gd name="connsiteX184" fmla="*/ 5312466 w 5705061"/>
              <a:gd name="connsiteY184" fmla="*/ 173935 h 2604052"/>
              <a:gd name="connsiteX185" fmla="*/ 5327374 w 5705061"/>
              <a:gd name="connsiteY185" fmla="*/ 173935 h 2604052"/>
              <a:gd name="connsiteX186" fmla="*/ 5327374 w 5705061"/>
              <a:gd name="connsiteY186" fmla="*/ 173935 h 2604052"/>
              <a:gd name="connsiteX187" fmla="*/ 5367131 w 5705061"/>
              <a:gd name="connsiteY187" fmla="*/ 114300 h 2604052"/>
              <a:gd name="connsiteX188" fmla="*/ 5367131 w 5705061"/>
              <a:gd name="connsiteY188" fmla="*/ 114300 h 2604052"/>
              <a:gd name="connsiteX189" fmla="*/ 5382039 w 5705061"/>
              <a:gd name="connsiteY189" fmla="*/ 104361 h 2604052"/>
              <a:gd name="connsiteX190" fmla="*/ 5382039 w 5705061"/>
              <a:gd name="connsiteY190" fmla="*/ 104361 h 2604052"/>
              <a:gd name="connsiteX191" fmla="*/ 5466522 w 5705061"/>
              <a:gd name="connsiteY191" fmla="*/ 84483 h 2604052"/>
              <a:gd name="connsiteX192" fmla="*/ 5466522 w 5705061"/>
              <a:gd name="connsiteY192" fmla="*/ 44726 h 2604052"/>
              <a:gd name="connsiteX193" fmla="*/ 5551005 w 5705061"/>
              <a:gd name="connsiteY193" fmla="*/ 54665 h 2604052"/>
              <a:gd name="connsiteX194" fmla="*/ 5560944 w 5705061"/>
              <a:gd name="connsiteY194" fmla="*/ 4970 h 2604052"/>
              <a:gd name="connsiteX195" fmla="*/ 5705061 w 5705061"/>
              <a:gd name="connsiteY195"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4820 w 5705061"/>
              <a:gd name="connsiteY148" fmla="*/ 710648 h 2604052"/>
              <a:gd name="connsiteX149" fmla="*/ 4308613 w 5705061"/>
              <a:gd name="connsiteY149" fmla="*/ 683812 h 2604052"/>
              <a:gd name="connsiteX150" fmla="*/ 4328492 w 5705061"/>
              <a:gd name="connsiteY150" fmla="*/ 670891 h 2604052"/>
              <a:gd name="connsiteX151" fmla="*/ 4358309 w 5705061"/>
              <a:gd name="connsiteY151" fmla="*/ 651013 h 2604052"/>
              <a:gd name="connsiteX152" fmla="*/ 4373218 w 5705061"/>
              <a:gd name="connsiteY152" fmla="*/ 641074 h 2604052"/>
              <a:gd name="connsiteX153" fmla="*/ 4403035 w 5705061"/>
              <a:gd name="connsiteY153" fmla="*/ 621196 h 2604052"/>
              <a:gd name="connsiteX154" fmla="*/ 4432852 w 5705061"/>
              <a:gd name="connsiteY154" fmla="*/ 601317 h 2604052"/>
              <a:gd name="connsiteX155" fmla="*/ 4462670 w 5705061"/>
              <a:gd name="connsiteY155" fmla="*/ 591378 h 2604052"/>
              <a:gd name="connsiteX156" fmla="*/ 4492487 w 5705061"/>
              <a:gd name="connsiteY156" fmla="*/ 571500 h 2604052"/>
              <a:gd name="connsiteX157" fmla="*/ 4522305 w 5705061"/>
              <a:gd name="connsiteY157" fmla="*/ 546652 h 2604052"/>
              <a:gd name="connsiteX158" fmla="*/ 4576970 w 5705061"/>
              <a:gd name="connsiteY158" fmla="*/ 531744 h 2604052"/>
              <a:gd name="connsiteX159" fmla="*/ 4606787 w 5705061"/>
              <a:gd name="connsiteY159" fmla="*/ 521804 h 2604052"/>
              <a:gd name="connsiteX160" fmla="*/ 4621696 w 5705061"/>
              <a:gd name="connsiteY160" fmla="*/ 511865 h 2604052"/>
              <a:gd name="connsiteX161" fmla="*/ 4666422 w 5705061"/>
              <a:gd name="connsiteY161" fmla="*/ 506896 h 2604052"/>
              <a:gd name="connsiteX162" fmla="*/ 4671392 w 5705061"/>
              <a:gd name="connsiteY162" fmla="*/ 491987 h 2604052"/>
              <a:gd name="connsiteX163" fmla="*/ 4701209 w 5705061"/>
              <a:gd name="connsiteY163" fmla="*/ 477078 h 2604052"/>
              <a:gd name="connsiteX164" fmla="*/ 4706179 w 5705061"/>
              <a:gd name="connsiteY164" fmla="*/ 462170 h 2604052"/>
              <a:gd name="connsiteX165" fmla="*/ 4721087 w 5705061"/>
              <a:gd name="connsiteY165" fmla="*/ 447261 h 2604052"/>
              <a:gd name="connsiteX166" fmla="*/ 4775752 w 5705061"/>
              <a:gd name="connsiteY166" fmla="*/ 437322 h 2604052"/>
              <a:gd name="connsiteX167" fmla="*/ 4810539 w 5705061"/>
              <a:gd name="connsiteY167" fmla="*/ 432352 h 2604052"/>
              <a:gd name="connsiteX168" fmla="*/ 4835387 w 5705061"/>
              <a:gd name="connsiteY168" fmla="*/ 407504 h 2604052"/>
              <a:gd name="connsiteX169" fmla="*/ 4850296 w 5705061"/>
              <a:gd name="connsiteY169" fmla="*/ 397565 h 2604052"/>
              <a:gd name="connsiteX170" fmla="*/ 4885084 w 5705061"/>
              <a:gd name="connsiteY170" fmla="*/ 396571 h 2604052"/>
              <a:gd name="connsiteX171" fmla="*/ 4904961 w 5705061"/>
              <a:gd name="connsiteY171" fmla="*/ 397565 h 2604052"/>
              <a:gd name="connsiteX172" fmla="*/ 4931797 w 5705061"/>
              <a:gd name="connsiteY172" fmla="*/ 384644 h 2604052"/>
              <a:gd name="connsiteX173" fmla="*/ 4981493 w 5705061"/>
              <a:gd name="connsiteY173" fmla="*/ 362778 h 2604052"/>
              <a:gd name="connsiteX174" fmla="*/ 5030194 w 5705061"/>
              <a:gd name="connsiteY174" fmla="*/ 349857 h 2604052"/>
              <a:gd name="connsiteX175" fmla="*/ 5073926 w 5705061"/>
              <a:gd name="connsiteY175" fmla="*/ 323022 h 2604052"/>
              <a:gd name="connsiteX176" fmla="*/ 5083866 w 5705061"/>
              <a:gd name="connsiteY176" fmla="*/ 313083 h 2604052"/>
              <a:gd name="connsiteX177" fmla="*/ 5098774 w 5705061"/>
              <a:gd name="connsiteY177" fmla="*/ 308113 h 2604052"/>
              <a:gd name="connsiteX178" fmla="*/ 5128592 w 5705061"/>
              <a:gd name="connsiteY178" fmla="*/ 293204 h 2604052"/>
              <a:gd name="connsiteX179" fmla="*/ 5178287 w 5705061"/>
              <a:gd name="connsiteY179" fmla="*/ 258417 h 2604052"/>
              <a:gd name="connsiteX180" fmla="*/ 5208105 w 5705061"/>
              <a:gd name="connsiteY180" fmla="*/ 223631 h 2604052"/>
              <a:gd name="connsiteX181" fmla="*/ 5223013 w 5705061"/>
              <a:gd name="connsiteY181" fmla="*/ 213691 h 2604052"/>
              <a:gd name="connsiteX182" fmla="*/ 5297557 w 5705061"/>
              <a:gd name="connsiteY182" fmla="*/ 213691 h 2604052"/>
              <a:gd name="connsiteX183" fmla="*/ 5312466 w 5705061"/>
              <a:gd name="connsiteY183" fmla="*/ 173935 h 2604052"/>
              <a:gd name="connsiteX184" fmla="*/ 5327374 w 5705061"/>
              <a:gd name="connsiteY184" fmla="*/ 173935 h 2604052"/>
              <a:gd name="connsiteX185" fmla="*/ 5327374 w 5705061"/>
              <a:gd name="connsiteY185" fmla="*/ 173935 h 2604052"/>
              <a:gd name="connsiteX186" fmla="*/ 5367131 w 5705061"/>
              <a:gd name="connsiteY186" fmla="*/ 114300 h 2604052"/>
              <a:gd name="connsiteX187" fmla="*/ 5367131 w 5705061"/>
              <a:gd name="connsiteY187" fmla="*/ 114300 h 2604052"/>
              <a:gd name="connsiteX188" fmla="*/ 5382039 w 5705061"/>
              <a:gd name="connsiteY188" fmla="*/ 104361 h 2604052"/>
              <a:gd name="connsiteX189" fmla="*/ 5382039 w 5705061"/>
              <a:gd name="connsiteY189" fmla="*/ 104361 h 2604052"/>
              <a:gd name="connsiteX190" fmla="*/ 5466522 w 5705061"/>
              <a:gd name="connsiteY190" fmla="*/ 84483 h 2604052"/>
              <a:gd name="connsiteX191" fmla="*/ 5466522 w 5705061"/>
              <a:gd name="connsiteY191" fmla="*/ 44726 h 2604052"/>
              <a:gd name="connsiteX192" fmla="*/ 5551005 w 5705061"/>
              <a:gd name="connsiteY192" fmla="*/ 54665 h 2604052"/>
              <a:gd name="connsiteX193" fmla="*/ 5560944 w 5705061"/>
              <a:gd name="connsiteY193" fmla="*/ 4970 h 2604052"/>
              <a:gd name="connsiteX194" fmla="*/ 5705061 w 5705061"/>
              <a:gd name="connsiteY194" fmla="*/ 0 h 2604052"/>
              <a:gd name="connsiteX0" fmla="*/ 0 w 5705061"/>
              <a:gd name="connsiteY0" fmla="*/ 2604052 h 2604052"/>
              <a:gd name="connsiteX1" fmla="*/ 0 w 5705061"/>
              <a:gd name="connsiteY1" fmla="*/ 2604052 h 2604052"/>
              <a:gd name="connsiteX2" fmla="*/ 49696 w 5705061"/>
              <a:gd name="connsiteY2" fmla="*/ 2569265 h 2604052"/>
              <a:gd name="connsiteX3" fmla="*/ 129209 w 5705061"/>
              <a:gd name="connsiteY3" fmla="*/ 2554357 h 2604052"/>
              <a:gd name="connsiteX4" fmla="*/ 149087 w 5705061"/>
              <a:gd name="connsiteY4" fmla="*/ 2549387 h 2604052"/>
              <a:gd name="connsiteX5" fmla="*/ 208722 w 5705061"/>
              <a:gd name="connsiteY5" fmla="*/ 2544417 h 2604052"/>
              <a:gd name="connsiteX6" fmla="*/ 223631 w 5705061"/>
              <a:gd name="connsiteY6" fmla="*/ 2529509 h 2604052"/>
              <a:gd name="connsiteX7" fmla="*/ 238539 w 5705061"/>
              <a:gd name="connsiteY7" fmla="*/ 2519570 h 2604052"/>
              <a:gd name="connsiteX8" fmla="*/ 273326 w 5705061"/>
              <a:gd name="connsiteY8" fmla="*/ 2514600 h 2604052"/>
              <a:gd name="connsiteX9" fmla="*/ 303144 w 5705061"/>
              <a:gd name="connsiteY9" fmla="*/ 2494722 h 2604052"/>
              <a:gd name="connsiteX10" fmla="*/ 318052 w 5705061"/>
              <a:gd name="connsiteY10" fmla="*/ 2489752 h 2604052"/>
              <a:gd name="connsiteX11" fmla="*/ 392596 w 5705061"/>
              <a:gd name="connsiteY11" fmla="*/ 2474844 h 2604052"/>
              <a:gd name="connsiteX12" fmla="*/ 402535 w 5705061"/>
              <a:gd name="connsiteY12" fmla="*/ 2464904 h 2604052"/>
              <a:gd name="connsiteX13" fmla="*/ 472109 w 5705061"/>
              <a:gd name="connsiteY13" fmla="*/ 2454965 h 2604052"/>
              <a:gd name="connsiteX14" fmla="*/ 487018 w 5705061"/>
              <a:gd name="connsiteY14" fmla="*/ 2445026 h 2604052"/>
              <a:gd name="connsiteX15" fmla="*/ 506896 w 5705061"/>
              <a:gd name="connsiteY15" fmla="*/ 2440057 h 2604052"/>
              <a:gd name="connsiteX16" fmla="*/ 516835 w 5705061"/>
              <a:gd name="connsiteY16" fmla="*/ 2430117 h 2604052"/>
              <a:gd name="connsiteX17" fmla="*/ 546652 w 5705061"/>
              <a:gd name="connsiteY17" fmla="*/ 2420178 h 2604052"/>
              <a:gd name="connsiteX18" fmla="*/ 571500 w 5705061"/>
              <a:gd name="connsiteY18" fmla="*/ 2395331 h 2604052"/>
              <a:gd name="connsiteX19" fmla="*/ 601318 w 5705061"/>
              <a:gd name="connsiteY19" fmla="*/ 2385391 h 2604052"/>
              <a:gd name="connsiteX20" fmla="*/ 616226 w 5705061"/>
              <a:gd name="connsiteY20" fmla="*/ 2370483 h 2604052"/>
              <a:gd name="connsiteX21" fmla="*/ 636105 w 5705061"/>
              <a:gd name="connsiteY21" fmla="*/ 2345635 h 2604052"/>
              <a:gd name="connsiteX22" fmla="*/ 665922 w 5705061"/>
              <a:gd name="connsiteY22" fmla="*/ 2335696 h 2604052"/>
              <a:gd name="connsiteX23" fmla="*/ 680831 w 5705061"/>
              <a:gd name="connsiteY23" fmla="*/ 2330726 h 2604052"/>
              <a:gd name="connsiteX24" fmla="*/ 695739 w 5705061"/>
              <a:gd name="connsiteY24" fmla="*/ 2325757 h 2604052"/>
              <a:gd name="connsiteX25" fmla="*/ 720587 w 5705061"/>
              <a:gd name="connsiteY25" fmla="*/ 2310848 h 2604052"/>
              <a:gd name="connsiteX26" fmla="*/ 735496 w 5705061"/>
              <a:gd name="connsiteY26" fmla="*/ 2300909 h 2604052"/>
              <a:gd name="connsiteX27" fmla="*/ 844826 w 5705061"/>
              <a:gd name="connsiteY27" fmla="*/ 2286000 h 2604052"/>
              <a:gd name="connsiteX28" fmla="*/ 874644 w 5705061"/>
              <a:gd name="connsiteY28" fmla="*/ 2276061 h 2604052"/>
              <a:gd name="connsiteX29" fmla="*/ 889552 w 5705061"/>
              <a:gd name="connsiteY29" fmla="*/ 2271091 h 2604052"/>
              <a:gd name="connsiteX30" fmla="*/ 934279 w 5705061"/>
              <a:gd name="connsiteY30" fmla="*/ 2266122 h 2604052"/>
              <a:gd name="connsiteX31" fmla="*/ 964096 w 5705061"/>
              <a:gd name="connsiteY31" fmla="*/ 2251213 h 2604052"/>
              <a:gd name="connsiteX32" fmla="*/ 1028700 w 5705061"/>
              <a:gd name="connsiteY32" fmla="*/ 2236304 h 2604052"/>
              <a:gd name="connsiteX33" fmla="*/ 1048579 w 5705061"/>
              <a:gd name="connsiteY33" fmla="*/ 2211457 h 2604052"/>
              <a:gd name="connsiteX34" fmla="*/ 1078396 w 5705061"/>
              <a:gd name="connsiteY34" fmla="*/ 2201517 h 2604052"/>
              <a:gd name="connsiteX35" fmla="*/ 1093305 w 5705061"/>
              <a:gd name="connsiteY35" fmla="*/ 2196548 h 2604052"/>
              <a:gd name="connsiteX36" fmla="*/ 1128092 w 5705061"/>
              <a:gd name="connsiteY36" fmla="*/ 2176670 h 2604052"/>
              <a:gd name="connsiteX37" fmla="*/ 1157909 w 5705061"/>
              <a:gd name="connsiteY37" fmla="*/ 2166731 h 2604052"/>
              <a:gd name="connsiteX38" fmla="*/ 1187726 w 5705061"/>
              <a:gd name="connsiteY38" fmla="*/ 2156791 h 2604052"/>
              <a:gd name="connsiteX39" fmla="*/ 1202635 w 5705061"/>
              <a:gd name="connsiteY39" fmla="*/ 2146852 h 2604052"/>
              <a:gd name="connsiteX40" fmla="*/ 1212574 w 5705061"/>
              <a:gd name="connsiteY40" fmla="*/ 2131944 h 2604052"/>
              <a:gd name="connsiteX41" fmla="*/ 1321905 w 5705061"/>
              <a:gd name="connsiteY41" fmla="*/ 2117035 h 2604052"/>
              <a:gd name="connsiteX42" fmla="*/ 1346752 w 5705061"/>
              <a:gd name="connsiteY42" fmla="*/ 2097157 h 2604052"/>
              <a:gd name="connsiteX43" fmla="*/ 1356692 w 5705061"/>
              <a:gd name="connsiteY43" fmla="*/ 2087217 h 2604052"/>
              <a:gd name="connsiteX44" fmla="*/ 1366631 w 5705061"/>
              <a:gd name="connsiteY44" fmla="*/ 2072309 h 2604052"/>
              <a:gd name="connsiteX45" fmla="*/ 1441174 w 5705061"/>
              <a:gd name="connsiteY45" fmla="*/ 2057400 h 2604052"/>
              <a:gd name="connsiteX46" fmla="*/ 1446144 w 5705061"/>
              <a:gd name="connsiteY46" fmla="*/ 2042491 h 2604052"/>
              <a:gd name="connsiteX47" fmla="*/ 1470992 w 5705061"/>
              <a:gd name="connsiteY47" fmla="*/ 2037522 h 2604052"/>
              <a:gd name="connsiteX48" fmla="*/ 1555474 w 5705061"/>
              <a:gd name="connsiteY48" fmla="*/ 2032552 h 2604052"/>
              <a:gd name="connsiteX49" fmla="*/ 1585292 w 5705061"/>
              <a:gd name="connsiteY49" fmla="*/ 2002735 h 2604052"/>
              <a:gd name="connsiteX50" fmla="*/ 1644926 w 5705061"/>
              <a:gd name="connsiteY50" fmla="*/ 1987826 h 2604052"/>
              <a:gd name="connsiteX51" fmla="*/ 1674744 w 5705061"/>
              <a:gd name="connsiteY51" fmla="*/ 1977887 h 2604052"/>
              <a:gd name="connsiteX52" fmla="*/ 1704561 w 5705061"/>
              <a:gd name="connsiteY52" fmla="*/ 1967948 h 2604052"/>
              <a:gd name="connsiteX53" fmla="*/ 1719470 w 5705061"/>
              <a:gd name="connsiteY53" fmla="*/ 1962978 h 2604052"/>
              <a:gd name="connsiteX54" fmla="*/ 1749287 w 5705061"/>
              <a:gd name="connsiteY54" fmla="*/ 1943100 h 2604052"/>
              <a:gd name="connsiteX55" fmla="*/ 1823831 w 5705061"/>
              <a:gd name="connsiteY55" fmla="*/ 1938131 h 2604052"/>
              <a:gd name="connsiteX56" fmla="*/ 1863587 w 5705061"/>
              <a:gd name="connsiteY56" fmla="*/ 1918252 h 2604052"/>
              <a:gd name="connsiteX57" fmla="*/ 1863587 w 5705061"/>
              <a:gd name="connsiteY57" fmla="*/ 1918252 h 2604052"/>
              <a:gd name="connsiteX58" fmla="*/ 1878496 w 5705061"/>
              <a:gd name="connsiteY58" fmla="*/ 1908313 h 2604052"/>
              <a:gd name="connsiteX59" fmla="*/ 1913283 w 5705061"/>
              <a:gd name="connsiteY59" fmla="*/ 1898374 h 2604052"/>
              <a:gd name="connsiteX60" fmla="*/ 1982857 w 5705061"/>
              <a:gd name="connsiteY60" fmla="*/ 1873526 h 2604052"/>
              <a:gd name="connsiteX61" fmla="*/ 2012674 w 5705061"/>
              <a:gd name="connsiteY61" fmla="*/ 1868557 h 2604052"/>
              <a:gd name="connsiteX62" fmla="*/ 2042492 w 5705061"/>
              <a:gd name="connsiteY62" fmla="*/ 1858617 h 2604052"/>
              <a:gd name="connsiteX63" fmla="*/ 2057400 w 5705061"/>
              <a:gd name="connsiteY63" fmla="*/ 1853648 h 2604052"/>
              <a:gd name="connsiteX64" fmla="*/ 2017644 w 5705061"/>
              <a:gd name="connsiteY64" fmla="*/ 1878496 h 2604052"/>
              <a:gd name="connsiteX65" fmla="*/ 2072309 w 5705061"/>
              <a:gd name="connsiteY65" fmla="*/ 1843709 h 2604052"/>
              <a:gd name="connsiteX66" fmla="*/ 2117035 w 5705061"/>
              <a:gd name="connsiteY66" fmla="*/ 1838739 h 2604052"/>
              <a:gd name="connsiteX67" fmla="*/ 2126974 w 5705061"/>
              <a:gd name="connsiteY67" fmla="*/ 1823831 h 2604052"/>
              <a:gd name="connsiteX68" fmla="*/ 2136913 w 5705061"/>
              <a:gd name="connsiteY68" fmla="*/ 1813891 h 2604052"/>
              <a:gd name="connsiteX69" fmla="*/ 2146852 w 5705061"/>
              <a:gd name="connsiteY69" fmla="*/ 1798983 h 2604052"/>
              <a:gd name="connsiteX70" fmla="*/ 2161761 w 5705061"/>
              <a:gd name="connsiteY70" fmla="*/ 1794013 h 2604052"/>
              <a:gd name="connsiteX71" fmla="*/ 2176670 w 5705061"/>
              <a:gd name="connsiteY71" fmla="*/ 1784074 h 2604052"/>
              <a:gd name="connsiteX72" fmla="*/ 2191579 w 5705061"/>
              <a:gd name="connsiteY72" fmla="*/ 1779104 h 2604052"/>
              <a:gd name="connsiteX73" fmla="*/ 2236305 w 5705061"/>
              <a:gd name="connsiteY73" fmla="*/ 1759226 h 2604052"/>
              <a:gd name="connsiteX74" fmla="*/ 2251213 w 5705061"/>
              <a:gd name="connsiteY74" fmla="*/ 1754257 h 2604052"/>
              <a:gd name="connsiteX75" fmla="*/ 2271092 w 5705061"/>
              <a:gd name="connsiteY75" fmla="*/ 1734378 h 2604052"/>
              <a:gd name="connsiteX76" fmla="*/ 2300909 w 5705061"/>
              <a:gd name="connsiteY76" fmla="*/ 1714500 h 2604052"/>
              <a:gd name="connsiteX77" fmla="*/ 2315818 w 5705061"/>
              <a:gd name="connsiteY77" fmla="*/ 1699591 h 2604052"/>
              <a:gd name="connsiteX78" fmla="*/ 2350605 w 5705061"/>
              <a:gd name="connsiteY78" fmla="*/ 1689652 h 2604052"/>
              <a:gd name="connsiteX79" fmla="*/ 2380422 w 5705061"/>
              <a:gd name="connsiteY79" fmla="*/ 1679713 h 2604052"/>
              <a:gd name="connsiteX80" fmla="*/ 2400300 w 5705061"/>
              <a:gd name="connsiteY80" fmla="*/ 1669774 h 2604052"/>
              <a:gd name="connsiteX81" fmla="*/ 2420179 w 5705061"/>
              <a:gd name="connsiteY81" fmla="*/ 1664804 h 2604052"/>
              <a:gd name="connsiteX82" fmla="*/ 2454966 w 5705061"/>
              <a:gd name="connsiteY82" fmla="*/ 1639957 h 2604052"/>
              <a:gd name="connsiteX83" fmla="*/ 2489752 w 5705061"/>
              <a:gd name="connsiteY83" fmla="*/ 1630017 h 2604052"/>
              <a:gd name="connsiteX84" fmla="*/ 2494722 w 5705061"/>
              <a:gd name="connsiteY84" fmla="*/ 1615109 h 2604052"/>
              <a:gd name="connsiteX85" fmla="*/ 2524539 w 5705061"/>
              <a:gd name="connsiteY85" fmla="*/ 1590261 h 2604052"/>
              <a:gd name="connsiteX86" fmla="*/ 2574235 w 5705061"/>
              <a:gd name="connsiteY86" fmla="*/ 1575352 h 2604052"/>
              <a:gd name="connsiteX87" fmla="*/ 2604052 w 5705061"/>
              <a:gd name="connsiteY87" fmla="*/ 1560444 h 2604052"/>
              <a:gd name="connsiteX88" fmla="*/ 2613992 w 5705061"/>
              <a:gd name="connsiteY88" fmla="*/ 1550504 h 2604052"/>
              <a:gd name="connsiteX89" fmla="*/ 2648779 w 5705061"/>
              <a:gd name="connsiteY89" fmla="*/ 1540565 h 2604052"/>
              <a:gd name="connsiteX90" fmla="*/ 2678596 w 5705061"/>
              <a:gd name="connsiteY90" fmla="*/ 1520687 h 2604052"/>
              <a:gd name="connsiteX91" fmla="*/ 2708413 w 5705061"/>
              <a:gd name="connsiteY91" fmla="*/ 1510748 h 2604052"/>
              <a:gd name="connsiteX92" fmla="*/ 2743200 w 5705061"/>
              <a:gd name="connsiteY92" fmla="*/ 1495839 h 2604052"/>
              <a:gd name="connsiteX93" fmla="*/ 2758109 w 5705061"/>
              <a:gd name="connsiteY93" fmla="*/ 1485900 h 2604052"/>
              <a:gd name="connsiteX94" fmla="*/ 2802835 w 5705061"/>
              <a:gd name="connsiteY94" fmla="*/ 1475961 h 2604052"/>
              <a:gd name="connsiteX95" fmla="*/ 2857500 w 5705061"/>
              <a:gd name="connsiteY95" fmla="*/ 1470991 h 2604052"/>
              <a:gd name="connsiteX96" fmla="*/ 2907196 w 5705061"/>
              <a:gd name="connsiteY96" fmla="*/ 1456083 h 2604052"/>
              <a:gd name="connsiteX97" fmla="*/ 2961861 w 5705061"/>
              <a:gd name="connsiteY97" fmla="*/ 1441174 h 2604052"/>
              <a:gd name="connsiteX98" fmla="*/ 2976770 w 5705061"/>
              <a:gd name="connsiteY98" fmla="*/ 1436204 h 2604052"/>
              <a:gd name="connsiteX99" fmla="*/ 2991679 w 5705061"/>
              <a:gd name="connsiteY99" fmla="*/ 1426265 h 2604052"/>
              <a:gd name="connsiteX100" fmla="*/ 3031435 w 5705061"/>
              <a:gd name="connsiteY100" fmla="*/ 1416326 h 2604052"/>
              <a:gd name="connsiteX101" fmla="*/ 3046344 w 5705061"/>
              <a:gd name="connsiteY101" fmla="*/ 1406387 h 2604052"/>
              <a:gd name="connsiteX102" fmla="*/ 3071192 w 5705061"/>
              <a:gd name="connsiteY102" fmla="*/ 1381539 h 2604052"/>
              <a:gd name="connsiteX103" fmla="*/ 3086100 w 5705061"/>
              <a:gd name="connsiteY103" fmla="*/ 1376570 h 2604052"/>
              <a:gd name="connsiteX104" fmla="*/ 3096039 w 5705061"/>
              <a:gd name="connsiteY104" fmla="*/ 1361661 h 2604052"/>
              <a:gd name="connsiteX105" fmla="*/ 3110948 w 5705061"/>
              <a:gd name="connsiteY105" fmla="*/ 1356691 h 2604052"/>
              <a:gd name="connsiteX106" fmla="*/ 3130826 w 5705061"/>
              <a:gd name="connsiteY106" fmla="*/ 1326874 h 2604052"/>
              <a:gd name="connsiteX107" fmla="*/ 3155674 w 5705061"/>
              <a:gd name="connsiteY107" fmla="*/ 1306996 h 2604052"/>
              <a:gd name="connsiteX108" fmla="*/ 3170583 w 5705061"/>
              <a:gd name="connsiteY108" fmla="*/ 1292087 h 2604052"/>
              <a:gd name="connsiteX109" fmla="*/ 3185492 w 5705061"/>
              <a:gd name="connsiteY109" fmla="*/ 1287117 h 2604052"/>
              <a:gd name="connsiteX110" fmla="*/ 3235187 w 5705061"/>
              <a:gd name="connsiteY110" fmla="*/ 1277178 h 2604052"/>
              <a:gd name="connsiteX111" fmla="*/ 3265005 w 5705061"/>
              <a:gd name="connsiteY111" fmla="*/ 1257300 h 2604052"/>
              <a:gd name="connsiteX112" fmla="*/ 3319670 w 5705061"/>
              <a:gd name="connsiteY112" fmla="*/ 1242391 h 2604052"/>
              <a:gd name="connsiteX113" fmla="*/ 3354457 w 5705061"/>
              <a:gd name="connsiteY113" fmla="*/ 1227483 h 2604052"/>
              <a:gd name="connsiteX114" fmla="*/ 3369366 w 5705061"/>
              <a:gd name="connsiteY114" fmla="*/ 1217544 h 2604052"/>
              <a:gd name="connsiteX115" fmla="*/ 3384274 w 5705061"/>
              <a:gd name="connsiteY115" fmla="*/ 1212574 h 2604052"/>
              <a:gd name="connsiteX116" fmla="*/ 3389244 w 5705061"/>
              <a:gd name="connsiteY116" fmla="*/ 1197665 h 2604052"/>
              <a:gd name="connsiteX117" fmla="*/ 3404152 w 5705061"/>
              <a:gd name="connsiteY117" fmla="*/ 1187726 h 2604052"/>
              <a:gd name="connsiteX118" fmla="*/ 3443909 w 5705061"/>
              <a:gd name="connsiteY118" fmla="*/ 1177787 h 2604052"/>
              <a:gd name="connsiteX119" fmla="*/ 3470746 w 5705061"/>
              <a:gd name="connsiteY119" fmla="*/ 1137036 h 2604052"/>
              <a:gd name="connsiteX120" fmla="*/ 3513483 w 5705061"/>
              <a:gd name="connsiteY120" fmla="*/ 1098274 h 2604052"/>
              <a:gd name="connsiteX121" fmla="*/ 3548270 w 5705061"/>
              <a:gd name="connsiteY121" fmla="*/ 1073426 h 2604052"/>
              <a:gd name="connsiteX122" fmla="*/ 3597966 w 5705061"/>
              <a:gd name="connsiteY122" fmla="*/ 1063487 h 2604052"/>
              <a:gd name="connsiteX123" fmla="*/ 3627783 w 5705061"/>
              <a:gd name="connsiteY123" fmla="*/ 1053548 h 2604052"/>
              <a:gd name="connsiteX124" fmla="*/ 3677479 w 5705061"/>
              <a:gd name="connsiteY124" fmla="*/ 1038639 h 2604052"/>
              <a:gd name="connsiteX125" fmla="*/ 3692387 w 5705061"/>
              <a:gd name="connsiteY125" fmla="*/ 1033670 h 2604052"/>
              <a:gd name="connsiteX126" fmla="*/ 3707296 w 5705061"/>
              <a:gd name="connsiteY126" fmla="*/ 1028700 h 2604052"/>
              <a:gd name="connsiteX127" fmla="*/ 3747052 w 5705061"/>
              <a:gd name="connsiteY127" fmla="*/ 1023731 h 2604052"/>
              <a:gd name="connsiteX128" fmla="*/ 3771900 w 5705061"/>
              <a:gd name="connsiteY128" fmla="*/ 1003852 h 2604052"/>
              <a:gd name="connsiteX129" fmla="*/ 3801718 w 5705061"/>
              <a:gd name="connsiteY129" fmla="*/ 993913 h 2604052"/>
              <a:gd name="connsiteX130" fmla="*/ 3836505 w 5705061"/>
              <a:gd name="connsiteY130" fmla="*/ 996895 h 2604052"/>
              <a:gd name="connsiteX131" fmla="*/ 3894152 w 5705061"/>
              <a:gd name="connsiteY131" fmla="*/ 988943 h 2604052"/>
              <a:gd name="connsiteX132" fmla="*/ 3925957 w 5705061"/>
              <a:gd name="connsiteY132" fmla="*/ 954157 h 2604052"/>
              <a:gd name="connsiteX133" fmla="*/ 3945835 w 5705061"/>
              <a:gd name="connsiteY133" fmla="*/ 944217 h 2604052"/>
              <a:gd name="connsiteX134" fmla="*/ 3960744 w 5705061"/>
              <a:gd name="connsiteY134" fmla="*/ 934278 h 2604052"/>
              <a:gd name="connsiteX135" fmla="*/ 3965713 w 5705061"/>
              <a:gd name="connsiteY135" fmla="*/ 919370 h 2604052"/>
              <a:gd name="connsiteX136" fmla="*/ 3990561 w 5705061"/>
              <a:gd name="connsiteY136" fmla="*/ 894522 h 2604052"/>
              <a:gd name="connsiteX137" fmla="*/ 4020379 w 5705061"/>
              <a:gd name="connsiteY137" fmla="*/ 884583 h 2604052"/>
              <a:gd name="connsiteX138" fmla="*/ 4050196 w 5705061"/>
              <a:gd name="connsiteY138" fmla="*/ 864704 h 2604052"/>
              <a:gd name="connsiteX139" fmla="*/ 4070074 w 5705061"/>
              <a:gd name="connsiteY139" fmla="*/ 849796 h 2604052"/>
              <a:gd name="connsiteX140" fmla="*/ 4084983 w 5705061"/>
              <a:gd name="connsiteY140" fmla="*/ 844826 h 2604052"/>
              <a:gd name="connsiteX141" fmla="*/ 4114800 w 5705061"/>
              <a:gd name="connsiteY141" fmla="*/ 829917 h 2604052"/>
              <a:gd name="connsiteX142" fmla="*/ 4134679 w 5705061"/>
              <a:gd name="connsiteY142" fmla="*/ 810039 h 2604052"/>
              <a:gd name="connsiteX143" fmla="*/ 4144618 w 5705061"/>
              <a:gd name="connsiteY143" fmla="*/ 795131 h 2604052"/>
              <a:gd name="connsiteX144" fmla="*/ 4189344 w 5705061"/>
              <a:gd name="connsiteY144" fmla="*/ 780222 h 2604052"/>
              <a:gd name="connsiteX145" fmla="*/ 4204252 w 5705061"/>
              <a:gd name="connsiteY145" fmla="*/ 775252 h 2604052"/>
              <a:gd name="connsiteX146" fmla="*/ 4234070 w 5705061"/>
              <a:gd name="connsiteY146" fmla="*/ 755374 h 2604052"/>
              <a:gd name="connsiteX147" fmla="*/ 4248979 w 5705061"/>
              <a:gd name="connsiteY147" fmla="*/ 740465 h 2604052"/>
              <a:gd name="connsiteX148" fmla="*/ 4274820 w 5705061"/>
              <a:gd name="connsiteY148" fmla="*/ 710648 h 2604052"/>
              <a:gd name="connsiteX149" fmla="*/ 4308613 w 5705061"/>
              <a:gd name="connsiteY149" fmla="*/ 683812 h 2604052"/>
              <a:gd name="connsiteX150" fmla="*/ 4328492 w 5705061"/>
              <a:gd name="connsiteY150" fmla="*/ 670891 h 2604052"/>
              <a:gd name="connsiteX151" fmla="*/ 4358309 w 5705061"/>
              <a:gd name="connsiteY151" fmla="*/ 651013 h 2604052"/>
              <a:gd name="connsiteX152" fmla="*/ 4373218 w 5705061"/>
              <a:gd name="connsiteY152" fmla="*/ 641074 h 2604052"/>
              <a:gd name="connsiteX153" fmla="*/ 4403035 w 5705061"/>
              <a:gd name="connsiteY153" fmla="*/ 621196 h 2604052"/>
              <a:gd name="connsiteX154" fmla="*/ 4432852 w 5705061"/>
              <a:gd name="connsiteY154" fmla="*/ 601317 h 2604052"/>
              <a:gd name="connsiteX155" fmla="*/ 4462670 w 5705061"/>
              <a:gd name="connsiteY155" fmla="*/ 591378 h 2604052"/>
              <a:gd name="connsiteX156" fmla="*/ 4492487 w 5705061"/>
              <a:gd name="connsiteY156" fmla="*/ 571500 h 2604052"/>
              <a:gd name="connsiteX157" fmla="*/ 4522305 w 5705061"/>
              <a:gd name="connsiteY157" fmla="*/ 546652 h 2604052"/>
              <a:gd name="connsiteX158" fmla="*/ 4576970 w 5705061"/>
              <a:gd name="connsiteY158" fmla="*/ 531744 h 2604052"/>
              <a:gd name="connsiteX159" fmla="*/ 4606787 w 5705061"/>
              <a:gd name="connsiteY159" fmla="*/ 521804 h 2604052"/>
              <a:gd name="connsiteX160" fmla="*/ 4621696 w 5705061"/>
              <a:gd name="connsiteY160" fmla="*/ 511865 h 2604052"/>
              <a:gd name="connsiteX161" fmla="*/ 4666422 w 5705061"/>
              <a:gd name="connsiteY161" fmla="*/ 506896 h 2604052"/>
              <a:gd name="connsiteX162" fmla="*/ 4671392 w 5705061"/>
              <a:gd name="connsiteY162" fmla="*/ 491987 h 2604052"/>
              <a:gd name="connsiteX163" fmla="*/ 4701209 w 5705061"/>
              <a:gd name="connsiteY163" fmla="*/ 477078 h 2604052"/>
              <a:gd name="connsiteX164" fmla="*/ 4706179 w 5705061"/>
              <a:gd name="connsiteY164" fmla="*/ 462170 h 2604052"/>
              <a:gd name="connsiteX165" fmla="*/ 4721087 w 5705061"/>
              <a:gd name="connsiteY165" fmla="*/ 447261 h 2604052"/>
              <a:gd name="connsiteX166" fmla="*/ 4775752 w 5705061"/>
              <a:gd name="connsiteY166" fmla="*/ 437322 h 2604052"/>
              <a:gd name="connsiteX167" fmla="*/ 4810539 w 5705061"/>
              <a:gd name="connsiteY167" fmla="*/ 432352 h 2604052"/>
              <a:gd name="connsiteX168" fmla="*/ 4835387 w 5705061"/>
              <a:gd name="connsiteY168" fmla="*/ 407504 h 2604052"/>
              <a:gd name="connsiteX169" fmla="*/ 4850296 w 5705061"/>
              <a:gd name="connsiteY169" fmla="*/ 397565 h 2604052"/>
              <a:gd name="connsiteX170" fmla="*/ 4885084 w 5705061"/>
              <a:gd name="connsiteY170" fmla="*/ 396571 h 2604052"/>
              <a:gd name="connsiteX171" fmla="*/ 4904961 w 5705061"/>
              <a:gd name="connsiteY171" fmla="*/ 397565 h 2604052"/>
              <a:gd name="connsiteX172" fmla="*/ 4931797 w 5705061"/>
              <a:gd name="connsiteY172" fmla="*/ 384644 h 2604052"/>
              <a:gd name="connsiteX173" fmla="*/ 4981493 w 5705061"/>
              <a:gd name="connsiteY173" fmla="*/ 362778 h 2604052"/>
              <a:gd name="connsiteX174" fmla="*/ 5030194 w 5705061"/>
              <a:gd name="connsiteY174" fmla="*/ 349857 h 2604052"/>
              <a:gd name="connsiteX175" fmla="*/ 5073926 w 5705061"/>
              <a:gd name="connsiteY175" fmla="*/ 323022 h 2604052"/>
              <a:gd name="connsiteX176" fmla="*/ 5083866 w 5705061"/>
              <a:gd name="connsiteY176" fmla="*/ 313083 h 2604052"/>
              <a:gd name="connsiteX177" fmla="*/ 5098774 w 5705061"/>
              <a:gd name="connsiteY177" fmla="*/ 308113 h 2604052"/>
              <a:gd name="connsiteX178" fmla="*/ 5128592 w 5705061"/>
              <a:gd name="connsiteY178" fmla="*/ 293204 h 2604052"/>
              <a:gd name="connsiteX179" fmla="*/ 5178287 w 5705061"/>
              <a:gd name="connsiteY179" fmla="*/ 258417 h 2604052"/>
              <a:gd name="connsiteX180" fmla="*/ 5208105 w 5705061"/>
              <a:gd name="connsiteY180" fmla="*/ 223631 h 2604052"/>
              <a:gd name="connsiteX181" fmla="*/ 5223013 w 5705061"/>
              <a:gd name="connsiteY181" fmla="*/ 213691 h 2604052"/>
              <a:gd name="connsiteX182" fmla="*/ 5297557 w 5705061"/>
              <a:gd name="connsiteY182" fmla="*/ 213691 h 2604052"/>
              <a:gd name="connsiteX183" fmla="*/ 5312466 w 5705061"/>
              <a:gd name="connsiteY183" fmla="*/ 173935 h 2604052"/>
              <a:gd name="connsiteX184" fmla="*/ 5327374 w 5705061"/>
              <a:gd name="connsiteY184" fmla="*/ 173935 h 2604052"/>
              <a:gd name="connsiteX185" fmla="*/ 5327374 w 5705061"/>
              <a:gd name="connsiteY185" fmla="*/ 173935 h 2604052"/>
              <a:gd name="connsiteX186" fmla="*/ 5367131 w 5705061"/>
              <a:gd name="connsiteY186" fmla="*/ 114300 h 2604052"/>
              <a:gd name="connsiteX187" fmla="*/ 5367131 w 5705061"/>
              <a:gd name="connsiteY187" fmla="*/ 114300 h 2604052"/>
              <a:gd name="connsiteX188" fmla="*/ 5382039 w 5705061"/>
              <a:gd name="connsiteY188" fmla="*/ 104361 h 2604052"/>
              <a:gd name="connsiteX189" fmla="*/ 5382039 w 5705061"/>
              <a:gd name="connsiteY189" fmla="*/ 104361 h 2604052"/>
              <a:gd name="connsiteX190" fmla="*/ 5466522 w 5705061"/>
              <a:gd name="connsiteY190" fmla="*/ 84483 h 2604052"/>
              <a:gd name="connsiteX191" fmla="*/ 5466522 w 5705061"/>
              <a:gd name="connsiteY191" fmla="*/ 56653 h 2604052"/>
              <a:gd name="connsiteX192" fmla="*/ 5551005 w 5705061"/>
              <a:gd name="connsiteY192" fmla="*/ 54665 h 2604052"/>
              <a:gd name="connsiteX193" fmla="*/ 5560944 w 5705061"/>
              <a:gd name="connsiteY193" fmla="*/ 4970 h 2604052"/>
              <a:gd name="connsiteX194" fmla="*/ 5705061 w 5705061"/>
              <a:gd name="connsiteY194" fmla="*/ 0 h 260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5705061" h="2604052">
                <a:moveTo>
                  <a:pt x="0" y="2604052"/>
                </a:moveTo>
                <a:lnTo>
                  <a:pt x="0" y="2604052"/>
                </a:lnTo>
                <a:cubicBezTo>
                  <a:pt x="16565" y="2592456"/>
                  <a:pt x="30513" y="2575659"/>
                  <a:pt x="49696" y="2569265"/>
                </a:cubicBezTo>
                <a:cubicBezTo>
                  <a:pt x="95307" y="2554061"/>
                  <a:pt x="69088" y="2560368"/>
                  <a:pt x="129209" y="2554357"/>
                </a:cubicBezTo>
                <a:cubicBezTo>
                  <a:pt x="135835" y="2552700"/>
                  <a:pt x="142310" y="2550234"/>
                  <a:pt x="149087" y="2549387"/>
                </a:cubicBezTo>
                <a:cubicBezTo>
                  <a:pt x="168880" y="2546913"/>
                  <a:pt x="189448" y="2549557"/>
                  <a:pt x="208722" y="2544417"/>
                </a:cubicBezTo>
                <a:cubicBezTo>
                  <a:pt x="215513" y="2542606"/>
                  <a:pt x="218232" y="2534008"/>
                  <a:pt x="223631" y="2529509"/>
                </a:cubicBezTo>
                <a:cubicBezTo>
                  <a:pt x="228219" y="2525686"/>
                  <a:pt x="232818" y="2521286"/>
                  <a:pt x="238539" y="2519570"/>
                </a:cubicBezTo>
                <a:cubicBezTo>
                  <a:pt x="249758" y="2516204"/>
                  <a:pt x="261730" y="2516257"/>
                  <a:pt x="273326" y="2514600"/>
                </a:cubicBezTo>
                <a:cubicBezTo>
                  <a:pt x="283265" y="2507974"/>
                  <a:pt x="291812" y="2498500"/>
                  <a:pt x="303144" y="2494722"/>
                </a:cubicBezTo>
                <a:cubicBezTo>
                  <a:pt x="308113" y="2493065"/>
                  <a:pt x="312916" y="2490779"/>
                  <a:pt x="318052" y="2489752"/>
                </a:cubicBezTo>
                <a:cubicBezTo>
                  <a:pt x="399065" y="2473549"/>
                  <a:pt x="354355" y="2487589"/>
                  <a:pt x="392596" y="2474844"/>
                </a:cubicBezTo>
                <a:cubicBezTo>
                  <a:pt x="395909" y="2471531"/>
                  <a:pt x="398517" y="2467315"/>
                  <a:pt x="402535" y="2464904"/>
                </a:cubicBezTo>
                <a:cubicBezTo>
                  <a:pt x="417897" y="2455687"/>
                  <a:pt x="471274" y="2455041"/>
                  <a:pt x="472109" y="2454965"/>
                </a:cubicBezTo>
                <a:cubicBezTo>
                  <a:pt x="477079" y="2451652"/>
                  <a:pt x="481528" y="2447379"/>
                  <a:pt x="487018" y="2445026"/>
                </a:cubicBezTo>
                <a:cubicBezTo>
                  <a:pt x="493296" y="2442336"/>
                  <a:pt x="500787" y="2443111"/>
                  <a:pt x="506896" y="2440057"/>
                </a:cubicBezTo>
                <a:cubicBezTo>
                  <a:pt x="511087" y="2437962"/>
                  <a:pt x="512644" y="2432213"/>
                  <a:pt x="516835" y="2430117"/>
                </a:cubicBezTo>
                <a:cubicBezTo>
                  <a:pt x="526205" y="2425432"/>
                  <a:pt x="546652" y="2420178"/>
                  <a:pt x="546652" y="2420178"/>
                </a:cubicBezTo>
                <a:cubicBezTo>
                  <a:pt x="554935" y="2411896"/>
                  <a:pt x="560388" y="2399035"/>
                  <a:pt x="571500" y="2395331"/>
                </a:cubicBezTo>
                <a:lnTo>
                  <a:pt x="601318" y="2385391"/>
                </a:lnTo>
                <a:cubicBezTo>
                  <a:pt x="606287" y="2380422"/>
                  <a:pt x="612328" y="2376330"/>
                  <a:pt x="616226" y="2370483"/>
                </a:cubicBezTo>
                <a:cubicBezTo>
                  <a:pt x="629273" y="2350913"/>
                  <a:pt x="609782" y="2357334"/>
                  <a:pt x="636105" y="2345635"/>
                </a:cubicBezTo>
                <a:cubicBezTo>
                  <a:pt x="645679" y="2341380"/>
                  <a:pt x="655983" y="2339009"/>
                  <a:pt x="665922" y="2335696"/>
                </a:cubicBezTo>
                <a:lnTo>
                  <a:pt x="680831" y="2330726"/>
                </a:lnTo>
                <a:lnTo>
                  <a:pt x="695739" y="2325757"/>
                </a:lnTo>
                <a:cubicBezTo>
                  <a:pt x="715154" y="2306342"/>
                  <a:pt x="694783" y="2323750"/>
                  <a:pt x="720587" y="2310848"/>
                </a:cubicBezTo>
                <a:cubicBezTo>
                  <a:pt x="725929" y="2308177"/>
                  <a:pt x="730038" y="2303335"/>
                  <a:pt x="735496" y="2300909"/>
                </a:cubicBezTo>
                <a:cubicBezTo>
                  <a:pt x="774504" y="2283572"/>
                  <a:pt x="795420" y="2289088"/>
                  <a:pt x="844826" y="2286000"/>
                </a:cubicBezTo>
                <a:lnTo>
                  <a:pt x="874644" y="2276061"/>
                </a:lnTo>
                <a:cubicBezTo>
                  <a:pt x="879613" y="2274404"/>
                  <a:pt x="884346" y="2271669"/>
                  <a:pt x="889552" y="2271091"/>
                </a:cubicBezTo>
                <a:lnTo>
                  <a:pt x="934279" y="2266122"/>
                </a:lnTo>
                <a:cubicBezTo>
                  <a:pt x="988662" y="2247992"/>
                  <a:pt x="906279" y="2276909"/>
                  <a:pt x="964096" y="2251213"/>
                </a:cubicBezTo>
                <a:cubicBezTo>
                  <a:pt x="989946" y="2239724"/>
                  <a:pt x="1000401" y="2240347"/>
                  <a:pt x="1028700" y="2236304"/>
                </a:cubicBezTo>
                <a:cubicBezTo>
                  <a:pt x="1032213" y="2231035"/>
                  <a:pt x="1041496" y="2214999"/>
                  <a:pt x="1048579" y="2211457"/>
                </a:cubicBezTo>
                <a:cubicBezTo>
                  <a:pt x="1057950" y="2206772"/>
                  <a:pt x="1068457" y="2204830"/>
                  <a:pt x="1078396" y="2201517"/>
                </a:cubicBezTo>
                <a:lnTo>
                  <a:pt x="1093305" y="2196548"/>
                </a:lnTo>
                <a:cubicBezTo>
                  <a:pt x="1102011" y="2170426"/>
                  <a:pt x="1092047" y="2185681"/>
                  <a:pt x="1128092" y="2176670"/>
                </a:cubicBezTo>
                <a:cubicBezTo>
                  <a:pt x="1138256" y="2174129"/>
                  <a:pt x="1147970" y="2170044"/>
                  <a:pt x="1157909" y="2166731"/>
                </a:cubicBezTo>
                <a:cubicBezTo>
                  <a:pt x="1157910" y="2166731"/>
                  <a:pt x="1187725" y="2156792"/>
                  <a:pt x="1187726" y="2156791"/>
                </a:cubicBezTo>
                <a:lnTo>
                  <a:pt x="1202635" y="2146852"/>
                </a:lnTo>
                <a:cubicBezTo>
                  <a:pt x="1205948" y="2141883"/>
                  <a:pt x="1207509" y="2135109"/>
                  <a:pt x="1212574" y="2131944"/>
                </a:cubicBezTo>
                <a:cubicBezTo>
                  <a:pt x="1239064" y="2115388"/>
                  <a:pt x="1304229" y="2118140"/>
                  <a:pt x="1321905" y="2117035"/>
                </a:cubicBezTo>
                <a:cubicBezTo>
                  <a:pt x="1341701" y="2087340"/>
                  <a:pt x="1320081" y="2113160"/>
                  <a:pt x="1346752" y="2097157"/>
                </a:cubicBezTo>
                <a:cubicBezTo>
                  <a:pt x="1350770" y="2094746"/>
                  <a:pt x="1353765" y="2090876"/>
                  <a:pt x="1356692" y="2087217"/>
                </a:cubicBezTo>
                <a:cubicBezTo>
                  <a:pt x="1360423" y="2082553"/>
                  <a:pt x="1361566" y="2075474"/>
                  <a:pt x="1366631" y="2072309"/>
                </a:cubicBezTo>
                <a:cubicBezTo>
                  <a:pt x="1385679" y="2060404"/>
                  <a:pt x="1421831" y="2059549"/>
                  <a:pt x="1441174" y="2057400"/>
                </a:cubicBezTo>
                <a:cubicBezTo>
                  <a:pt x="1442831" y="2052430"/>
                  <a:pt x="1441785" y="2045397"/>
                  <a:pt x="1446144" y="2042491"/>
                </a:cubicBezTo>
                <a:cubicBezTo>
                  <a:pt x="1453172" y="2037806"/>
                  <a:pt x="1462580" y="2038287"/>
                  <a:pt x="1470992" y="2037522"/>
                </a:cubicBezTo>
                <a:cubicBezTo>
                  <a:pt x="1499086" y="2034968"/>
                  <a:pt x="1527313" y="2034209"/>
                  <a:pt x="1555474" y="2032552"/>
                </a:cubicBezTo>
                <a:cubicBezTo>
                  <a:pt x="1621733" y="2019302"/>
                  <a:pt x="1545536" y="2042491"/>
                  <a:pt x="1585292" y="2002735"/>
                </a:cubicBezTo>
                <a:cubicBezTo>
                  <a:pt x="1594305" y="1993722"/>
                  <a:pt x="1633977" y="1990563"/>
                  <a:pt x="1644926" y="1987826"/>
                </a:cubicBezTo>
                <a:cubicBezTo>
                  <a:pt x="1655090" y="1985285"/>
                  <a:pt x="1664805" y="1981200"/>
                  <a:pt x="1674744" y="1977887"/>
                </a:cubicBezTo>
                <a:lnTo>
                  <a:pt x="1704561" y="1967948"/>
                </a:lnTo>
                <a:cubicBezTo>
                  <a:pt x="1709531" y="1966291"/>
                  <a:pt x="1715111" y="1965884"/>
                  <a:pt x="1719470" y="1962978"/>
                </a:cubicBezTo>
                <a:cubicBezTo>
                  <a:pt x="1729409" y="1956352"/>
                  <a:pt x="1737368" y="1943894"/>
                  <a:pt x="1749287" y="1943100"/>
                </a:cubicBezTo>
                <a:lnTo>
                  <a:pt x="1823831" y="1938131"/>
                </a:lnTo>
                <a:cubicBezTo>
                  <a:pt x="1841178" y="1920783"/>
                  <a:pt x="1829325" y="1929673"/>
                  <a:pt x="1863587" y="1918252"/>
                </a:cubicBezTo>
                <a:lnTo>
                  <a:pt x="1863587" y="1918252"/>
                </a:lnTo>
                <a:cubicBezTo>
                  <a:pt x="1868557" y="1914939"/>
                  <a:pt x="1873154" y="1910984"/>
                  <a:pt x="1878496" y="1908313"/>
                </a:cubicBezTo>
                <a:cubicBezTo>
                  <a:pt x="1885621" y="1904751"/>
                  <a:pt x="1906920" y="1899965"/>
                  <a:pt x="1913283" y="1898374"/>
                </a:cubicBezTo>
                <a:cubicBezTo>
                  <a:pt x="1934400" y="1866697"/>
                  <a:pt x="1917331" y="1884447"/>
                  <a:pt x="1982857" y="1873526"/>
                </a:cubicBezTo>
                <a:lnTo>
                  <a:pt x="2012674" y="1868557"/>
                </a:lnTo>
                <a:lnTo>
                  <a:pt x="2042492" y="1858617"/>
                </a:lnTo>
                <a:lnTo>
                  <a:pt x="2057400" y="1853648"/>
                </a:lnTo>
                <a:cubicBezTo>
                  <a:pt x="2029038" y="1882010"/>
                  <a:pt x="2044265" y="1878496"/>
                  <a:pt x="2017644" y="1878496"/>
                </a:cubicBezTo>
                <a:lnTo>
                  <a:pt x="2072309" y="1843709"/>
                </a:lnTo>
                <a:cubicBezTo>
                  <a:pt x="2087218" y="1842052"/>
                  <a:pt x="2102938" y="1843865"/>
                  <a:pt x="2117035" y="1838739"/>
                </a:cubicBezTo>
                <a:cubicBezTo>
                  <a:pt x="2122648" y="1836698"/>
                  <a:pt x="2123243" y="1828495"/>
                  <a:pt x="2126974" y="1823831"/>
                </a:cubicBezTo>
                <a:cubicBezTo>
                  <a:pt x="2129901" y="1820172"/>
                  <a:pt x="2133986" y="1817550"/>
                  <a:pt x="2136913" y="1813891"/>
                </a:cubicBezTo>
                <a:cubicBezTo>
                  <a:pt x="2140644" y="1809227"/>
                  <a:pt x="2142188" y="1802714"/>
                  <a:pt x="2146852" y="1798983"/>
                </a:cubicBezTo>
                <a:cubicBezTo>
                  <a:pt x="2150943" y="1795711"/>
                  <a:pt x="2157076" y="1796356"/>
                  <a:pt x="2161761" y="1794013"/>
                </a:cubicBezTo>
                <a:cubicBezTo>
                  <a:pt x="2167103" y="1791342"/>
                  <a:pt x="2171328" y="1786745"/>
                  <a:pt x="2176670" y="1784074"/>
                </a:cubicBezTo>
                <a:cubicBezTo>
                  <a:pt x="2181355" y="1781731"/>
                  <a:pt x="2186894" y="1781447"/>
                  <a:pt x="2191579" y="1779104"/>
                </a:cubicBezTo>
                <a:cubicBezTo>
                  <a:pt x="2238825" y="1755480"/>
                  <a:pt x="2159385" y="1784865"/>
                  <a:pt x="2236305" y="1759226"/>
                </a:cubicBezTo>
                <a:lnTo>
                  <a:pt x="2251213" y="1754257"/>
                </a:lnTo>
                <a:cubicBezTo>
                  <a:pt x="2257839" y="1747631"/>
                  <a:pt x="2263295" y="1739576"/>
                  <a:pt x="2271092" y="1734378"/>
                </a:cubicBezTo>
                <a:cubicBezTo>
                  <a:pt x="2281031" y="1727752"/>
                  <a:pt x="2292462" y="1722947"/>
                  <a:pt x="2300909" y="1714500"/>
                </a:cubicBezTo>
                <a:cubicBezTo>
                  <a:pt x="2305879" y="1709530"/>
                  <a:pt x="2309970" y="1703490"/>
                  <a:pt x="2315818" y="1699591"/>
                </a:cubicBezTo>
                <a:cubicBezTo>
                  <a:pt x="2320371" y="1696556"/>
                  <a:pt x="2347597" y="1690555"/>
                  <a:pt x="2350605" y="1689652"/>
                </a:cubicBezTo>
                <a:cubicBezTo>
                  <a:pt x="2360640" y="1686642"/>
                  <a:pt x="2371051" y="1684398"/>
                  <a:pt x="2380422" y="1679713"/>
                </a:cubicBezTo>
                <a:cubicBezTo>
                  <a:pt x="2387048" y="1676400"/>
                  <a:pt x="2393364" y="1672375"/>
                  <a:pt x="2400300" y="1669774"/>
                </a:cubicBezTo>
                <a:cubicBezTo>
                  <a:pt x="2406695" y="1667376"/>
                  <a:pt x="2413784" y="1667202"/>
                  <a:pt x="2420179" y="1664804"/>
                </a:cubicBezTo>
                <a:cubicBezTo>
                  <a:pt x="2459397" y="1650097"/>
                  <a:pt x="2422435" y="1661644"/>
                  <a:pt x="2454966" y="1639957"/>
                </a:cubicBezTo>
                <a:cubicBezTo>
                  <a:pt x="2459245" y="1637105"/>
                  <a:pt x="2487100" y="1630680"/>
                  <a:pt x="2489752" y="1630017"/>
                </a:cubicBezTo>
                <a:cubicBezTo>
                  <a:pt x="2491409" y="1625048"/>
                  <a:pt x="2491816" y="1619467"/>
                  <a:pt x="2494722" y="1615109"/>
                </a:cubicBezTo>
                <a:cubicBezTo>
                  <a:pt x="2499498" y="1607945"/>
                  <a:pt x="2515983" y="1593928"/>
                  <a:pt x="2524539" y="1590261"/>
                </a:cubicBezTo>
                <a:cubicBezTo>
                  <a:pt x="2543985" y="1581927"/>
                  <a:pt x="2554192" y="1588713"/>
                  <a:pt x="2574235" y="1575352"/>
                </a:cubicBezTo>
                <a:cubicBezTo>
                  <a:pt x="2593502" y="1562507"/>
                  <a:pt x="2583478" y="1567302"/>
                  <a:pt x="2604052" y="1560444"/>
                </a:cubicBezTo>
                <a:cubicBezTo>
                  <a:pt x="2607365" y="1557131"/>
                  <a:pt x="2609974" y="1552915"/>
                  <a:pt x="2613992" y="1550504"/>
                </a:cubicBezTo>
                <a:cubicBezTo>
                  <a:pt x="2619082" y="1547450"/>
                  <a:pt x="2645070" y="1541492"/>
                  <a:pt x="2648779" y="1540565"/>
                </a:cubicBezTo>
                <a:cubicBezTo>
                  <a:pt x="2658718" y="1533939"/>
                  <a:pt x="2667264" y="1524464"/>
                  <a:pt x="2678596" y="1520687"/>
                </a:cubicBezTo>
                <a:lnTo>
                  <a:pt x="2708413" y="1510748"/>
                </a:lnTo>
                <a:cubicBezTo>
                  <a:pt x="2745843" y="1485795"/>
                  <a:pt x="2698273" y="1515094"/>
                  <a:pt x="2743200" y="1495839"/>
                </a:cubicBezTo>
                <a:cubicBezTo>
                  <a:pt x="2748690" y="1493486"/>
                  <a:pt x="2752767" y="1488571"/>
                  <a:pt x="2758109" y="1485900"/>
                </a:cubicBezTo>
                <a:cubicBezTo>
                  <a:pt x="2769577" y="1480166"/>
                  <a:pt x="2792856" y="1477135"/>
                  <a:pt x="2802835" y="1475961"/>
                </a:cubicBezTo>
                <a:cubicBezTo>
                  <a:pt x="2821006" y="1473823"/>
                  <a:pt x="2839278" y="1472648"/>
                  <a:pt x="2857500" y="1470991"/>
                </a:cubicBezTo>
                <a:cubicBezTo>
                  <a:pt x="2882285" y="1462730"/>
                  <a:pt x="2884659" y="1461091"/>
                  <a:pt x="2907196" y="1456083"/>
                </a:cubicBezTo>
                <a:cubicBezTo>
                  <a:pt x="2949333" y="1446719"/>
                  <a:pt x="2915329" y="1456685"/>
                  <a:pt x="2961861" y="1441174"/>
                </a:cubicBezTo>
                <a:cubicBezTo>
                  <a:pt x="2966831" y="1439517"/>
                  <a:pt x="2972411" y="1439110"/>
                  <a:pt x="2976770" y="1436204"/>
                </a:cubicBezTo>
                <a:cubicBezTo>
                  <a:pt x="2981740" y="1432891"/>
                  <a:pt x="2986066" y="1428306"/>
                  <a:pt x="2991679" y="1426265"/>
                </a:cubicBezTo>
                <a:cubicBezTo>
                  <a:pt x="3004516" y="1421597"/>
                  <a:pt x="3031435" y="1416326"/>
                  <a:pt x="3031435" y="1416326"/>
                </a:cubicBezTo>
                <a:cubicBezTo>
                  <a:pt x="3036405" y="1413013"/>
                  <a:pt x="3041849" y="1410320"/>
                  <a:pt x="3046344" y="1406387"/>
                </a:cubicBezTo>
                <a:cubicBezTo>
                  <a:pt x="3055159" y="1398674"/>
                  <a:pt x="3060080" y="1385243"/>
                  <a:pt x="3071192" y="1381539"/>
                </a:cubicBezTo>
                <a:lnTo>
                  <a:pt x="3086100" y="1376570"/>
                </a:lnTo>
                <a:cubicBezTo>
                  <a:pt x="3089413" y="1371600"/>
                  <a:pt x="3091375" y="1365392"/>
                  <a:pt x="3096039" y="1361661"/>
                </a:cubicBezTo>
                <a:cubicBezTo>
                  <a:pt x="3100130" y="1358388"/>
                  <a:pt x="3107244" y="1360395"/>
                  <a:pt x="3110948" y="1356691"/>
                </a:cubicBezTo>
                <a:cubicBezTo>
                  <a:pt x="3119395" y="1348244"/>
                  <a:pt x="3122379" y="1335320"/>
                  <a:pt x="3130826" y="1326874"/>
                </a:cubicBezTo>
                <a:cubicBezTo>
                  <a:pt x="3159753" y="1297949"/>
                  <a:pt x="3118048" y="1338351"/>
                  <a:pt x="3155674" y="1306996"/>
                </a:cubicBezTo>
                <a:cubicBezTo>
                  <a:pt x="3161073" y="1302497"/>
                  <a:pt x="3164735" y="1295986"/>
                  <a:pt x="3170583" y="1292087"/>
                </a:cubicBezTo>
                <a:cubicBezTo>
                  <a:pt x="3174942" y="1289181"/>
                  <a:pt x="3180388" y="1288295"/>
                  <a:pt x="3185492" y="1287117"/>
                </a:cubicBezTo>
                <a:cubicBezTo>
                  <a:pt x="3201952" y="1283318"/>
                  <a:pt x="3235187" y="1277178"/>
                  <a:pt x="3235187" y="1277178"/>
                </a:cubicBezTo>
                <a:cubicBezTo>
                  <a:pt x="3245126" y="1270552"/>
                  <a:pt x="3253291" y="1259643"/>
                  <a:pt x="3265005" y="1257300"/>
                </a:cubicBezTo>
                <a:cubicBezTo>
                  <a:pt x="3278344" y="1254632"/>
                  <a:pt x="3308858" y="1249599"/>
                  <a:pt x="3319670" y="1242391"/>
                </a:cubicBezTo>
                <a:cubicBezTo>
                  <a:pt x="3340262" y="1228664"/>
                  <a:pt x="3328785" y="1233900"/>
                  <a:pt x="3354457" y="1227483"/>
                </a:cubicBezTo>
                <a:cubicBezTo>
                  <a:pt x="3359427" y="1224170"/>
                  <a:pt x="3364024" y="1220215"/>
                  <a:pt x="3369366" y="1217544"/>
                </a:cubicBezTo>
                <a:cubicBezTo>
                  <a:pt x="3374051" y="1215201"/>
                  <a:pt x="3380570" y="1216278"/>
                  <a:pt x="3384274" y="1212574"/>
                </a:cubicBezTo>
                <a:cubicBezTo>
                  <a:pt x="3387978" y="1208870"/>
                  <a:pt x="3385972" y="1201756"/>
                  <a:pt x="3389244" y="1197665"/>
                </a:cubicBezTo>
                <a:cubicBezTo>
                  <a:pt x="3392975" y="1193001"/>
                  <a:pt x="3398810" y="1190397"/>
                  <a:pt x="3404152" y="1187726"/>
                </a:cubicBezTo>
                <a:cubicBezTo>
                  <a:pt x="3414336" y="1182634"/>
                  <a:pt x="3434464" y="1179676"/>
                  <a:pt x="3443909" y="1177787"/>
                </a:cubicBezTo>
                <a:cubicBezTo>
                  <a:pt x="3451363" y="1171989"/>
                  <a:pt x="3459150" y="1150288"/>
                  <a:pt x="3470746" y="1137036"/>
                </a:cubicBezTo>
                <a:lnTo>
                  <a:pt x="3513483" y="1098274"/>
                </a:lnTo>
                <a:cubicBezTo>
                  <a:pt x="3525079" y="1089991"/>
                  <a:pt x="3536051" y="1080757"/>
                  <a:pt x="3548270" y="1073426"/>
                </a:cubicBezTo>
                <a:cubicBezTo>
                  <a:pt x="3559110" y="1066922"/>
                  <a:pt x="3591941" y="1064348"/>
                  <a:pt x="3597966" y="1063487"/>
                </a:cubicBezTo>
                <a:cubicBezTo>
                  <a:pt x="3607905" y="1060174"/>
                  <a:pt x="3617619" y="1056089"/>
                  <a:pt x="3627783" y="1053548"/>
                </a:cubicBezTo>
                <a:cubicBezTo>
                  <a:pt x="3657826" y="1046036"/>
                  <a:pt x="3641180" y="1050738"/>
                  <a:pt x="3677479" y="1038639"/>
                </a:cubicBezTo>
                <a:lnTo>
                  <a:pt x="3692387" y="1033670"/>
                </a:lnTo>
                <a:cubicBezTo>
                  <a:pt x="3697357" y="1032013"/>
                  <a:pt x="3702098" y="1029350"/>
                  <a:pt x="3707296" y="1028700"/>
                </a:cubicBezTo>
                <a:lnTo>
                  <a:pt x="3747052" y="1023731"/>
                </a:lnTo>
                <a:cubicBezTo>
                  <a:pt x="3755312" y="1015471"/>
                  <a:pt x="3760617" y="1008867"/>
                  <a:pt x="3771900" y="1003852"/>
                </a:cubicBezTo>
                <a:cubicBezTo>
                  <a:pt x="3781474" y="999597"/>
                  <a:pt x="3790951" y="995073"/>
                  <a:pt x="3801718" y="993913"/>
                </a:cubicBezTo>
                <a:cubicBezTo>
                  <a:pt x="3812486" y="992754"/>
                  <a:pt x="3821099" y="997723"/>
                  <a:pt x="3836505" y="996895"/>
                </a:cubicBezTo>
                <a:cubicBezTo>
                  <a:pt x="3851911" y="996067"/>
                  <a:pt x="3879243" y="996066"/>
                  <a:pt x="3894152" y="988943"/>
                </a:cubicBezTo>
                <a:cubicBezTo>
                  <a:pt x="3909061" y="981820"/>
                  <a:pt x="3917343" y="961611"/>
                  <a:pt x="3925957" y="954157"/>
                </a:cubicBezTo>
                <a:cubicBezTo>
                  <a:pt x="3934571" y="946703"/>
                  <a:pt x="3939403" y="947893"/>
                  <a:pt x="3945835" y="944217"/>
                </a:cubicBezTo>
                <a:cubicBezTo>
                  <a:pt x="3951021" y="941254"/>
                  <a:pt x="3955774" y="937591"/>
                  <a:pt x="3960744" y="934278"/>
                </a:cubicBezTo>
                <a:cubicBezTo>
                  <a:pt x="3962400" y="929309"/>
                  <a:pt x="3963371" y="924055"/>
                  <a:pt x="3965713" y="919370"/>
                </a:cubicBezTo>
                <a:cubicBezTo>
                  <a:pt x="3971866" y="907064"/>
                  <a:pt x="3977781" y="900202"/>
                  <a:pt x="3990561" y="894522"/>
                </a:cubicBezTo>
                <a:cubicBezTo>
                  <a:pt x="4000135" y="890267"/>
                  <a:pt x="4020379" y="884583"/>
                  <a:pt x="4020379" y="884583"/>
                </a:cubicBezTo>
                <a:cubicBezTo>
                  <a:pt x="4055068" y="849892"/>
                  <a:pt x="4016637" y="883881"/>
                  <a:pt x="4050196" y="864704"/>
                </a:cubicBezTo>
                <a:cubicBezTo>
                  <a:pt x="4057387" y="860595"/>
                  <a:pt x="4062883" y="853905"/>
                  <a:pt x="4070074" y="849796"/>
                </a:cubicBezTo>
                <a:cubicBezTo>
                  <a:pt x="4074622" y="847197"/>
                  <a:pt x="4080298" y="847169"/>
                  <a:pt x="4084983" y="844826"/>
                </a:cubicBezTo>
                <a:cubicBezTo>
                  <a:pt x="4123521" y="825557"/>
                  <a:pt x="4077326" y="842410"/>
                  <a:pt x="4114800" y="829917"/>
                </a:cubicBezTo>
                <a:cubicBezTo>
                  <a:pt x="4125644" y="797391"/>
                  <a:pt x="4110584" y="829315"/>
                  <a:pt x="4134679" y="810039"/>
                </a:cubicBezTo>
                <a:cubicBezTo>
                  <a:pt x="4139343" y="806308"/>
                  <a:pt x="4139553" y="798296"/>
                  <a:pt x="4144618" y="795131"/>
                </a:cubicBezTo>
                <a:cubicBezTo>
                  <a:pt x="4144630" y="795124"/>
                  <a:pt x="4181883" y="782709"/>
                  <a:pt x="4189344" y="780222"/>
                </a:cubicBezTo>
                <a:cubicBezTo>
                  <a:pt x="4194313" y="778566"/>
                  <a:pt x="4199894" y="778158"/>
                  <a:pt x="4204252" y="775252"/>
                </a:cubicBezTo>
                <a:cubicBezTo>
                  <a:pt x="4214191" y="768626"/>
                  <a:pt x="4225623" y="763821"/>
                  <a:pt x="4234070" y="755374"/>
                </a:cubicBezTo>
                <a:cubicBezTo>
                  <a:pt x="4239040" y="750404"/>
                  <a:pt x="4242187" y="747919"/>
                  <a:pt x="4248979" y="740465"/>
                </a:cubicBezTo>
                <a:cubicBezTo>
                  <a:pt x="4255771" y="733011"/>
                  <a:pt x="4264881" y="720090"/>
                  <a:pt x="4274820" y="710648"/>
                </a:cubicBezTo>
                <a:cubicBezTo>
                  <a:pt x="4284759" y="701206"/>
                  <a:pt x="4300330" y="693751"/>
                  <a:pt x="4308613" y="683812"/>
                </a:cubicBezTo>
                <a:cubicBezTo>
                  <a:pt x="4311926" y="678842"/>
                  <a:pt x="4320209" y="676358"/>
                  <a:pt x="4328492" y="670891"/>
                </a:cubicBezTo>
                <a:lnTo>
                  <a:pt x="4358309" y="651013"/>
                </a:lnTo>
                <a:cubicBezTo>
                  <a:pt x="4363279" y="647700"/>
                  <a:pt x="4368995" y="645298"/>
                  <a:pt x="4373218" y="641074"/>
                </a:cubicBezTo>
                <a:cubicBezTo>
                  <a:pt x="4391830" y="622461"/>
                  <a:pt x="4381459" y="628387"/>
                  <a:pt x="4403035" y="621196"/>
                </a:cubicBezTo>
                <a:cubicBezTo>
                  <a:pt x="4412974" y="614570"/>
                  <a:pt x="4421520" y="605094"/>
                  <a:pt x="4432852" y="601317"/>
                </a:cubicBezTo>
                <a:cubicBezTo>
                  <a:pt x="4442791" y="598004"/>
                  <a:pt x="4453953" y="597190"/>
                  <a:pt x="4462670" y="591378"/>
                </a:cubicBezTo>
                <a:cubicBezTo>
                  <a:pt x="4472609" y="584752"/>
                  <a:pt x="4484040" y="579947"/>
                  <a:pt x="4492487" y="571500"/>
                </a:cubicBezTo>
                <a:cubicBezTo>
                  <a:pt x="4501850" y="562137"/>
                  <a:pt x="4509850" y="552187"/>
                  <a:pt x="4522305" y="546652"/>
                </a:cubicBezTo>
                <a:cubicBezTo>
                  <a:pt x="4554115" y="532514"/>
                  <a:pt x="4546702" y="539999"/>
                  <a:pt x="4576970" y="531744"/>
                </a:cubicBezTo>
                <a:cubicBezTo>
                  <a:pt x="4587078" y="528987"/>
                  <a:pt x="4598070" y="527615"/>
                  <a:pt x="4606787" y="521804"/>
                </a:cubicBezTo>
                <a:cubicBezTo>
                  <a:pt x="4611757" y="518491"/>
                  <a:pt x="4615902" y="513314"/>
                  <a:pt x="4621696" y="511865"/>
                </a:cubicBezTo>
                <a:cubicBezTo>
                  <a:pt x="4636249" y="508227"/>
                  <a:pt x="4651513" y="508552"/>
                  <a:pt x="4666422" y="506896"/>
                </a:cubicBezTo>
                <a:cubicBezTo>
                  <a:pt x="4668079" y="501926"/>
                  <a:pt x="4668120" y="496078"/>
                  <a:pt x="4671392" y="491987"/>
                </a:cubicBezTo>
                <a:cubicBezTo>
                  <a:pt x="4678398" y="483229"/>
                  <a:pt x="4691388" y="480352"/>
                  <a:pt x="4701209" y="477078"/>
                </a:cubicBezTo>
                <a:cubicBezTo>
                  <a:pt x="4702866" y="472109"/>
                  <a:pt x="4703273" y="466528"/>
                  <a:pt x="4706179" y="462170"/>
                </a:cubicBezTo>
                <a:cubicBezTo>
                  <a:pt x="4710077" y="456322"/>
                  <a:pt x="4715239" y="451160"/>
                  <a:pt x="4721087" y="447261"/>
                </a:cubicBezTo>
                <a:cubicBezTo>
                  <a:pt x="4731705" y="440182"/>
                  <a:pt x="4774036" y="437551"/>
                  <a:pt x="4775752" y="437322"/>
                </a:cubicBezTo>
                <a:lnTo>
                  <a:pt x="4810539" y="432352"/>
                </a:lnTo>
                <a:cubicBezTo>
                  <a:pt x="4850296" y="405848"/>
                  <a:pt x="4802256" y="440635"/>
                  <a:pt x="4835387" y="407504"/>
                </a:cubicBezTo>
                <a:cubicBezTo>
                  <a:pt x="4839610" y="403281"/>
                  <a:pt x="4842013" y="399387"/>
                  <a:pt x="4850296" y="397565"/>
                </a:cubicBezTo>
                <a:cubicBezTo>
                  <a:pt x="4858579" y="395743"/>
                  <a:pt x="4875973" y="396571"/>
                  <a:pt x="4885084" y="396571"/>
                </a:cubicBezTo>
                <a:cubicBezTo>
                  <a:pt x="4894195" y="396571"/>
                  <a:pt x="4898335" y="397234"/>
                  <a:pt x="4904961" y="397565"/>
                </a:cubicBezTo>
                <a:cubicBezTo>
                  <a:pt x="4909931" y="395908"/>
                  <a:pt x="4919042" y="390442"/>
                  <a:pt x="4931797" y="384644"/>
                </a:cubicBezTo>
                <a:cubicBezTo>
                  <a:pt x="4944552" y="378846"/>
                  <a:pt x="4965094" y="368576"/>
                  <a:pt x="4981493" y="362778"/>
                </a:cubicBezTo>
                <a:cubicBezTo>
                  <a:pt x="4997892" y="356980"/>
                  <a:pt x="5014789" y="356483"/>
                  <a:pt x="5030194" y="349857"/>
                </a:cubicBezTo>
                <a:cubicBezTo>
                  <a:pt x="5045600" y="343231"/>
                  <a:pt x="5067300" y="324678"/>
                  <a:pt x="5073926" y="323022"/>
                </a:cubicBezTo>
                <a:cubicBezTo>
                  <a:pt x="5077239" y="319709"/>
                  <a:pt x="5079848" y="315494"/>
                  <a:pt x="5083866" y="313083"/>
                </a:cubicBezTo>
                <a:cubicBezTo>
                  <a:pt x="5088358" y="310388"/>
                  <a:pt x="5091320" y="311426"/>
                  <a:pt x="5098774" y="308113"/>
                </a:cubicBezTo>
                <a:cubicBezTo>
                  <a:pt x="5106228" y="304800"/>
                  <a:pt x="5115340" y="301487"/>
                  <a:pt x="5128592" y="293204"/>
                </a:cubicBezTo>
                <a:lnTo>
                  <a:pt x="5178287" y="258417"/>
                </a:lnTo>
                <a:cubicBezTo>
                  <a:pt x="5188226" y="246822"/>
                  <a:pt x="5197959" y="235046"/>
                  <a:pt x="5208105" y="223631"/>
                </a:cubicBezTo>
                <a:cubicBezTo>
                  <a:pt x="5217982" y="212520"/>
                  <a:pt x="5213794" y="213691"/>
                  <a:pt x="5223013" y="213691"/>
                </a:cubicBezTo>
                <a:lnTo>
                  <a:pt x="5297557" y="213691"/>
                </a:lnTo>
                <a:lnTo>
                  <a:pt x="5312466" y="173935"/>
                </a:lnTo>
                <a:lnTo>
                  <a:pt x="5327374" y="173935"/>
                </a:lnTo>
                <a:lnTo>
                  <a:pt x="5327374" y="173935"/>
                </a:lnTo>
                <a:cubicBezTo>
                  <a:pt x="5363419" y="117293"/>
                  <a:pt x="5346889" y="134542"/>
                  <a:pt x="5367131" y="114300"/>
                </a:cubicBezTo>
                <a:lnTo>
                  <a:pt x="5367131" y="114300"/>
                </a:lnTo>
                <a:lnTo>
                  <a:pt x="5382039" y="104361"/>
                </a:lnTo>
                <a:lnTo>
                  <a:pt x="5382039" y="104361"/>
                </a:lnTo>
                <a:lnTo>
                  <a:pt x="5466522" y="84483"/>
                </a:lnTo>
                <a:lnTo>
                  <a:pt x="5466522" y="56653"/>
                </a:lnTo>
                <a:lnTo>
                  <a:pt x="5551005" y="54665"/>
                </a:lnTo>
                <a:lnTo>
                  <a:pt x="5560944" y="4970"/>
                </a:lnTo>
                <a:lnTo>
                  <a:pt x="5705061" y="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en-US" sz="1800" b="0">
              <a:solidFill>
                <a:srgbClr val="FFFFFF"/>
              </a:solidFill>
            </a:endParaRPr>
          </a:p>
        </p:txBody>
      </p:sp>
      <p:sp>
        <p:nvSpPr>
          <p:cNvPr id="71" name="Freeform: Shape 70">
            <a:extLst>
              <a:ext uri="{FF2B5EF4-FFF2-40B4-BE49-F238E27FC236}">
                <a16:creationId xmlns:a16="http://schemas.microsoft.com/office/drawing/2014/main" id="{469873D9-6C3D-49F1-98C0-2E1C516B3D8D}"/>
              </a:ext>
            </a:extLst>
          </p:cNvPr>
          <p:cNvSpPr/>
          <p:nvPr/>
        </p:nvSpPr>
        <p:spPr>
          <a:xfrm>
            <a:off x="2338389" y="1708150"/>
            <a:ext cx="4276966" cy="3111500"/>
          </a:xfrm>
          <a:custGeom>
            <a:avLst/>
            <a:gdLst>
              <a:gd name="connsiteX0" fmla="*/ 0 w 5708650"/>
              <a:gd name="connsiteY0" fmla="*/ 3111500 h 3111500"/>
              <a:gd name="connsiteX1" fmla="*/ 0 w 5708650"/>
              <a:gd name="connsiteY1" fmla="*/ 3111500 h 3111500"/>
              <a:gd name="connsiteX2" fmla="*/ 19050 w 5708650"/>
              <a:gd name="connsiteY2" fmla="*/ 3060700 h 3111500"/>
              <a:gd name="connsiteX3" fmla="*/ 76200 w 5708650"/>
              <a:gd name="connsiteY3" fmla="*/ 3016250 h 3111500"/>
              <a:gd name="connsiteX4" fmla="*/ 120650 w 5708650"/>
              <a:gd name="connsiteY4" fmla="*/ 3009900 h 3111500"/>
              <a:gd name="connsiteX5" fmla="*/ 165100 w 5708650"/>
              <a:gd name="connsiteY5" fmla="*/ 2984500 h 3111500"/>
              <a:gd name="connsiteX6" fmla="*/ 203200 w 5708650"/>
              <a:gd name="connsiteY6" fmla="*/ 2971800 h 3111500"/>
              <a:gd name="connsiteX7" fmla="*/ 285750 w 5708650"/>
              <a:gd name="connsiteY7" fmla="*/ 2952750 h 3111500"/>
              <a:gd name="connsiteX8" fmla="*/ 342900 w 5708650"/>
              <a:gd name="connsiteY8" fmla="*/ 2946400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692400 h 3111500"/>
              <a:gd name="connsiteX22" fmla="*/ 850900 w 5708650"/>
              <a:gd name="connsiteY22" fmla="*/ 2686050 h 3111500"/>
              <a:gd name="connsiteX23" fmla="*/ 914400 w 5708650"/>
              <a:gd name="connsiteY23" fmla="*/ 2667000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1156 w 5708650"/>
              <a:gd name="connsiteY2" fmla="*/ 3070749 h 3111500"/>
              <a:gd name="connsiteX3" fmla="*/ 76200 w 5708650"/>
              <a:gd name="connsiteY3" fmla="*/ 3016250 h 3111500"/>
              <a:gd name="connsiteX4" fmla="*/ 120650 w 5708650"/>
              <a:gd name="connsiteY4" fmla="*/ 3009900 h 3111500"/>
              <a:gd name="connsiteX5" fmla="*/ 165100 w 5708650"/>
              <a:gd name="connsiteY5" fmla="*/ 2984500 h 3111500"/>
              <a:gd name="connsiteX6" fmla="*/ 203200 w 5708650"/>
              <a:gd name="connsiteY6" fmla="*/ 2971800 h 3111500"/>
              <a:gd name="connsiteX7" fmla="*/ 285750 w 5708650"/>
              <a:gd name="connsiteY7" fmla="*/ 2952750 h 3111500"/>
              <a:gd name="connsiteX8" fmla="*/ 342900 w 5708650"/>
              <a:gd name="connsiteY8" fmla="*/ 2946400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692400 h 3111500"/>
              <a:gd name="connsiteX22" fmla="*/ 850900 w 5708650"/>
              <a:gd name="connsiteY22" fmla="*/ 2686050 h 3111500"/>
              <a:gd name="connsiteX23" fmla="*/ 914400 w 5708650"/>
              <a:gd name="connsiteY23" fmla="*/ 2667000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1156 w 5708650"/>
              <a:gd name="connsiteY2" fmla="*/ 3070749 h 3111500"/>
              <a:gd name="connsiteX3" fmla="*/ 92277 w 5708650"/>
              <a:gd name="connsiteY3" fmla="*/ 3054434 h 3111500"/>
              <a:gd name="connsiteX4" fmla="*/ 120650 w 5708650"/>
              <a:gd name="connsiteY4" fmla="*/ 3009900 h 3111500"/>
              <a:gd name="connsiteX5" fmla="*/ 165100 w 5708650"/>
              <a:gd name="connsiteY5" fmla="*/ 2984500 h 3111500"/>
              <a:gd name="connsiteX6" fmla="*/ 203200 w 5708650"/>
              <a:gd name="connsiteY6" fmla="*/ 2971800 h 3111500"/>
              <a:gd name="connsiteX7" fmla="*/ 285750 w 5708650"/>
              <a:gd name="connsiteY7" fmla="*/ 2952750 h 3111500"/>
              <a:gd name="connsiteX8" fmla="*/ 342900 w 5708650"/>
              <a:gd name="connsiteY8" fmla="*/ 2946400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692400 h 3111500"/>
              <a:gd name="connsiteX22" fmla="*/ 850900 w 5708650"/>
              <a:gd name="connsiteY22" fmla="*/ 2686050 h 3111500"/>
              <a:gd name="connsiteX23" fmla="*/ 914400 w 5708650"/>
              <a:gd name="connsiteY23" fmla="*/ 2667000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20650 w 5708650"/>
              <a:gd name="connsiteY4" fmla="*/ 3009900 h 3111500"/>
              <a:gd name="connsiteX5" fmla="*/ 165100 w 5708650"/>
              <a:gd name="connsiteY5" fmla="*/ 2984500 h 3111500"/>
              <a:gd name="connsiteX6" fmla="*/ 203200 w 5708650"/>
              <a:gd name="connsiteY6" fmla="*/ 2971800 h 3111500"/>
              <a:gd name="connsiteX7" fmla="*/ 285750 w 5708650"/>
              <a:gd name="connsiteY7" fmla="*/ 2952750 h 3111500"/>
              <a:gd name="connsiteX8" fmla="*/ 342900 w 5708650"/>
              <a:gd name="connsiteY8" fmla="*/ 2946400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692400 h 3111500"/>
              <a:gd name="connsiteX22" fmla="*/ 850900 w 5708650"/>
              <a:gd name="connsiteY22" fmla="*/ 2686050 h 3111500"/>
              <a:gd name="connsiteX23" fmla="*/ 914400 w 5708650"/>
              <a:gd name="connsiteY23" fmla="*/ 2667000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65100 w 5708650"/>
              <a:gd name="connsiteY5" fmla="*/ 2984500 h 3111500"/>
              <a:gd name="connsiteX6" fmla="*/ 203200 w 5708650"/>
              <a:gd name="connsiteY6" fmla="*/ 2971800 h 3111500"/>
              <a:gd name="connsiteX7" fmla="*/ 285750 w 5708650"/>
              <a:gd name="connsiteY7" fmla="*/ 2952750 h 3111500"/>
              <a:gd name="connsiteX8" fmla="*/ 342900 w 5708650"/>
              <a:gd name="connsiteY8" fmla="*/ 2946400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692400 h 3111500"/>
              <a:gd name="connsiteX22" fmla="*/ 850900 w 5708650"/>
              <a:gd name="connsiteY22" fmla="*/ 2686050 h 3111500"/>
              <a:gd name="connsiteX23" fmla="*/ 914400 w 5708650"/>
              <a:gd name="connsiteY23" fmla="*/ 2667000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03200 w 5708650"/>
              <a:gd name="connsiteY6" fmla="*/ 2971800 h 3111500"/>
              <a:gd name="connsiteX7" fmla="*/ 285750 w 5708650"/>
              <a:gd name="connsiteY7" fmla="*/ 2952750 h 3111500"/>
              <a:gd name="connsiteX8" fmla="*/ 342900 w 5708650"/>
              <a:gd name="connsiteY8" fmla="*/ 2946400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692400 h 3111500"/>
              <a:gd name="connsiteX22" fmla="*/ 850900 w 5708650"/>
              <a:gd name="connsiteY22" fmla="*/ 2686050 h 3111500"/>
              <a:gd name="connsiteX23" fmla="*/ 914400 w 5708650"/>
              <a:gd name="connsiteY23" fmla="*/ 2667000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42900 w 5708650"/>
              <a:gd name="connsiteY8" fmla="*/ 2946400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692400 h 3111500"/>
              <a:gd name="connsiteX22" fmla="*/ 850900 w 5708650"/>
              <a:gd name="connsiteY22" fmla="*/ 2686050 h 3111500"/>
              <a:gd name="connsiteX23" fmla="*/ 914400 w 5708650"/>
              <a:gd name="connsiteY23" fmla="*/ 2667000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42900 w 5708650"/>
              <a:gd name="connsiteY8" fmla="*/ 2946400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692400 h 3111500"/>
              <a:gd name="connsiteX22" fmla="*/ 850900 w 5708650"/>
              <a:gd name="connsiteY22" fmla="*/ 2686050 h 3111500"/>
              <a:gd name="connsiteX23" fmla="*/ 914400 w 5708650"/>
              <a:gd name="connsiteY23" fmla="*/ 2667000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692400 h 3111500"/>
              <a:gd name="connsiteX22" fmla="*/ 850900 w 5708650"/>
              <a:gd name="connsiteY22" fmla="*/ 2686050 h 3111500"/>
              <a:gd name="connsiteX23" fmla="*/ 914400 w 5708650"/>
              <a:gd name="connsiteY23" fmla="*/ 2667000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710487 h 3111500"/>
              <a:gd name="connsiteX22" fmla="*/ 850900 w 5708650"/>
              <a:gd name="connsiteY22" fmla="*/ 2686050 h 3111500"/>
              <a:gd name="connsiteX23" fmla="*/ 914400 w 5708650"/>
              <a:gd name="connsiteY23" fmla="*/ 2667000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710487 h 3111500"/>
              <a:gd name="connsiteX22" fmla="*/ 856929 w 5708650"/>
              <a:gd name="connsiteY22" fmla="*/ 2698108 h 3111500"/>
              <a:gd name="connsiteX23" fmla="*/ 914400 w 5708650"/>
              <a:gd name="connsiteY23" fmla="*/ 2667000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710487 h 3111500"/>
              <a:gd name="connsiteX22" fmla="*/ 856929 w 5708650"/>
              <a:gd name="connsiteY22" fmla="*/ 2698108 h 3111500"/>
              <a:gd name="connsiteX23" fmla="*/ 914400 w 5708650"/>
              <a:gd name="connsiteY23" fmla="*/ 2683077 h 3111500"/>
              <a:gd name="connsiteX24" fmla="*/ 952500 w 5708650"/>
              <a:gd name="connsiteY24" fmla="*/ 2660650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710487 h 3111500"/>
              <a:gd name="connsiteX22" fmla="*/ 856929 w 5708650"/>
              <a:gd name="connsiteY22" fmla="*/ 2698108 h 3111500"/>
              <a:gd name="connsiteX23" fmla="*/ 914400 w 5708650"/>
              <a:gd name="connsiteY23" fmla="*/ 2683077 h 3111500"/>
              <a:gd name="connsiteX24" fmla="*/ 952500 w 5708650"/>
              <a:gd name="connsiteY24" fmla="*/ 2670699 h 3111500"/>
              <a:gd name="connsiteX25" fmla="*/ 977900 w 5708650"/>
              <a:gd name="connsiteY25" fmla="*/ 2654300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710487 h 3111500"/>
              <a:gd name="connsiteX22" fmla="*/ 856929 w 5708650"/>
              <a:gd name="connsiteY22" fmla="*/ 2698108 h 3111500"/>
              <a:gd name="connsiteX23" fmla="*/ 914400 w 5708650"/>
              <a:gd name="connsiteY23" fmla="*/ 2683077 h 3111500"/>
              <a:gd name="connsiteX24" fmla="*/ 952500 w 5708650"/>
              <a:gd name="connsiteY24" fmla="*/ 2670699 h 3111500"/>
              <a:gd name="connsiteX25" fmla="*/ 983929 w 5708650"/>
              <a:gd name="connsiteY25" fmla="*/ 2666358 h 3111500"/>
              <a:gd name="connsiteX26" fmla="*/ 1047750 w 5708650"/>
              <a:gd name="connsiteY26" fmla="*/ 2647950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710487 h 3111500"/>
              <a:gd name="connsiteX22" fmla="*/ 856929 w 5708650"/>
              <a:gd name="connsiteY22" fmla="*/ 2698108 h 3111500"/>
              <a:gd name="connsiteX23" fmla="*/ 914400 w 5708650"/>
              <a:gd name="connsiteY23" fmla="*/ 2683077 h 3111500"/>
              <a:gd name="connsiteX24" fmla="*/ 952500 w 5708650"/>
              <a:gd name="connsiteY24" fmla="*/ 2670699 h 3111500"/>
              <a:gd name="connsiteX25" fmla="*/ 983929 w 5708650"/>
              <a:gd name="connsiteY25" fmla="*/ 2666358 h 3111500"/>
              <a:gd name="connsiteX26" fmla="*/ 1053779 w 5708650"/>
              <a:gd name="connsiteY26" fmla="*/ 2649959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25500 w 5708650"/>
              <a:gd name="connsiteY21" fmla="*/ 2710487 h 3111500"/>
              <a:gd name="connsiteX22" fmla="*/ 856929 w 5708650"/>
              <a:gd name="connsiteY22" fmla="*/ 2698108 h 3111500"/>
              <a:gd name="connsiteX23" fmla="*/ 914400 w 5708650"/>
              <a:gd name="connsiteY23" fmla="*/ 2683077 h 3111500"/>
              <a:gd name="connsiteX24" fmla="*/ 952500 w 5708650"/>
              <a:gd name="connsiteY24" fmla="*/ 2670699 h 3111500"/>
              <a:gd name="connsiteX25" fmla="*/ 983929 w 5708650"/>
              <a:gd name="connsiteY25" fmla="*/ 2666358 h 3111500"/>
              <a:gd name="connsiteX26" fmla="*/ 1053779 w 5708650"/>
              <a:gd name="connsiteY26" fmla="*/ 2649959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06450 w 5708650"/>
              <a:gd name="connsiteY20" fmla="*/ 2705100 h 3111500"/>
              <a:gd name="connsiteX21" fmla="*/ 831529 w 5708650"/>
              <a:gd name="connsiteY21" fmla="*/ 2710487 h 3111500"/>
              <a:gd name="connsiteX22" fmla="*/ 856929 w 5708650"/>
              <a:gd name="connsiteY22" fmla="*/ 2698108 h 3111500"/>
              <a:gd name="connsiteX23" fmla="*/ 914400 w 5708650"/>
              <a:gd name="connsiteY23" fmla="*/ 2683077 h 3111500"/>
              <a:gd name="connsiteX24" fmla="*/ 952500 w 5708650"/>
              <a:gd name="connsiteY24" fmla="*/ 2670699 h 3111500"/>
              <a:gd name="connsiteX25" fmla="*/ 983929 w 5708650"/>
              <a:gd name="connsiteY25" fmla="*/ 2666358 h 3111500"/>
              <a:gd name="connsiteX26" fmla="*/ 1053779 w 5708650"/>
              <a:gd name="connsiteY26" fmla="*/ 2649959 h 3111500"/>
              <a:gd name="connsiteX27" fmla="*/ 1117600 w 5708650"/>
              <a:gd name="connsiteY27" fmla="*/ 2628900 h 3111500"/>
              <a:gd name="connsiteX28" fmla="*/ 1130300 w 5708650"/>
              <a:gd name="connsiteY28" fmla="*/ 2609850 h 3111500"/>
              <a:gd name="connsiteX29" fmla="*/ 1136650 w 5708650"/>
              <a:gd name="connsiteY29" fmla="*/ 2590800 h 3111500"/>
              <a:gd name="connsiteX30" fmla="*/ 1155700 w 5708650"/>
              <a:gd name="connsiteY30" fmla="*/ 2578100 h 3111500"/>
              <a:gd name="connsiteX31" fmla="*/ 1193800 w 5708650"/>
              <a:gd name="connsiteY31" fmla="*/ 2565400 h 3111500"/>
              <a:gd name="connsiteX32" fmla="*/ 1212850 w 5708650"/>
              <a:gd name="connsiteY32" fmla="*/ 2559050 h 3111500"/>
              <a:gd name="connsiteX33" fmla="*/ 1238250 w 5708650"/>
              <a:gd name="connsiteY33" fmla="*/ 2552700 h 3111500"/>
              <a:gd name="connsiteX34" fmla="*/ 1276350 w 5708650"/>
              <a:gd name="connsiteY34" fmla="*/ 2540000 h 3111500"/>
              <a:gd name="connsiteX35" fmla="*/ 1295400 w 5708650"/>
              <a:gd name="connsiteY35" fmla="*/ 2520950 h 3111500"/>
              <a:gd name="connsiteX36" fmla="*/ 1314450 w 5708650"/>
              <a:gd name="connsiteY36" fmla="*/ 2514600 h 3111500"/>
              <a:gd name="connsiteX37" fmla="*/ 1320800 w 5708650"/>
              <a:gd name="connsiteY37" fmla="*/ 2489200 h 3111500"/>
              <a:gd name="connsiteX38" fmla="*/ 1358900 w 5708650"/>
              <a:gd name="connsiteY38" fmla="*/ 2476500 h 3111500"/>
              <a:gd name="connsiteX39" fmla="*/ 1403350 w 5708650"/>
              <a:gd name="connsiteY39" fmla="*/ 2463800 h 3111500"/>
              <a:gd name="connsiteX40" fmla="*/ 1422400 w 5708650"/>
              <a:gd name="connsiteY40" fmla="*/ 2457450 h 3111500"/>
              <a:gd name="connsiteX41" fmla="*/ 1460500 w 5708650"/>
              <a:gd name="connsiteY41" fmla="*/ 2432050 h 3111500"/>
              <a:gd name="connsiteX42" fmla="*/ 1479550 w 5708650"/>
              <a:gd name="connsiteY42" fmla="*/ 2419350 h 3111500"/>
              <a:gd name="connsiteX43" fmla="*/ 1498600 w 5708650"/>
              <a:gd name="connsiteY43" fmla="*/ 2400300 h 3111500"/>
              <a:gd name="connsiteX44" fmla="*/ 1517650 w 5708650"/>
              <a:gd name="connsiteY44" fmla="*/ 2393950 h 3111500"/>
              <a:gd name="connsiteX45" fmla="*/ 1555750 w 5708650"/>
              <a:gd name="connsiteY45" fmla="*/ 2374900 h 3111500"/>
              <a:gd name="connsiteX46" fmla="*/ 1568450 w 5708650"/>
              <a:gd name="connsiteY46" fmla="*/ 2355850 h 3111500"/>
              <a:gd name="connsiteX47" fmla="*/ 1606550 w 5708650"/>
              <a:gd name="connsiteY47" fmla="*/ 2343150 h 3111500"/>
              <a:gd name="connsiteX48" fmla="*/ 1625600 w 5708650"/>
              <a:gd name="connsiteY48" fmla="*/ 2330450 h 3111500"/>
              <a:gd name="connsiteX49" fmla="*/ 1651000 w 5708650"/>
              <a:gd name="connsiteY49" fmla="*/ 2298700 h 3111500"/>
              <a:gd name="connsiteX50" fmla="*/ 1752600 w 5708650"/>
              <a:gd name="connsiteY50" fmla="*/ 2235200 h 3111500"/>
              <a:gd name="connsiteX51" fmla="*/ 1797050 w 5708650"/>
              <a:gd name="connsiteY51" fmla="*/ 2203450 h 3111500"/>
              <a:gd name="connsiteX52" fmla="*/ 1828800 w 5708650"/>
              <a:gd name="connsiteY52" fmla="*/ 2197100 h 3111500"/>
              <a:gd name="connsiteX53" fmla="*/ 1847850 w 5708650"/>
              <a:gd name="connsiteY53" fmla="*/ 2190750 h 3111500"/>
              <a:gd name="connsiteX54" fmla="*/ 1860550 w 5708650"/>
              <a:gd name="connsiteY54" fmla="*/ 2152650 h 3111500"/>
              <a:gd name="connsiteX55" fmla="*/ 1866900 w 5708650"/>
              <a:gd name="connsiteY55" fmla="*/ 2120900 h 3111500"/>
              <a:gd name="connsiteX56" fmla="*/ 1885950 w 5708650"/>
              <a:gd name="connsiteY56" fmla="*/ 2108200 h 3111500"/>
              <a:gd name="connsiteX57" fmla="*/ 1930400 w 5708650"/>
              <a:gd name="connsiteY57" fmla="*/ 2101850 h 3111500"/>
              <a:gd name="connsiteX58" fmla="*/ 1955800 w 5708650"/>
              <a:gd name="connsiteY58" fmla="*/ 2095500 h 3111500"/>
              <a:gd name="connsiteX59" fmla="*/ 1962150 w 5708650"/>
              <a:gd name="connsiteY59" fmla="*/ 2070100 h 3111500"/>
              <a:gd name="connsiteX60" fmla="*/ 2000250 w 5708650"/>
              <a:gd name="connsiteY60" fmla="*/ 2044700 h 3111500"/>
              <a:gd name="connsiteX61" fmla="*/ 2063750 w 5708650"/>
              <a:gd name="connsiteY61" fmla="*/ 2025650 h 3111500"/>
              <a:gd name="connsiteX62" fmla="*/ 2082800 w 5708650"/>
              <a:gd name="connsiteY62" fmla="*/ 2019300 h 3111500"/>
              <a:gd name="connsiteX63" fmla="*/ 2108200 w 5708650"/>
              <a:gd name="connsiteY63" fmla="*/ 2006600 h 3111500"/>
              <a:gd name="connsiteX64" fmla="*/ 2139950 w 5708650"/>
              <a:gd name="connsiteY64" fmla="*/ 2000250 h 3111500"/>
              <a:gd name="connsiteX65" fmla="*/ 2165350 w 5708650"/>
              <a:gd name="connsiteY65" fmla="*/ 1987550 h 3111500"/>
              <a:gd name="connsiteX66" fmla="*/ 2184400 w 5708650"/>
              <a:gd name="connsiteY66" fmla="*/ 1981200 h 3111500"/>
              <a:gd name="connsiteX67" fmla="*/ 2190750 w 5708650"/>
              <a:gd name="connsiteY67" fmla="*/ 1955800 h 3111500"/>
              <a:gd name="connsiteX68" fmla="*/ 2209800 w 5708650"/>
              <a:gd name="connsiteY68" fmla="*/ 1936750 h 3111500"/>
              <a:gd name="connsiteX69" fmla="*/ 2254250 w 5708650"/>
              <a:gd name="connsiteY69" fmla="*/ 1905000 h 3111500"/>
              <a:gd name="connsiteX70" fmla="*/ 2298700 w 5708650"/>
              <a:gd name="connsiteY70" fmla="*/ 1873250 h 3111500"/>
              <a:gd name="connsiteX71" fmla="*/ 2349500 w 5708650"/>
              <a:gd name="connsiteY71" fmla="*/ 1860550 h 3111500"/>
              <a:gd name="connsiteX72" fmla="*/ 2368550 w 5708650"/>
              <a:gd name="connsiteY72" fmla="*/ 1847850 h 3111500"/>
              <a:gd name="connsiteX73" fmla="*/ 2387600 w 5708650"/>
              <a:gd name="connsiteY73" fmla="*/ 1841500 h 3111500"/>
              <a:gd name="connsiteX74" fmla="*/ 2425700 w 5708650"/>
              <a:gd name="connsiteY74" fmla="*/ 1816100 h 3111500"/>
              <a:gd name="connsiteX75" fmla="*/ 2476500 w 5708650"/>
              <a:gd name="connsiteY75" fmla="*/ 1803400 h 3111500"/>
              <a:gd name="connsiteX76" fmla="*/ 2495550 w 5708650"/>
              <a:gd name="connsiteY76" fmla="*/ 1784350 h 3111500"/>
              <a:gd name="connsiteX77" fmla="*/ 2514600 w 5708650"/>
              <a:gd name="connsiteY77" fmla="*/ 1778000 h 3111500"/>
              <a:gd name="connsiteX78" fmla="*/ 2546350 w 5708650"/>
              <a:gd name="connsiteY78" fmla="*/ 1752600 h 3111500"/>
              <a:gd name="connsiteX79" fmla="*/ 2565400 w 5708650"/>
              <a:gd name="connsiteY79" fmla="*/ 1733550 h 3111500"/>
              <a:gd name="connsiteX80" fmla="*/ 2584450 w 5708650"/>
              <a:gd name="connsiteY80" fmla="*/ 1720850 h 3111500"/>
              <a:gd name="connsiteX81" fmla="*/ 2616200 w 5708650"/>
              <a:gd name="connsiteY81" fmla="*/ 1689100 h 3111500"/>
              <a:gd name="connsiteX82" fmla="*/ 2679700 w 5708650"/>
              <a:gd name="connsiteY82" fmla="*/ 1676400 h 3111500"/>
              <a:gd name="connsiteX83" fmla="*/ 2698750 w 5708650"/>
              <a:gd name="connsiteY83" fmla="*/ 1670050 h 3111500"/>
              <a:gd name="connsiteX84" fmla="*/ 2755900 w 5708650"/>
              <a:gd name="connsiteY84" fmla="*/ 1663700 h 3111500"/>
              <a:gd name="connsiteX85" fmla="*/ 2851150 w 5708650"/>
              <a:gd name="connsiteY85" fmla="*/ 1600200 h 3111500"/>
              <a:gd name="connsiteX86" fmla="*/ 2882900 w 5708650"/>
              <a:gd name="connsiteY86" fmla="*/ 1555750 h 3111500"/>
              <a:gd name="connsiteX87" fmla="*/ 2901950 w 5708650"/>
              <a:gd name="connsiteY87" fmla="*/ 1549400 h 3111500"/>
              <a:gd name="connsiteX88" fmla="*/ 2940050 w 5708650"/>
              <a:gd name="connsiteY88" fmla="*/ 1517650 h 3111500"/>
              <a:gd name="connsiteX89" fmla="*/ 2965450 w 5708650"/>
              <a:gd name="connsiteY89" fmla="*/ 1511300 h 3111500"/>
              <a:gd name="connsiteX90" fmla="*/ 3003550 w 5708650"/>
              <a:gd name="connsiteY90" fmla="*/ 1498600 h 3111500"/>
              <a:gd name="connsiteX91" fmla="*/ 3041650 w 5708650"/>
              <a:gd name="connsiteY91" fmla="*/ 1466850 h 3111500"/>
              <a:gd name="connsiteX92" fmla="*/ 3092450 w 5708650"/>
              <a:gd name="connsiteY92" fmla="*/ 1454150 h 3111500"/>
              <a:gd name="connsiteX93" fmla="*/ 3111500 w 5708650"/>
              <a:gd name="connsiteY93" fmla="*/ 1441450 h 3111500"/>
              <a:gd name="connsiteX94" fmla="*/ 3117850 w 5708650"/>
              <a:gd name="connsiteY94" fmla="*/ 1422400 h 3111500"/>
              <a:gd name="connsiteX95" fmla="*/ 3143250 w 5708650"/>
              <a:gd name="connsiteY95" fmla="*/ 1409700 h 3111500"/>
              <a:gd name="connsiteX96" fmla="*/ 3181350 w 5708650"/>
              <a:gd name="connsiteY96" fmla="*/ 1397000 h 3111500"/>
              <a:gd name="connsiteX97" fmla="*/ 3200400 w 5708650"/>
              <a:gd name="connsiteY97" fmla="*/ 1390650 h 3111500"/>
              <a:gd name="connsiteX98" fmla="*/ 3219450 w 5708650"/>
              <a:gd name="connsiteY98" fmla="*/ 1384300 h 3111500"/>
              <a:gd name="connsiteX99" fmla="*/ 3244850 w 5708650"/>
              <a:gd name="connsiteY99" fmla="*/ 1377950 h 3111500"/>
              <a:gd name="connsiteX100" fmla="*/ 3282950 w 5708650"/>
              <a:gd name="connsiteY100" fmla="*/ 1358900 h 3111500"/>
              <a:gd name="connsiteX101" fmla="*/ 3340100 w 5708650"/>
              <a:gd name="connsiteY101" fmla="*/ 1346200 h 3111500"/>
              <a:gd name="connsiteX102" fmla="*/ 3359150 w 5708650"/>
              <a:gd name="connsiteY102" fmla="*/ 1333500 h 3111500"/>
              <a:gd name="connsiteX103" fmla="*/ 3397250 w 5708650"/>
              <a:gd name="connsiteY103" fmla="*/ 1320800 h 3111500"/>
              <a:gd name="connsiteX104" fmla="*/ 3435350 w 5708650"/>
              <a:gd name="connsiteY104" fmla="*/ 1301750 h 3111500"/>
              <a:gd name="connsiteX105" fmla="*/ 3473450 w 5708650"/>
              <a:gd name="connsiteY105" fmla="*/ 1282700 h 3111500"/>
              <a:gd name="connsiteX106" fmla="*/ 3530600 w 5708650"/>
              <a:gd name="connsiteY106" fmla="*/ 1238250 h 3111500"/>
              <a:gd name="connsiteX107" fmla="*/ 3575050 w 5708650"/>
              <a:gd name="connsiteY107" fmla="*/ 1231900 h 3111500"/>
              <a:gd name="connsiteX108" fmla="*/ 3613150 w 5708650"/>
              <a:gd name="connsiteY108" fmla="*/ 1206500 h 3111500"/>
              <a:gd name="connsiteX109" fmla="*/ 3632200 w 5708650"/>
              <a:gd name="connsiteY109" fmla="*/ 1200150 h 3111500"/>
              <a:gd name="connsiteX110" fmla="*/ 3676650 w 5708650"/>
              <a:gd name="connsiteY110" fmla="*/ 1187450 h 3111500"/>
              <a:gd name="connsiteX111" fmla="*/ 3695700 w 5708650"/>
              <a:gd name="connsiteY111" fmla="*/ 1174750 h 3111500"/>
              <a:gd name="connsiteX112" fmla="*/ 3721100 w 5708650"/>
              <a:gd name="connsiteY112" fmla="*/ 1168400 h 3111500"/>
              <a:gd name="connsiteX113" fmla="*/ 3759200 w 5708650"/>
              <a:gd name="connsiteY113" fmla="*/ 1155700 h 3111500"/>
              <a:gd name="connsiteX114" fmla="*/ 3771900 w 5708650"/>
              <a:gd name="connsiteY114" fmla="*/ 1136650 h 3111500"/>
              <a:gd name="connsiteX115" fmla="*/ 3810000 w 5708650"/>
              <a:gd name="connsiteY115" fmla="*/ 1104900 h 3111500"/>
              <a:gd name="connsiteX116" fmla="*/ 3822700 w 5708650"/>
              <a:gd name="connsiteY116" fmla="*/ 1085850 h 3111500"/>
              <a:gd name="connsiteX117" fmla="*/ 3860800 w 5708650"/>
              <a:gd name="connsiteY117" fmla="*/ 1066800 h 3111500"/>
              <a:gd name="connsiteX118" fmla="*/ 3917950 w 5708650"/>
              <a:gd name="connsiteY118" fmla="*/ 1028700 h 3111500"/>
              <a:gd name="connsiteX119" fmla="*/ 3937000 w 5708650"/>
              <a:gd name="connsiteY119" fmla="*/ 1016000 h 3111500"/>
              <a:gd name="connsiteX120" fmla="*/ 3975100 w 5708650"/>
              <a:gd name="connsiteY120" fmla="*/ 1003300 h 3111500"/>
              <a:gd name="connsiteX121" fmla="*/ 3994150 w 5708650"/>
              <a:gd name="connsiteY121" fmla="*/ 990600 h 3111500"/>
              <a:gd name="connsiteX122" fmla="*/ 4025900 w 5708650"/>
              <a:gd name="connsiteY122" fmla="*/ 984250 h 3111500"/>
              <a:gd name="connsiteX123" fmla="*/ 4064000 w 5708650"/>
              <a:gd name="connsiteY123" fmla="*/ 971550 h 3111500"/>
              <a:gd name="connsiteX124" fmla="*/ 4076700 w 5708650"/>
              <a:gd name="connsiteY124" fmla="*/ 952500 h 3111500"/>
              <a:gd name="connsiteX125" fmla="*/ 4089400 w 5708650"/>
              <a:gd name="connsiteY125" fmla="*/ 914400 h 3111500"/>
              <a:gd name="connsiteX126" fmla="*/ 4108450 w 5708650"/>
              <a:gd name="connsiteY126" fmla="*/ 901700 h 3111500"/>
              <a:gd name="connsiteX127" fmla="*/ 4121150 w 5708650"/>
              <a:gd name="connsiteY127" fmla="*/ 882650 h 3111500"/>
              <a:gd name="connsiteX128" fmla="*/ 4140200 w 5708650"/>
              <a:gd name="connsiteY128" fmla="*/ 876300 h 3111500"/>
              <a:gd name="connsiteX129" fmla="*/ 4159250 w 5708650"/>
              <a:gd name="connsiteY129" fmla="*/ 863600 h 3111500"/>
              <a:gd name="connsiteX130" fmla="*/ 4171950 w 5708650"/>
              <a:gd name="connsiteY130" fmla="*/ 844550 h 3111500"/>
              <a:gd name="connsiteX131" fmla="*/ 4178300 w 5708650"/>
              <a:gd name="connsiteY131" fmla="*/ 825500 h 3111500"/>
              <a:gd name="connsiteX132" fmla="*/ 4197350 w 5708650"/>
              <a:gd name="connsiteY132" fmla="*/ 812800 h 3111500"/>
              <a:gd name="connsiteX133" fmla="*/ 4235450 w 5708650"/>
              <a:gd name="connsiteY133" fmla="*/ 787400 h 3111500"/>
              <a:gd name="connsiteX134" fmla="*/ 4273550 w 5708650"/>
              <a:gd name="connsiteY134" fmla="*/ 749300 h 3111500"/>
              <a:gd name="connsiteX135" fmla="*/ 4330700 w 5708650"/>
              <a:gd name="connsiteY135" fmla="*/ 742950 h 3111500"/>
              <a:gd name="connsiteX136" fmla="*/ 4394200 w 5708650"/>
              <a:gd name="connsiteY136" fmla="*/ 730250 h 3111500"/>
              <a:gd name="connsiteX137" fmla="*/ 4438650 w 5708650"/>
              <a:gd name="connsiteY137" fmla="*/ 723900 h 3111500"/>
              <a:gd name="connsiteX138" fmla="*/ 4470400 w 5708650"/>
              <a:gd name="connsiteY138" fmla="*/ 698500 h 3111500"/>
              <a:gd name="connsiteX139" fmla="*/ 4521200 w 5708650"/>
              <a:gd name="connsiteY139" fmla="*/ 679450 h 3111500"/>
              <a:gd name="connsiteX140" fmla="*/ 4559300 w 5708650"/>
              <a:gd name="connsiteY140" fmla="*/ 666750 h 3111500"/>
              <a:gd name="connsiteX141" fmla="*/ 4597400 w 5708650"/>
              <a:gd name="connsiteY141" fmla="*/ 641350 h 3111500"/>
              <a:gd name="connsiteX142" fmla="*/ 4635500 w 5708650"/>
              <a:gd name="connsiteY142" fmla="*/ 628650 h 3111500"/>
              <a:gd name="connsiteX143" fmla="*/ 4654550 w 5708650"/>
              <a:gd name="connsiteY143" fmla="*/ 622300 h 3111500"/>
              <a:gd name="connsiteX144" fmla="*/ 4673600 w 5708650"/>
              <a:gd name="connsiteY144" fmla="*/ 609600 h 3111500"/>
              <a:gd name="connsiteX145" fmla="*/ 4711700 w 5708650"/>
              <a:gd name="connsiteY145" fmla="*/ 596900 h 3111500"/>
              <a:gd name="connsiteX146" fmla="*/ 4724400 w 5708650"/>
              <a:gd name="connsiteY146" fmla="*/ 577850 h 3111500"/>
              <a:gd name="connsiteX147" fmla="*/ 4762500 w 5708650"/>
              <a:gd name="connsiteY147" fmla="*/ 552450 h 3111500"/>
              <a:gd name="connsiteX148" fmla="*/ 4775200 w 5708650"/>
              <a:gd name="connsiteY148" fmla="*/ 508000 h 3111500"/>
              <a:gd name="connsiteX149" fmla="*/ 4794250 w 5708650"/>
              <a:gd name="connsiteY149" fmla="*/ 495300 h 3111500"/>
              <a:gd name="connsiteX150" fmla="*/ 4819650 w 5708650"/>
              <a:gd name="connsiteY150" fmla="*/ 476250 h 3111500"/>
              <a:gd name="connsiteX151" fmla="*/ 4851400 w 5708650"/>
              <a:gd name="connsiteY151" fmla="*/ 438150 h 3111500"/>
              <a:gd name="connsiteX152" fmla="*/ 4984750 w 5708650"/>
              <a:gd name="connsiteY152" fmla="*/ 431800 h 3111500"/>
              <a:gd name="connsiteX153" fmla="*/ 5003800 w 5708650"/>
              <a:gd name="connsiteY153" fmla="*/ 425450 h 3111500"/>
              <a:gd name="connsiteX154" fmla="*/ 5022850 w 5708650"/>
              <a:gd name="connsiteY154" fmla="*/ 412750 h 3111500"/>
              <a:gd name="connsiteX155" fmla="*/ 5080000 w 5708650"/>
              <a:gd name="connsiteY155" fmla="*/ 387350 h 3111500"/>
              <a:gd name="connsiteX156" fmla="*/ 5092700 w 5708650"/>
              <a:gd name="connsiteY156" fmla="*/ 368300 h 3111500"/>
              <a:gd name="connsiteX157" fmla="*/ 5111750 w 5708650"/>
              <a:gd name="connsiteY157" fmla="*/ 361950 h 3111500"/>
              <a:gd name="connsiteX158" fmla="*/ 5130800 w 5708650"/>
              <a:gd name="connsiteY158" fmla="*/ 349250 h 3111500"/>
              <a:gd name="connsiteX159" fmla="*/ 5137150 w 5708650"/>
              <a:gd name="connsiteY159" fmla="*/ 330200 h 3111500"/>
              <a:gd name="connsiteX160" fmla="*/ 5181600 w 5708650"/>
              <a:gd name="connsiteY160" fmla="*/ 317500 h 3111500"/>
              <a:gd name="connsiteX161" fmla="*/ 5200650 w 5708650"/>
              <a:gd name="connsiteY161" fmla="*/ 304800 h 3111500"/>
              <a:gd name="connsiteX162" fmla="*/ 5213350 w 5708650"/>
              <a:gd name="connsiteY162" fmla="*/ 266700 h 3111500"/>
              <a:gd name="connsiteX163" fmla="*/ 5251450 w 5708650"/>
              <a:gd name="connsiteY163" fmla="*/ 260350 h 3111500"/>
              <a:gd name="connsiteX164" fmla="*/ 5270500 w 5708650"/>
              <a:gd name="connsiteY164" fmla="*/ 254000 h 3111500"/>
              <a:gd name="connsiteX165" fmla="*/ 5308600 w 5708650"/>
              <a:gd name="connsiteY165" fmla="*/ 247650 h 3111500"/>
              <a:gd name="connsiteX166" fmla="*/ 5346700 w 5708650"/>
              <a:gd name="connsiteY166" fmla="*/ 234950 h 3111500"/>
              <a:gd name="connsiteX167" fmla="*/ 5372100 w 5708650"/>
              <a:gd name="connsiteY167" fmla="*/ 228600 h 3111500"/>
              <a:gd name="connsiteX168" fmla="*/ 5384800 w 5708650"/>
              <a:gd name="connsiteY168" fmla="*/ 209550 h 3111500"/>
              <a:gd name="connsiteX169" fmla="*/ 5403850 w 5708650"/>
              <a:gd name="connsiteY169" fmla="*/ 203200 h 3111500"/>
              <a:gd name="connsiteX170" fmla="*/ 5410200 w 5708650"/>
              <a:gd name="connsiteY170" fmla="*/ 184150 h 3111500"/>
              <a:gd name="connsiteX171" fmla="*/ 5429250 w 5708650"/>
              <a:gd name="connsiteY171" fmla="*/ 177800 h 3111500"/>
              <a:gd name="connsiteX172" fmla="*/ 5467350 w 5708650"/>
              <a:gd name="connsiteY172" fmla="*/ 158750 h 3111500"/>
              <a:gd name="connsiteX173" fmla="*/ 5480050 w 5708650"/>
              <a:gd name="connsiteY173" fmla="*/ 139700 h 3111500"/>
              <a:gd name="connsiteX174" fmla="*/ 5486400 w 5708650"/>
              <a:gd name="connsiteY174" fmla="*/ 107950 h 3111500"/>
              <a:gd name="connsiteX175" fmla="*/ 5537200 w 5708650"/>
              <a:gd name="connsiteY175" fmla="*/ 101600 h 3111500"/>
              <a:gd name="connsiteX176" fmla="*/ 5543550 w 5708650"/>
              <a:gd name="connsiteY176" fmla="*/ 76200 h 3111500"/>
              <a:gd name="connsiteX177" fmla="*/ 5562600 w 5708650"/>
              <a:gd name="connsiteY177" fmla="*/ 82550 h 3111500"/>
              <a:gd name="connsiteX178" fmla="*/ 5594350 w 5708650"/>
              <a:gd name="connsiteY178" fmla="*/ 95250 h 3111500"/>
              <a:gd name="connsiteX179" fmla="*/ 5664200 w 5708650"/>
              <a:gd name="connsiteY179" fmla="*/ 88900 h 3111500"/>
              <a:gd name="connsiteX180" fmla="*/ 5708650 w 5708650"/>
              <a:gd name="connsiteY180" fmla="*/ 82550 h 3111500"/>
              <a:gd name="connsiteX181" fmla="*/ 5702300 w 5708650"/>
              <a:gd name="connsiteY181"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0800 h 3111500"/>
              <a:gd name="connsiteX29" fmla="*/ 1155700 w 5708650"/>
              <a:gd name="connsiteY29" fmla="*/ 2578100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651000 w 5708650"/>
              <a:gd name="connsiteY48" fmla="*/ 2298700 h 3111500"/>
              <a:gd name="connsiteX49" fmla="*/ 1752600 w 5708650"/>
              <a:gd name="connsiteY49" fmla="*/ 2235200 h 3111500"/>
              <a:gd name="connsiteX50" fmla="*/ 1797050 w 5708650"/>
              <a:gd name="connsiteY50" fmla="*/ 2203450 h 3111500"/>
              <a:gd name="connsiteX51" fmla="*/ 1828800 w 5708650"/>
              <a:gd name="connsiteY51" fmla="*/ 2197100 h 3111500"/>
              <a:gd name="connsiteX52" fmla="*/ 1847850 w 5708650"/>
              <a:gd name="connsiteY52" fmla="*/ 2190750 h 3111500"/>
              <a:gd name="connsiteX53" fmla="*/ 1860550 w 5708650"/>
              <a:gd name="connsiteY53" fmla="*/ 2152650 h 3111500"/>
              <a:gd name="connsiteX54" fmla="*/ 1866900 w 5708650"/>
              <a:gd name="connsiteY54" fmla="*/ 2120900 h 3111500"/>
              <a:gd name="connsiteX55" fmla="*/ 1885950 w 5708650"/>
              <a:gd name="connsiteY55" fmla="*/ 2108200 h 3111500"/>
              <a:gd name="connsiteX56" fmla="*/ 1930400 w 5708650"/>
              <a:gd name="connsiteY56" fmla="*/ 2101850 h 3111500"/>
              <a:gd name="connsiteX57" fmla="*/ 1955800 w 5708650"/>
              <a:gd name="connsiteY57" fmla="*/ 2095500 h 3111500"/>
              <a:gd name="connsiteX58" fmla="*/ 1962150 w 5708650"/>
              <a:gd name="connsiteY58" fmla="*/ 2070100 h 3111500"/>
              <a:gd name="connsiteX59" fmla="*/ 2000250 w 5708650"/>
              <a:gd name="connsiteY59" fmla="*/ 2044700 h 3111500"/>
              <a:gd name="connsiteX60" fmla="*/ 2063750 w 5708650"/>
              <a:gd name="connsiteY60" fmla="*/ 2025650 h 3111500"/>
              <a:gd name="connsiteX61" fmla="*/ 2082800 w 5708650"/>
              <a:gd name="connsiteY61" fmla="*/ 2019300 h 3111500"/>
              <a:gd name="connsiteX62" fmla="*/ 2108200 w 5708650"/>
              <a:gd name="connsiteY62" fmla="*/ 2006600 h 3111500"/>
              <a:gd name="connsiteX63" fmla="*/ 2139950 w 5708650"/>
              <a:gd name="connsiteY63" fmla="*/ 2000250 h 3111500"/>
              <a:gd name="connsiteX64" fmla="*/ 2165350 w 5708650"/>
              <a:gd name="connsiteY64" fmla="*/ 1987550 h 3111500"/>
              <a:gd name="connsiteX65" fmla="*/ 2184400 w 5708650"/>
              <a:gd name="connsiteY65" fmla="*/ 1981200 h 3111500"/>
              <a:gd name="connsiteX66" fmla="*/ 2190750 w 5708650"/>
              <a:gd name="connsiteY66" fmla="*/ 1955800 h 3111500"/>
              <a:gd name="connsiteX67" fmla="*/ 2209800 w 5708650"/>
              <a:gd name="connsiteY67" fmla="*/ 1936750 h 3111500"/>
              <a:gd name="connsiteX68" fmla="*/ 2254250 w 5708650"/>
              <a:gd name="connsiteY68" fmla="*/ 1905000 h 3111500"/>
              <a:gd name="connsiteX69" fmla="*/ 2298700 w 5708650"/>
              <a:gd name="connsiteY69" fmla="*/ 1873250 h 3111500"/>
              <a:gd name="connsiteX70" fmla="*/ 2349500 w 5708650"/>
              <a:gd name="connsiteY70" fmla="*/ 1860550 h 3111500"/>
              <a:gd name="connsiteX71" fmla="*/ 2368550 w 5708650"/>
              <a:gd name="connsiteY71" fmla="*/ 1847850 h 3111500"/>
              <a:gd name="connsiteX72" fmla="*/ 2387600 w 5708650"/>
              <a:gd name="connsiteY72" fmla="*/ 1841500 h 3111500"/>
              <a:gd name="connsiteX73" fmla="*/ 2425700 w 5708650"/>
              <a:gd name="connsiteY73" fmla="*/ 1816100 h 3111500"/>
              <a:gd name="connsiteX74" fmla="*/ 2476500 w 5708650"/>
              <a:gd name="connsiteY74" fmla="*/ 1803400 h 3111500"/>
              <a:gd name="connsiteX75" fmla="*/ 2495550 w 5708650"/>
              <a:gd name="connsiteY75" fmla="*/ 1784350 h 3111500"/>
              <a:gd name="connsiteX76" fmla="*/ 2514600 w 5708650"/>
              <a:gd name="connsiteY76" fmla="*/ 1778000 h 3111500"/>
              <a:gd name="connsiteX77" fmla="*/ 2546350 w 5708650"/>
              <a:gd name="connsiteY77" fmla="*/ 1752600 h 3111500"/>
              <a:gd name="connsiteX78" fmla="*/ 2565400 w 5708650"/>
              <a:gd name="connsiteY78" fmla="*/ 1733550 h 3111500"/>
              <a:gd name="connsiteX79" fmla="*/ 2584450 w 5708650"/>
              <a:gd name="connsiteY79" fmla="*/ 1720850 h 3111500"/>
              <a:gd name="connsiteX80" fmla="*/ 2616200 w 5708650"/>
              <a:gd name="connsiteY80" fmla="*/ 1689100 h 3111500"/>
              <a:gd name="connsiteX81" fmla="*/ 2679700 w 5708650"/>
              <a:gd name="connsiteY81" fmla="*/ 1676400 h 3111500"/>
              <a:gd name="connsiteX82" fmla="*/ 2698750 w 5708650"/>
              <a:gd name="connsiteY82" fmla="*/ 1670050 h 3111500"/>
              <a:gd name="connsiteX83" fmla="*/ 2755900 w 5708650"/>
              <a:gd name="connsiteY83" fmla="*/ 1663700 h 3111500"/>
              <a:gd name="connsiteX84" fmla="*/ 2851150 w 5708650"/>
              <a:gd name="connsiteY84" fmla="*/ 1600200 h 3111500"/>
              <a:gd name="connsiteX85" fmla="*/ 2882900 w 5708650"/>
              <a:gd name="connsiteY85" fmla="*/ 1555750 h 3111500"/>
              <a:gd name="connsiteX86" fmla="*/ 2901950 w 5708650"/>
              <a:gd name="connsiteY86" fmla="*/ 1549400 h 3111500"/>
              <a:gd name="connsiteX87" fmla="*/ 2940050 w 5708650"/>
              <a:gd name="connsiteY87" fmla="*/ 1517650 h 3111500"/>
              <a:gd name="connsiteX88" fmla="*/ 2965450 w 5708650"/>
              <a:gd name="connsiteY88" fmla="*/ 1511300 h 3111500"/>
              <a:gd name="connsiteX89" fmla="*/ 3003550 w 5708650"/>
              <a:gd name="connsiteY89" fmla="*/ 1498600 h 3111500"/>
              <a:gd name="connsiteX90" fmla="*/ 3041650 w 5708650"/>
              <a:gd name="connsiteY90" fmla="*/ 1466850 h 3111500"/>
              <a:gd name="connsiteX91" fmla="*/ 3092450 w 5708650"/>
              <a:gd name="connsiteY91" fmla="*/ 1454150 h 3111500"/>
              <a:gd name="connsiteX92" fmla="*/ 3111500 w 5708650"/>
              <a:gd name="connsiteY92" fmla="*/ 1441450 h 3111500"/>
              <a:gd name="connsiteX93" fmla="*/ 3117850 w 5708650"/>
              <a:gd name="connsiteY93" fmla="*/ 1422400 h 3111500"/>
              <a:gd name="connsiteX94" fmla="*/ 3143250 w 5708650"/>
              <a:gd name="connsiteY94" fmla="*/ 1409700 h 3111500"/>
              <a:gd name="connsiteX95" fmla="*/ 3181350 w 5708650"/>
              <a:gd name="connsiteY95" fmla="*/ 1397000 h 3111500"/>
              <a:gd name="connsiteX96" fmla="*/ 3200400 w 5708650"/>
              <a:gd name="connsiteY96" fmla="*/ 1390650 h 3111500"/>
              <a:gd name="connsiteX97" fmla="*/ 3219450 w 5708650"/>
              <a:gd name="connsiteY97" fmla="*/ 1384300 h 3111500"/>
              <a:gd name="connsiteX98" fmla="*/ 3244850 w 5708650"/>
              <a:gd name="connsiteY98" fmla="*/ 1377950 h 3111500"/>
              <a:gd name="connsiteX99" fmla="*/ 3282950 w 5708650"/>
              <a:gd name="connsiteY99" fmla="*/ 1358900 h 3111500"/>
              <a:gd name="connsiteX100" fmla="*/ 3340100 w 5708650"/>
              <a:gd name="connsiteY100" fmla="*/ 1346200 h 3111500"/>
              <a:gd name="connsiteX101" fmla="*/ 3359150 w 5708650"/>
              <a:gd name="connsiteY101" fmla="*/ 1333500 h 3111500"/>
              <a:gd name="connsiteX102" fmla="*/ 3397250 w 5708650"/>
              <a:gd name="connsiteY102" fmla="*/ 1320800 h 3111500"/>
              <a:gd name="connsiteX103" fmla="*/ 3435350 w 5708650"/>
              <a:gd name="connsiteY103" fmla="*/ 1301750 h 3111500"/>
              <a:gd name="connsiteX104" fmla="*/ 3473450 w 5708650"/>
              <a:gd name="connsiteY104" fmla="*/ 1282700 h 3111500"/>
              <a:gd name="connsiteX105" fmla="*/ 3530600 w 5708650"/>
              <a:gd name="connsiteY105" fmla="*/ 1238250 h 3111500"/>
              <a:gd name="connsiteX106" fmla="*/ 3575050 w 5708650"/>
              <a:gd name="connsiteY106" fmla="*/ 1231900 h 3111500"/>
              <a:gd name="connsiteX107" fmla="*/ 3613150 w 5708650"/>
              <a:gd name="connsiteY107" fmla="*/ 1206500 h 3111500"/>
              <a:gd name="connsiteX108" fmla="*/ 3632200 w 5708650"/>
              <a:gd name="connsiteY108" fmla="*/ 1200150 h 3111500"/>
              <a:gd name="connsiteX109" fmla="*/ 3676650 w 5708650"/>
              <a:gd name="connsiteY109" fmla="*/ 1187450 h 3111500"/>
              <a:gd name="connsiteX110" fmla="*/ 3695700 w 5708650"/>
              <a:gd name="connsiteY110" fmla="*/ 1174750 h 3111500"/>
              <a:gd name="connsiteX111" fmla="*/ 3721100 w 5708650"/>
              <a:gd name="connsiteY111" fmla="*/ 1168400 h 3111500"/>
              <a:gd name="connsiteX112" fmla="*/ 3759200 w 5708650"/>
              <a:gd name="connsiteY112" fmla="*/ 1155700 h 3111500"/>
              <a:gd name="connsiteX113" fmla="*/ 3771900 w 5708650"/>
              <a:gd name="connsiteY113" fmla="*/ 1136650 h 3111500"/>
              <a:gd name="connsiteX114" fmla="*/ 3810000 w 5708650"/>
              <a:gd name="connsiteY114" fmla="*/ 1104900 h 3111500"/>
              <a:gd name="connsiteX115" fmla="*/ 3822700 w 5708650"/>
              <a:gd name="connsiteY115" fmla="*/ 1085850 h 3111500"/>
              <a:gd name="connsiteX116" fmla="*/ 3860800 w 5708650"/>
              <a:gd name="connsiteY116" fmla="*/ 1066800 h 3111500"/>
              <a:gd name="connsiteX117" fmla="*/ 3917950 w 5708650"/>
              <a:gd name="connsiteY117" fmla="*/ 1028700 h 3111500"/>
              <a:gd name="connsiteX118" fmla="*/ 3937000 w 5708650"/>
              <a:gd name="connsiteY118" fmla="*/ 1016000 h 3111500"/>
              <a:gd name="connsiteX119" fmla="*/ 3975100 w 5708650"/>
              <a:gd name="connsiteY119" fmla="*/ 1003300 h 3111500"/>
              <a:gd name="connsiteX120" fmla="*/ 3994150 w 5708650"/>
              <a:gd name="connsiteY120" fmla="*/ 990600 h 3111500"/>
              <a:gd name="connsiteX121" fmla="*/ 4025900 w 5708650"/>
              <a:gd name="connsiteY121" fmla="*/ 984250 h 3111500"/>
              <a:gd name="connsiteX122" fmla="*/ 4064000 w 5708650"/>
              <a:gd name="connsiteY122" fmla="*/ 971550 h 3111500"/>
              <a:gd name="connsiteX123" fmla="*/ 4076700 w 5708650"/>
              <a:gd name="connsiteY123" fmla="*/ 952500 h 3111500"/>
              <a:gd name="connsiteX124" fmla="*/ 4089400 w 5708650"/>
              <a:gd name="connsiteY124" fmla="*/ 914400 h 3111500"/>
              <a:gd name="connsiteX125" fmla="*/ 4108450 w 5708650"/>
              <a:gd name="connsiteY125" fmla="*/ 901700 h 3111500"/>
              <a:gd name="connsiteX126" fmla="*/ 4121150 w 5708650"/>
              <a:gd name="connsiteY126" fmla="*/ 882650 h 3111500"/>
              <a:gd name="connsiteX127" fmla="*/ 4140200 w 5708650"/>
              <a:gd name="connsiteY127" fmla="*/ 876300 h 3111500"/>
              <a:gd name="connsiteX128" fmla="*/ 4159250 w 5708650"/>
              <a:gd name="connsiteY128" fmla="*/ 863600 h 3111500"/>
              <a:gd name="connsiteX129" fmla="*/ 4171950 w 5708650"/>
              <a:gd name="connsiteY129" fmla="*/ 844550 h 3111500"/>
              <a:gd name="connsiteX130" fmla="*/ 4178300 w 5708650"/>
              <a:gd name="connsiteY130" fmla="*/ 825500 h 3111500"/>
              <a:gd name="connsiteX131" fmla="*/ 4197350 w 5708650"/>
              <a:gd name="connsiteY131" fmla="*/ 812800 h 3111500"/>
              <a:gd name="connsiteX132" fmla="*/ 4235450 w 5708650"/>
              <a:gd name="connsiteY132" fmla="*/ 787400 h 3111500"/>
              <a:gd name="connsiteX133" fmla="*/ 4273550 w 5708650"/>
              <a:gd name="connsiteY133" fmla="*/ 749300 h 3111500"/>
              <a:gd name="connsiteX134" fmla="*/ 4330700 w 5708650"/>
              <a:gd name="connsiteY134" fmla="*/ 742950 h 3111500"/>
              <a:gd name="connsiteX135" fmla="*/ 4394200 w 5708650"/>
              <a:gd name="connsiteY135" fmla="*/ 730250 h 3111500"/>
              <a:gd name="connsiteX136" fmla="*/ 4438650 w 5708650"/>
              <a:gd name="connsiteY136" fmla="*/ 723900 h 3111500"/>
              <a:gd name="connsiteX137" fmla="*/ 4470400 w 5708650"/>
              <a:gd name="connsiteY137" fmla="*/ 698500 h 3111500"/>
              <a:gd name="connsiteX138" fmla="*/ 4521200 w 5708650"/>
              <a:gd name="connsiteY138" fmla="*/ 679450 h 3111500"/>
              <a:gd name="connsiteX139" fmla="*/ 4559300 w 5708650"/>
              <a:gd name="connsiteY139" fmla="*/ 666750 h 3111500"/>
              <a:gd name="connsiteX140" fmla="*/ 4597400 w 5708650"/>
              <a:gd name="connsiteY140" fmla="*/ 641350 h 3111500"/>
              <a:gd name="connsiteX141" fmla="*/ 4635500 w 5708650"/>
              <a:gd name="connsiteY141" fmla="*/ 628650 h 3111500"/>
              <a:gd name="connsiteX142" fmla="*/ 4654550 w 5708650"/>
              <a:gd name="connsiteY142" fmla="*/ 622300 h 3111500"/>
              <a:gd name="connsiteX143" fmla="*/ 4673600 w 5708650"/>
              <a:gd name="connsiteY143" fmla="*/ 609600 h 3111500"/>
              <a:gd name="connsiteX144" fmla="*/ 4711700 w 5708650"/>
              <a:gd name="connsiteY144" fmla="*/ 596900 h 3111500"/>
              <a:gd name="connsiteX145" fmla="*/ 4724400 w 5708650"/>
              <a:gd name="connsiteY145" fmla="*/ 577850 h 3111500"/>
              <a:gd name="connsiteX146" fmla="*/ 4762500 w 5708650"/>
              <a:gd name="connsiteY146" fmla="*/ 552450 h 3111500"/>
              <a:gd name="connsiteX147" fmla="*/ 4775200 w 5708650"/>
              <a:gd name="connsiteY147" fmla="*/ 508000 h 3111500"/>
              <a:gd name="connsiteX148" fmla="*/ 4794250 w 5708650"/>
              <a:gd name="connsiteY148" fmla="*/ 495300 h 3111500"/>
              <a:gd name="connsiteX149" fmla="*/ 4819650 w 5708650"/>
              <a:gd name="connsiteY149" fmla="*/ 476250 h 3111500"/>
              <a:gd name="connsiteX150" fmla="*/ 4851400 w 5708650"/>
              <a:gd name="connsiteY150" fmla="*/ 438150 h 3111500"/>
              <a:gd name="connsiteX151" fmla="*/ 4984750 w 5708650"/>
              <a:gd name="connsiteY151" fmla="*/ 431800 h 3111500"/>
              <a:gd name="connsiteX152" fmla="*/ 5003800 w 5708650"/>
              <a:gd name="connsiteY152" fmla="*/ 425450 h 3111500"/>
              <a:gd name="connsiteX153" fmla="*/ 5022850 w 5708650"/>
              <a:gd name="connsiteY153" fmla="*/ 412750 h 3111500"/>
              <a:gd name="connsiteX154" fmla="*/ 5080000 w 5708650"/>
              <a:gd name="connsiteY154" fmla="*/ 387350 h 3111500"/>
              <a:gd name="connsiteX155" fmla="*/ 5092700 w 5708650"/>
              <a:gd name="connsiteY155" fmla="*/ 368300 h 3111500"/>
              <a:gd name="connsiteX156" fmla="*/ 5111750 w 5708650"/>
              <a:gd name="connsiteY156" fmla="*/ 361950 h 3111500"/>
              <a:gd name="connsiteX157" fmla="*/ 5130800 w 5708650"/>
              <a:gd name="connsiteY157" fmla="*/ 349250 h 3111500"/>
              <a:gd name="connsiteX158" fmla="*/ 5137150 w 5708650"/>
              <a:gd name="connsiteY158" fmla="*/ 330200 h 3111500"/>
              <a:gd name="connsiteX159" fmla="*/ 5181600 w 5708650"/>
              <a:gd name="connsiteY159" fmla="*/ 317500 h 3111500"/>
              <a:gd name="connsiteX160" fmla="*/ 5200650 w 5708650"/>
              <a:gd name="connsiteY160" fmla="*/ 304800 h 3111500"/>
              <a:gd name="connsiteX161" fmla="*/ 5213350 w 5708650"/>
              <a:gd name="connsiteY161" fmla="*/ 266700 h 3111500"/>
              <a:gd name="connsiteX162" fmla="*/ 5251450 w 5708650"/>
              <a:gd name="connsiteY162" fmla="*/ 260350 h 3111500"/>
              <a:gd name="connsiteX163" fmla="*/ 5270500 w 5708650"/>
              <a:gd name="connsiteY163" fmla="*/ 254000 h 3111500"/>
              <a:gd name="connsiteX164" fmla="*/ 5308600 w 5708650"/>
              <a:gd name="connsiteY164" fmla="*/ 247650 h 3111500"/>
              <a:gd name="connsiteX165" fmla="*/ 5346700 w 5708650"/>
              <a:gd name="connsiteY165" fmla="*/ 234950 h 3111500"/>
              <a:gd name="connsiteX166" fmla="*/ 5372100 w 5708650"/>
              <a:gd name="connsiteY166" fmla="*/ 228600 h 3111500"/>
              <a:gd name="connsiteX167" fmla="*/ 5384800 w 5708650"/>
              <a:gd name="connsiteY167" fmla="*/ 209550 h 3111500"/>
              <a:gd name="connsiteX168" fmla="*/ 5403850 w 5708650"/>
              <a:gd name="connsiteY168" fmla="*/ 203200 h 3111500"/>
              <a:gd name="connsiteX169" fmla="*/ 5410200 w 5708650"/>
              <a:gd name="connsiteY169" fmla="*/ 184150 h 3111500"/>
              <a:gd name="connsiteX170" fmla="*/ 5429250 w 5708650"/>
              <a:gd name="connsiteY170" fmla="*/ 177800 h 3111500"/>
              <a:gd name="connsiteX171" fmla="*/ 5467350 w 5708650"/>
              <a:gd name="connsiteY171" fmla="*/ 158750 h 3111500"/>
              <a:gd name="connsiteX172" fmla="*/ 5480050 w 5708650"/>
              <a:gd name="connsiteY172" fmla="*/ 139700 h 3111500"/>
              <a:gd name="connsiteX173" fmla="*/ 5486400 w 5708650"/>
              <a:gd name="connsiteY173" fmla="*/ 107950 h 3111500"/>
              <a:gd name="connsiteX174" fmla="*/ 5537200 w 5708650"/>
              <a:gd name="connsiteY174" fmla="*/ 101600 h 3111500"/>
              <a:gd name="connsiteX175" fmla="*/ 5543550 w 5708650"/>
              <a:gd name="connsiteY175" fmla="*/ 76200 h 3111500"/>
              <a:gd name="connsiteX176" fmla="*/ 5562600 w 5708650"/>
              <a:gd name="connsiteY176" fmla="*/ 82550 h 3111500"/>
              <a:gd name="connsiteX177" fmla="*/ 5594350 w 5708650"/>
              <a:gd name="connsiteY177" fmla="*/ 95250 h 3111500"/>
              <a:gd name="connsiteX178" fmla="*/ 5664200 w 5708650"/>
              <a:gd name="connsiteY178" fmla="*/ 88900 h 3111500"/>
              <a:gd name="connsiteX179" fmla="*/ 5708650 w 5708650"/>
              <a:gd name="connsiteY179" fmla="*/ 82550 h 3111500"/>
              <a:gd name="connsiteX180" fmla="*/ 5702300 w 5708650"/>
              <a:gd name="connsiteY180"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0800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651000 w 5708650"/>
              <a:gd name="connsiteY48" fmla="*/ 2298700 h 3111500"/>
              <a:gd name="connsiteX49" fmla="*/ 1752600 w 5708650"/>
              <a:gd name="connsiteY49" fmla="*/ 2235200 h 3111500"/>
              <a:gd name="connsiteX50" fmla="*/ 1797050 w 5708650"/>
              <a:gd name="connsiteY50" fmla="*/ 2203450 h 3111500"/>
              <a:gd name="connsiteX51" fmla="*/ 1828800 w 5708650"/>
              <a:gd name="connsiteY51" fmla="*/ 2197100 h 3111500"/>
              <a:gd name="connsiteX52" fmla="*/ 1847850 w 5708650"/>
              <a:gd name="connsiteY52" fmla="*/ 2190750 h 3111500"/>
              <a:gd name="connsiteX53" fmla="*/ 1860550 w 5708650"/>
              <a:gd name="connsiteY53" fmla="*/ 2152650 h 3111500"/>
              <a:gd name="connsiteX54" fmla="*/ 1866900 w 5708650"/>
              <a:gd name="connsiteY54" fmla="*/ 2120900 h 3111500"/>
              <a:gd name="connsiteX55" fmla="*/ 1885950 w 5708650"/>
              <a:gd name="connsiteY55" fmla="*/ 2108200 h 3111500"/>
              <a:gd name="connsiteX56" fmla="*/ 1930400 w 5708650"/>
              <a:gd name="connsiteY56" fmla="*/ 2101850 h 3111500"/>
              <a:gd name="connsiteX57" fmla="*/ 1955800 w 5708650"/>
              <a:gd name="connsiteY57" fmla="*/ 2095500 h 3111500"/>
              <a:gd name="connsiteX58" fmla="*/ 1962150 w 5708650"/>
              <a:gd name="connsiteY58" fmla="*/ 2070100 h 3111500"/>
              <a:gd name="connsiteX59" fmla="*/ 2000250 w 5708650"/>
              <a:gd name="connsiteY59" fmla="*/ 2044700 h 3111500"/>
              <a:gd name="connsiteX60" fmla="*/ 2063750 w 5708650"/>
              <a:gd name="connsiteY60" fmla="*/ 2025650 h 3111500"/>
              <a:gd name="connsiteX61" fmla="*/ 2082800 w 5708650"/>
              <a:gd name="connsiteY61" fmla="*/ 2019300 h 3111500"/>
              <a:gd name="connsiteX62" fmla="*/ 2108200 w 5708650"/>
              <a:gd name="connsiteY62" fmla="*/ 2006600 h 3111500"/>
              <a:gd name="connsiteX63" fmla="*/ 2139950 w 5708650"/>
              <a:gd name="connsiteY63" fmla="*/ 2000250 h 3111500"/>
              <a:gd name="connsiteX64" fmla="*/ 2165350 w 5708650"/>
              <a:gd name="connsiteY64" fmla="*/ 1987550 h 3111500"/>
              <a:gd name="connsiteX65" fmla="*/ 2184400 w 5708650"/>
              <a:gd name="connsiteY65" fmla="*/ 1981200 h 3111500"/>
              <a:gd name="connsiteX66" fmla="*/ 2190750 w 5708650"/>
              <a:gd name="connsiteY66" fmla="*/ 1955800 h 3111500"/>
              <a:gd name="connsiteX67" fmla="*/ 2209800 w 5708650"/>
              <a:gd name="connsiteY67" fmla="*/ 1936750 h 3111500"/>
              <a:gd name="connsiteX68" fmla="*/ 2254250 w 5708650"/>
              <a:gd name="connsiteY68" fmla="*/ 1905000 h 3111500"/>
              <a:gd name="connsiteX69" fmla="*/ 2298700 w 5708650"/>
              <a:gd name="connsiteY69" fmla="*/ 1873250 h 3111500"/>
              <a:gd name="connsiteX70" fmla="*/ 2349500 w 5708650"/>
              <a:gd name="connsiteY70" fmla="*/ 1860550 h 3111500"/>
              <a:gd name="connsiteX71" fmla="*/ 2368550 w 5708650"/>
              <a:gd name="connsiteY71" fmla="*/ 1847850 h 3111500"/>
              <a:gd name="connsiteX72" fmla="*/ 2387600 w 5708650"/>
              <a:gd name="connsiteY72" fmla="*/ 1841500 h 3111500"/>
              <a:gd name="connsiteX73" fmla="*/ 2425700 w 5708650"/>
              <a:gd name="connsiteY73" fmla="*/ 1816100 h 3111500"/>
              <a:gd name="connsiteX74" fmla="*/ 2476500 w 5708650"/>
              <a:gd name="connsiteY74" fmla="*/ 1803400 h 3111500"/>
              <a:gd name="connsiteX75" fmla="*/ 2495550 w 5708650"/>
              <a:gd name="connsiteY75" fmla="*/ 1784350 h 3111500"/>
              <a:gd name="connsiteX76" fmla="*/ 2514600 w 5708650"/>
              <a:gd name="connsiteY76" fmla="*/ 1778000 h 3111500"/>
              <a:gd name="connsiteX77" fmla="*/ 2546350 w 5708650"/>
              <a:gd name="connsiteY77" fmla="*/ 1752600 h 3111500"/>
              <a:gd name="connsiteX78" fmla="*/ 2565400 w 5708650"/>
              <a:gd name="connsiteY78" fmla="*/ 1733550 h 3111500"/>
              <a:gd name="connsiteX79" fmla="*/ 2584450 w 5708650"/>
              <a:gd name="connsiteY79" fmla="*/ 1720850 h 3111500"/>
              <a:gd name="connsiteX80" fmla="*/ 2616200 w 5708650"/>
              <a:gd name="connsiteY80" fmla="*/ 1689100 h 3111500"/>
              <a:gd name="connsiteX81" fmla="*/ 2679700 w 5708650"/>
              <a:gd name="connsiteY81" fmla="*/ 1676400 h 3111500"/>
              <a:gd name="connsiteX82" fmla="*/ 2698750 w 5708650"/>
              <a:gd name="connsiteY82" fmla="*/ 1670050 h 3111500"/>
              <a:gd name="connsiteX83" fmla="*/ 2755900 w 5708650"/>
              <a:gd name="connsiteY83" fmla="*/ 1663700 h 3111500"/>
              <a:gd name="connsiteX84" fmla="*/ 2851150 w 5708650"/>
              <a:gd name="connsiteY84" fmla="*/ 1600200 h 3111500"/>
              <a:gd name="connsiteX85" fmla="*/ 2882900 w 5708650"/>
              <a:gd name="connsiteY85" fmla="*/ 1555750 h 3111500"/>
              <a:gd name="connsiteX86" fmla="*/ 2901950 w 5708650"/>
              <a:gd name="connsiteY86" fmla="*/ 1549400 h 3111500"/>
              <a:gd name="connsiteX87" fmla="*/ 2940050 w 5708650"/>
              <a:gd name="connsiteY87" fmla="*/ 1517650 h 3111500"/>
              <a:gd name="connsiteX88" fmla="*/ 2965450 w 5708650"/>
              <a:gd name="connsiteY88" fmla="*/ 1511300 h 3111500"/>
              <a:gd name="connsiteX89" fmla="*/ 3003550 w 5708650"/>
              <a:gd name="connsiteY89" fmla="*/ 1498600 h 3111500"/>
              <a:gd name="connsiteX90" fmla="*/ 3041650 w 5708650"/>
              <a:gd name="connsiteY90" fmla="*/ 1466850 h 3111500"/>
              <a:gd name="connsiteX91" fmla="*/ 3092450 w 5708650"/>
              <a:gd name="connsiteY91" fmla="*/ 1454150 h 3111500"/>
              <a:gd name="connsiteX92" fmla="*/ 3111500 w 5708650"/>
              <a:gd name="connsiteY92" fmla="*/ 1441450 h 3111500"/>
              <a:gd name="connsiteX93" fmla="*/ 3117850 w 5708650"/>
              <a:gd name="connsiteY93" fmla="*/ 1422400 h 3111500"/>
              <a:gd name="connsiteX94" fmla="*/ 3143250 w 5708650"/>
              <a:gd name="connsiteY94" fmla="*/ 1409700 h 3111500"/>
              <a:gd name="connsiteX95" fmla="*/ 3181350 w 5708650"/>
              <a:gd name="connsiteY95" fmla="*/ 1397000 h 3111500"/>
              <a:gd name="connsiteX96" fmla="*/ 3200400 w 5708650"/>
              <a:gd name="connsiteY96" fmla="*/ 1390650 h 3111500"/>
              <a:gd name="connsiteX97" fmla="*/ 3219450 w 5708650"/>
              <a:gd name="connsiteY97" fmla="*/ 1384300 h 3111500"/>
              <a:gd name="connsiteX98" fmla="*/ 3244850 w 5708650"/>
              <a:gd name="connsiteY98" fmla="*/ 1377950 h 3111500"/>
              <a:gd name="connsiteX99" fmla="*/ 3282950 w 5708650"/>
              <a:gd name="connsiteY99" fmla="*/ 1358900 h 3111500"/>
              <a:gd name="connsiteX100" fmla="*/ 3340100 w 5708650"/>
              <a:gd name="connsiteY100" fmla="*/ 1346200 h 3111500"/>
              <a:gd name="connsiteX101" fmla="*/ 3359150 w 5708650"/>
              <a:gd name="connsiteY101" fmla="*/ 1333500 h 3111500"/>
              <a:gd name="connsiteX102" fmla="*/ 3397250 w 5708650"/>
              <a:gd name="connsiteY102" fmla="*/ 1320800 h 3111500"/>
              <a:gd name="connsiteX103" fmla="*/ 3435350 w 5708650"/>
              <a:gd name="connsiteY103" fmla="*/ 1301750 h 3111500"/>
              <a:gd name="connsiteX104" fmla="*/ 3473450 w 5708650"/>
              <a:gd name="connsiteY104" fmla="*/ 1282700 h 3111500"/>
              <a:gd name="connsiteX105" fmla="*/ 3530600 w 5708650"/>
              <a:gd name="connsiteY105" fmla="*/ 1238250 h 3111500"/>
              <a:gd name="connsiteX106" fmla="*/ 3575050 w 5708650"/>
              <a:gd name="connsiteY106" fmla="*/ 1231900 h 3111500"/>
              <a:gd name="connsiteX107" fmla="*/ 3613150 w 5708650"/>
              <a:gd name="connsiteY107" fmla="*/ 1206500 h 3111500"/>
              <a:gd name="connsiteX108" fmla="*/ 3632200 w 5708650"/>
              <a:gd name="connsiteY108" fmla="*/ 1200150 h 3111500"/>
              <a:gd name="connsiteX109" fmla="*/ 3676650 w 5708650"/>
              <a:gd name="connsiteY109" fmla="*/ 1187450 h 3111500"/>
              <a:gd name="connsiteX110" fmla="*/ 3695700 w 5708650"/>
              <a:gd name="connsiteY110" fmla="*/ 1174750 h 3111500"/>
              <a:gd name="connsiteX111" fmla="*/ 3721100 w 5708650"/>
              <a:gd name="connsiteY111" fmla="*/ 1168400 h 3111500"/>
              <a:gd name="connsiteX112" fmla="*/ 3759200 w 5708650"/>
              <a:gd name="connsiteY112" fmla="*/ 1155700 h 3111500"/>
              <a:gd name="connsiteX113" fmla="*/ 3771900 w 5708650"/>
              <a:gd name="connsiteY113" fmla="*/ 1136650 h 3111500"/>
              <a:gd name="connsiteX114" fmla="*/ 3810000 w 5708650"/>
              <a:gd name="connsiteY114" fmla="*/ 1104900 h 3111500"/>
              <a:gd name="connsiteX115" fmla="*/ 3822700 w 5708650"/>
              <a:gd name="connsiteY115" fmla="*/ 1085850 h 3111500"/>
              <a:gd name="connsiteX116" fmla="*/ 3860800 w 5708650"/>
              <a:gd name="connsiteY116" fmla="*/ 1066800 h 3111500"/>
              <a:gd name="connsiteX117" fmla="*/ 3917950 w 5708650"/>
              <a:gd name="connsiteY117" fmla="*/ 1028700 h 3111500"/>
              <a:gd name="connsiteX118" fmla="*/ 3937000 w 5708650"/>
              <a:gd name="connsiteY118" fmla="*/ 1016000 h 3111500"/>
              <a:gd name="connsiteX119" fmla="*/ 3975100 w 5708650"/>
              <a:gd name="connsiteY119" fmla="*/ 1003300 h 3111500"/>
              <a:gd name="connsiteX120" fmla="*/ 3994150 w 5708650"/>
              <a:gd name="connsiteY120" fmla="*/ 990600 h 3111500"/>
              <a:gd name="connsiteX121" fmla="*/ 4025900 w 5708650"/>
              <a:gd name="connsiteY121" fmla="*/ 984250 h 3111500"/>
              <a:gd name="connsiteX122" fmla="*/ 4064000 w 5708650"/>
              <a:gd name="connsiteY122" fmla="*/ 971550 h 3111500"/>
              <a:gd name="connsiteX123" fmla="*/ 4076700 w 5708650"/>
              <a:gd name="connsiteY123" fmla="*/ 952500 h 3111500"/>
              <a:gd name="connsiteX124" fmla="*/ 4089400 w 5708650"/>
              <a:gd name="connsiteY124" fmla="*/ 914400 h 3111500"/>
              <a:gd name="connsiteX125" fmla="*/ 4108450 w 5708650"/>
              <a:gd name="connsiteY125" fmla="*/ 901700 h 3111500"/>
              <a:gd name="connsiteX126" fmla="*/ 4121150 w 5708650"/>
              <a:gd name="connsiteY126" fmla="*/ 882650 h 3111500"/>
              <a:gd name="connsiteX127" fmla="*/ 4140200 w 5708650"/>
              <a:gd name="connsiteY127" fmla="*/ 876300 h 3111500"/>
              <a:gd name="connsiteX128" fmla="*/ 4159250 w 5708650"/>
              <a:gd name="connsiteY128" fmla="*/ 863600 h 3111500"/>
              <a:gd name="connsiteX129" fmla="*/ 4171950 w 5708650"/>
              <a:gd name="connsiteY129" fmla="*/ 844550 h 3111500"/>
              <a:gd name="connsiteX130" fmla="*/ 4178300 w 5708650"/>
              <a:gd name="connsiteY130" fmla="*/ 825500 h 3111500"/>
              <a:gd name="connsiteX131" fmla="*/ 4197350 w 5708650"/>
              <a:gd name="connsiteY131" fmla="*/ 812800 h 3111500"/>
              <a:gd name="connsiteX132" fmla="*/ 4235450 w 5708650"/>
              <a:gd name="connsiteY132" fmla="*/ 787400 h 3111500"/>
              <a:gd name="connsiteX133" fmla="*/ 4273550 w 5708650"/>
              <a:gd name="connsiteY133" fmla="*/ 749300 h 3111500"/>
              <a:gd name="connsiteX134" fmla="*/ 4330700 w 5708650"/>
              <a:gd name="connsiteY134" fmla="*/ 742950 h 3111500"/>
              <a:gd name="connsiteX135" fmla="*/ 4394200 w 5708650"/>
              <a:gd name="connsiteY135" fmla="*/ 730250 h 3111500"/>
              <a:gd name="connsiteX136" fmla="*/ 4438650 w 5708650"/>
              <a:gd name="connsiteY136" fmla="*/ 723900 h 3111500"/>
              <a:gd name="connsiteX137" fmla="*/ 4470400 w 5708650"/>
              <a:gd name="connsiteY137" fmla="*/ 698500 h 3111500"/>
              <a:gd name="connsiteX138" fmla="*/ 4521200 w 5708650"/>
              <a:gd name="connsiteY138" fmla="*/ 679450 h 3111500"/>
              <a:gd name="connsiteX139" fmla="*/ 4559300 w 5708650"/>
              <a:gd name="connsiteY139" fmla="*/ 666750 h 3111500"/>
              <a:gd name="connsiteX140" fmla="*/ 4597400 w 5708650"/>
              <a:gd name="connsiteY140" fmla="*/ 641350 h 3111500"/>
              <a:gd name="connsiteX141" fmla="*/ 4635500 w 5708650"/>
              <a:gd name="connsiteY141" fmla="*/ 628650 h 3111500"/>
              <a:gd name="connsiteX142" fmla="*/ 4654550 w 5708650"/>
              <a:gd name="connsiteY142" fmla="*/ 622300 h 3111500"/>
              <a:gd name="connsiteX143" fmla="*/ 4673600 w 5708650"/>
              <a:gd name="connsiteY143" fmla="*/ 609600 h 3111500"/>
              <a:gd name="connsiteX144" fmla="*/ 4711700 w 5708650"/>
              <a:gd name="connsiteY144" fmla="*/ 596900 h 3111500"/>
              <a:gd name="connsiteX145" fmla="*/ 4724400 w 5708650"/>
              <a:gd name="connsiteY145" fmla="*/ 577850 h 3111500"/>
              <a:gd name="connsiteX146" fmla="*/ 4762500 w 5708650"/>
              <a:gd name="connsiteY146" fmla="*/ 552450 h 3111500"/>
              <a:gd name="connsiteX147" fmla="*/ 4775200 w 5708650"/>
              <a:gd name="connsiteY147" fmla="*/ 508000 h 3111500"/>
              <a:gd name="connsiteX148" fmla="*/ 4794250 w 5708650"/>
              <a:gd name="connsiteY148" fmla="*/ 495300 h 3111500"/>
              <a:gd name="connsiteX149" fmla="*/ 4819650 w 5708650"/>
              <a:gd name="connsiteY149" fmla="*/ 476250 h 3111500"/>
              <a:gd name="connsiteX150" fmla="*/ 4851400 w 5708650"/>
              <a:gd name="connsiteY150" fmla="*/ 438150 h 3111500"/>
              <a:gd name="connsiteX151" fmla="*/ 4984750 w 5708650"/>
              <a:gd name="connsiteY151" fmla="*/ 431800 h 3111500"/>
              <a:gd name="connsiteX152" fmla="*/ 5003800 w 5708650"/>
              <a:gd name="connsiteY152" fmla="*/ 425450 h 3111500"/>
              <a:gd name="connsiteX153" fmla="*/ 5022850 w 5708650"/>
              <a:gd name="connsiteY153" fmla="*/ 412750 h 3111500"/>
              <a:gd name="connsiteX154" fmla="*/ 5080000 w 5708650"/>
              <a:gd name="connsiteY154" fmla="*/ 387350 h 3111500"/>
              <a:gd name="connsiteX155" fmla="*/ 5092700 w 5708650"/>
              <a:gd name="connsiteY155" fmla="*/ 368300 h 3111500"/>
              <a:gd name="connsiteX156" fmla="*/ 5111750 w 5708650"/>
              <a:gd name="connsiteY156" fmla="*/ 361950 h 3111500"/>
              <a:gd name="connsiteX157" fmla="*/ 5130800 w 5708650"/>
              <a:gd name="connsiteY157" fmla="*/ 349250 h 3111500"/>
              <a:gd name="connsiteX158" fmla="*/ 5137150 w 5708650"/>
              <a:gd name="connsiteY158" fmla="*/ 330200 h 3111500"/>
              <a:gd name="connsiteX159" fmla="*/ 5181600 w 5708650"/>
              <a:gd name="connsiteY159" fmla="*/ 317500 h 3111500"/>
              <a:gd name="connsiteX160" fmla="*/ 5200650 w 5708650"/>
              <a:gd name="connsiteY160" fmla="*/ 304800 h 3111500"/>
              <a:gd name="connsiteX161" fmla="*/ 5213350 w 5708650"/>
              <a:gd name="connsiteY161" fmla="*/ 266700 h 3111500"/>
              <a:gd name="connsiteX162" fmla="*/ 5251450 w 5708650"/>
              <a:gd name="connsiteY162" fmla="*/ 260350 h 3111500"/>
              <a:gd name="connsiteX163" fmla="*/ 5270500 w 5708650"/>
              <a:gd name="connsiteY163" fmla="*/ 254000 h 3111500"/>
              <a:gd name="connsiteX164" fmla="*/ 5308600 w 5708650"/>
              <a:gd name="connsiteY164" fmla="*/ 247650 h 3111500"/>
              <a:gd name="connsiteX165" fmla="*/ 5346700 w 5708650"/>
              <a:gd name="connsiteY165" fmla="*/ 234950 h 3111500"/>
              <a:gd name="connsiteX166" fmla="*/ 5372100 w 5708650"/>
              <a:gd name="connsiteY166" fmla="*/ 228600 h 3111500"/>
              <a:gd name="connsiteX167" fmla="*/ 5384800 w 5708650"/>
              <a:gd name="connsiteY167" fmla="*/ 209550 h 3111500"/>
              <a:gd name="connsiteX168" fmla="*/ 5403850 w 5708650"/>
              <a:gd name="connsiteY168" fmla="*/ 203200 h 3111500"/>
              <a:gd name="connsiteX169" fmla="*/ 5410200 w 5708650"/>
              <a:gd name="connsiteY169" fmla="*/ 184150 h 3111500"/>
              <a:gd name="connsiteX170" fmla="*/ 5429250 w 5708650"/>
              <a:gd name="connsiteY170" fmla="*/ 177800 h 3111500"/>
              <a:gd name="connsiteX171" fmla="*/ 5467350 w 5708650"/>
              <a:gd name="connsiteY171" fmla="*/ 158750 h 3111500"/>
              <a:gd name="connsiteX172" fmla="*/ 5480050 w 5708650"/>
              <a:gd name="connsiteY172" fmla="*/ 139700 h 3111500"/>
              <a:gd name="connsiteX173" fmla="*/ 5486400 w 5708650"/>
              <a:gd name="connsiteY173" fmla="*/ 107950 h 3111500"/>
              <a:gd name="connsiteX174" fmla="*/ 5537200 w 5708650"/>
              <a:gd name="connsiteY174" fmla="*/ 101600 h 3111500"/>
              <a:gd name="connsiteX175" fmla="*/ 5543550 w 5708650"/>
              <a:gd name="connsiteY175" fmla="*/ 76200 h 3111500"/>
              <a:gd name="connsiteX176" fmla="*/ 5562600 w 5708650"/>
              <a:gd name="connsiteY176" fmla="*/ 82550 h 3111500"/>
              <a:gd name="connsiteX177" fmla="*/ 5594350 w 5708650"/>
              <a:gd name="connsiteY177" fmla="*/ 95250 h 3111500"/>
              <a:gd name="connsiteX178" fmla="*/ 5664200 w 5708650"/>
              <a:gd name="connsiteY178" fmla="*/ 88900 h 3111500"/>
              <a:gd name="connsiteX179" fmla="*/ 5708650 w 5708650"/>
              <a:gd name="connsiteY179" fmla="*/ 82550 h 3111500"/>
              <a:gd name="connsiteX180" fmla="*/ 5702300 w 5708650"/>
              <a:gd name="connsiteY180"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651000 w 5708650"/>
              <a:gd name="connsiteY48" fmla="*/ 2298700 h 3111500"/>
              <a:gd name="connsiteX49" fmla="*/ 1752600 w 5708650"/>
              <a:gd name="connsiteY49" fmla="*/ 2235200 h 3111500"/>
              <a:gd name="connsiteX50" fmla="*/ 1797050 w 5708650"/>
              <a:gd name="connsiteY50" fmla="*/ 2203450 h 3111500"/>
              <a:gd name="connsiteX51" fmla="*/ 1828800 w 5708650"/>
              <a:gd name="connsiteY51" fmla="*/ 2197100 h 3111500"/>
              <a:gd name="connsiteX52" fmla="*/ 1847850 w 5708650"/>
              <a:gd name="connsiteY52" fmla="*/ 2190750 h 3111500"/>
              <a:gd name="connsiteX53" fmla="*/ 1860550 w 5708650"/>
              <a:gd name="connsiteY53" fmla="*/ 2152650 h 3111500"/>
              <a:gd name="connsiteX54" fmla="*/ 1866900 w 5708650"/>
              <a:gd name="connsiteY54" fmla="*/ 2120900 h 3111500"/>
              <a:gd name="connsiteX55" fmla="*/ 1885950 w 5708650"/>
              <a:gd name="connsiteY55" fmla="*/ 2108200 h 3111500"/>
              <a:gd name="connsiteX56" fmla="*/ 1930400 w 5708650"/>
              <a:gd name="connsiteY56" fmla="*/ 2101850 h 3111500"/>
              <a:gd name="connsiteX57" fmla="*/ 1955800 w 5708650"/>
              <a:gd name="connsiteY57" fmla="*/ 2095500 h 3111500"/>
              <a:gd name="connsiteX58" fmla="*/ 1962150 w 5708650"/>
              <a:gd name="connsiteY58" fmla="*/ 2070100 h 3111500"/>
              <a:gd name="connsiteX59" fmla="*/ 2000250 w 5708650"/>
              <a:gd name="connsiteY59" fmla="*/ 2044700 h 3111500"/>
              <a:gd name="connsiteX60" fmla="*/ 2063750 w 5708650"/>
              <a:gd name="connsiteY60" fmla="*/ 2025650 h 3111500"/>
              <a:gd name="connsiteX61" fmla="*/ 2082800 w 5708650"/>
              <a:gd name="connsiteY61" fmla="*/ 2019300 h 3111500"/>
              <a:gd name="connsiteX62" fmla="*/ 2108200 w 5708650"/>
              <a:gd name="connsiteY62" fmla="*/ 2006600 h 3111500"/>
              <a:gd name="connsiteX63" fmla="*/ 2139950 w 5708650"/>
              <a:gd name="connsiteY63" fmla="*/ 2000250 h 3111500"/>
              <a:gd name="connsiteX64" fmla="*/ 2165350 w 5708650"/>
              <a:gd name="connsiteY64" fmla="*/ 1987550 h 3111500"/>
              <a:gd name="connsiteX65" fmla="*/ 2184400 w 5708650"/>
              <a:gd name="connsiteY65" fmla="*/ 1981200 h 3111500"/>
              <a:gd name="connsiteX66" fmla="*/ 2190750 w 5708650"/>
              <a:gd name="connsiteY66" fmla="*/ 1955800 h 3111500"/>
              <a:gd name="connsiteX67" fmla="*/ 2209800 w 5708650"/>
              <a:gd name="connsiteY67" fmla="*/ 1936750 h 3111500"/>
              <a:gd name="connsiteX68" fmla="*/ 2254250 w 5708650"/>
              <a:gd name="connsiteY68" fmla="*/ 1905000 h 3111500"/>
              <a:gd name="connsiteX69" fmla="*/ 2298700 w 5708650"/>
              <a:gd name="connsiteY69" fmla="*/ 1873250 h 3111500"/>
              <a:gd name="connsiteX70" fmla="*/ 2349500 w 5708650"/>
              <a:gd name="connsiteY70" fmla="*/ 1860550 h 3111500"/>
              <a:gd name="connsiteX71" fmla="*/ 2368550 w 5708650"/>
              <a:gd name="connsiteY71" fmla="*/ 1847850 h 3111500"/>
              <a:gd name="connsiteX72" fmla="*/ 2387600 w 5708650"/>
              <a:gd name="connsiteY72" fmla="*/ 1841500 h 3111500"/>
              <a:gd name="connsiteX73" fmla="*/ 2425700 w 5708650"/>
              <a:gd name="connsiteY73" fmla="*/ 1816100 h 3111500"/>
              <a:gd name="connsiteX74" fmla="*/ 2476500 w 5708650"/>
              <a:gd name="connsiteY74" fmla="*/ 1803400 h 3111500"/>
              <a:gd name="connsiteX75" fmla="*/ 2495550 w 5708650"/>
              <a:gd name="connsiteY75" fmla="*/ 1784350 h 3111500"/>
              <a:gd name="connsiteX76" fmla="*/ 2514600 w 5708650"/>
              <a:gd name="connsiteY76" fmla="*/ 1778000 h 3111500"/>
              <a:gd name="connsiteX77" fmla="*/ 2546350 w 5708650"/>
              <a:gd name="connsiteY77" fmla="*/ 1752600 h 3111500"/>
              <a:gd name="connsiteX78" fmla="*/ 2565400 w 5708650"/>
              <a:gd name="connsiteY78" fmla="*/ 1733550 h 3111500"/>
              <a:gd name="connsiteX79" fmla="*/ 2584450 w 5708650"/>
              <a:gd name="connsiteY79" fmla="*/ 1720850 h 3111500"/>
              <a:gd name="connsiteX80" fmla="*/ 2616200 w 5708650"/>
              <a:gd name="connsiteY80" fmla="*/ 1689100 h 3111500"/>
              <a:gd name="connsiteX81" fmla="*/ 2679700 w 5708650"/>
              <a:gd name="connsiteY81" fmla="*/ 1676400 h 3111500"/>
              <a:gd name="connsiteX82" fmla="*/ 2698750 w 5708650"/>
              <a:gd name="connsiteY82" fmla="*/ 1670050 h 3111500"/>
              <a:gd name="connsiteX83" fmla="*/ 2755900 w 5708650"/>
              <a:gd name="connsiteY83" fmla="*/ 1663700 h 3111500"/>
              <a:gd name="connsiteX84" fmla="*/ 2851150 w 5708650"/>
              <a:gd name="connsiteY84" fmla="*/ 1600200 h 3111500"/>
              <a:gd name="connsiteX85" fmla="*/ 2882900 w 5708650"/>
              <a:gd name="connsiteY85" fmla="*/ 1555750 h 3111500"/>
              <a:gd name="connsiteX86" fmla="*/ 2901950 w 5708650"/>
              <a:gd name="connsiteY86" fmla="*/ 1549400 h 3111500"/>
              <a:gd name="connsiteX87" fmla="*/ 2940050 w 5708650"/>
              <a:gd name="connsiteY87" fmla="*/ 1517650 h 3111500"/>
              <a:gd name="connsiteX88" fmla="*/ 2965450 w 5708650"/>
              <a:gd name="connsiteY88" fmla="*/ 1511300 h 3111500"/>
              <a:gd name="connsiteX89" fmla="*/ 3003550 w 5708650"/>
              <a:gd name="connsiteY89" fmla="*/ 1498600 h 3111500"/>
              <a:gd name="connsiteX90" fmla="*/ 3041650 w 5708650"/>
              <a:gd name="connsiteY90" fmla="*/ 1466850 h 3111500"/>
              <a:gd name="connsiteX91" fmla="*/ 3092450 w 5708650"/>
              <a:gd name="connsiteY91" fmla="*/ 1454150 h 3111500"/>
              <a:gd name="connsiteX92" fmla="*/ 3111500 w 5708650"/>
              <a:gd name="connsiteY92" fmla="*/ 1441450 h 3111500"/>
              <a:gd name="connsiteX93" fmla="*/ 3117850 w 5708650"/>
              <a:gd name="connsiteY93" fmla="*/ 1422400 h 3111500"/>
              <a:gd name="connsiteX94" fmla="*/ 3143250 w 5708650"/>
              <a:gd name="connsiteY94" fmla="*/ 1409700 h 3111500"/>
              <a:gd name="connsiteX95" fmla="*/ 3181350 w 5708650"/>
              <a:gd name="connsiteY95" fmla="*/ 1397000 h 3111500"/>
              <a:gd name="connsiteX96" fmla="*/ 3200400 w 5708650"/>
              <a:gd name="connsiteY96" fmla="*/ 1390650 h 3111500"/>
              <a:gd name="connsiteX97" fmla="*/ 3219450 w 5708650"/>
              <a:gd name="connsiteY97" fmla="*/ 1384300 h 3111500"/>
              <a:gd name="connsiteX98" fmla="*/ 3244850 w 5708650"/>
              <a:gd name="connsiteY98" fmla="*/ 1377950 h 3111500"/>
              <a:gd name="connsiteX99" fmla="*/ 3282950 w 5708650"/>
              <a:gd name="connsiteY99" fmla="*/ 1358900 h 3111500"/>
              <a:gd name="connsiteX100" fmla="*/ 3340100 w 5708650"/>
              <a:gd name="connsiteY100" fmla="*/ 1346200 h 3111500"/>
              <a:gd name="connsiteX101" fmla="*/ 3359150 w 5708650"/>
              <a:gd name="connsiteY101" fmla="*/ 1333500 h 3111500"/>
              <a:gd name="connsiteX102" fmla="*/ 3397250 w 5708650"/>
              <a:gd name="connsiteY102" fmla="*/ 1320800 h 3111500"/>
              <a:gd name="connsiteX103" fmla="*/ 3435350 w 5708650"/>
              <a:gd name="connsiteY103" fmla="*/ 1301750 h 3111500"/>
              <a:gd name="connsiteX104" fmla="*/ 3473450 w 5708650"/>
              <a:gd name="connsiteY104" fmla="*/ 1282700 h 3111500"/>
              <a:gd name="connsiteX105" fmla="*/ 3530600 w 5708650"/>
              <a:gd name="connsiteY105" fmla="*/ 1238250 h 3111500"/>
              <a:gd name="connsiteX106" fmla="*/ 3575050 w 5708650"/>
              <a:gd name="connsiteY106" fmla="*/ 1231900 h 3111500"/>
              <a:gd name="connsiteX107" fmla="*/ 3613150 w 5708650"/>
              <a:gd name="connsiteY107" fmla="*/ 1206500 h 3111500"/>
              <a:gd name="connsiteX108" fmla="*/ 3632200 w 5708650"/>
              <a:gd name="connsiteY108" fmla="*/ 1200150 h 3111500"/>
              <a:gd name="connsiteX109" fmla="*/ 3676650 w 5708650"/>
              <a:gd name="connsiteY109" fmla="*/ 1187450 h 3111500"/>
              <a:gd name="connsiteX110" fmla="*/ 3695700 w 5708650"/>
              <a:gd name="connsiteY110" fmla="*/ 1174750 h 3111500"/>
              <a:gd name="connsiteX111" fmla="*/ 3721100 w 5708650"/>
              <a:gd name="connsiteY111" fmla="*/ 1168400 h 3111500"/>
              <a:gd name="connsiteX112" fmla="*/ 3759200 w 5708650"/>
              <a:gd name="connsiteY112" fmla="*/ 1155700 h 3111500"/>
              <a:gd name="connsiteX113" fmla="*/ 3771900 w 5708650"/>
              <a:gd name="connsiteY113" fmla="*/ 1136650 h 3111500"/>
              <a:gd name="connsiteX114" fmla="*/ 3810000 w 5708650"/>
              <a:gd name="connsiteY114" fmla="*/ 1104900 h 3111500"/>
              <a:gd name="connsiteX115" fmla="*/ 3822700 w 5708650"/>
              <a:gd name="connsiteY115" fmla="*/ 1085850 h 3111500"/>
              <a:gd name="connsiteX116" fmla="*/ 3860800 w 5708650"/>
              <a:gd name="connsiteY116" fmla="*/ 1066800 h 3111500"/>
              <a:gd name="connsiteX117" fmla="*/ 3917950 w 5708650"/>
              <a:gd name="connsiteY117" fmla="*/ 1028700 h 3111500"/>
              <a:gd name="connsiteX118" fmla="*/ 3937000 w 5708650"/>
              <a:gd name="connsiteY118" fmla="*/ 1016000 h 3111500"/>
              <a:gd name="connsiteX119" fmla="*/ 3975100 w 5708650"/>
              <a:gd name="connsiteY119" fmla="*/ 1003300 h 3111500"/>
              <a:gd name="connsiteX120" fmla="*/ 3994150 w 5708650"/>
              <a:gd name="connsiteY120" fmla="*/ 990600 h 3111500"/>
              <a:gd name="connsiteX121" fmla="*/ 4025900 w 5708650"/>
              <a:gd name="connsiteY121" fmla="*/ 984250 h 3111500"/>
              <a:gd name="connsiteX122" fmla="*/ 4064000 w 5708650"/>
              <a:gd name="connsiteY122" fmla="*/ 971550 h 3111500"/>
              <a:gd name="connsiteX123" fmla="*/ 4076700 w 5708650"/>
              <a:gd name="connsiteY123" fmla="*/ 952500 h 3111500"/>
              <a:gd name="connsiteX124" fmla="*/ 4089400 w 5708650"/>
              <a:gd name="connsiteY124" fmla="*/ 914400 h 3111500"/>
              <a:gd name="connsiteX125" fmla="*/ 4108450 w 5708650"/>
              <a:gd name="connsiteY125" fmla="*/ 901700 h 3111500"/>
              <a:gd name="connsiteX126" fmla="*/ 4121150 w 5708650"/>
              <a:gd name="connsiteY126" fmla="*/ 882650 h 3111500"/>
              <a:gd name="connsiteX127" fmla="*/ 4140200 w 5708650"/>
              <a:gd name="connsiteY127" fmla="*/ 876300 h 3111500"/>
              <a:gd name="connsiteX128" fmla="*/ 4159250 w 5708650"/>
              <a:gd name="connsiteY128" fmla="*/ 863600 h 3111500"/>
              <a:gd name="connsiteX129" fmla="*/ 4171950 w 5708650"/>
              <a:gd name="connsiteY129" fmla="*/ 844550 h 3111500"/>
              <a:gd name="connsiteX130" fmla="*/ 4178300 w 5708650"/>
              <a:gd name="connsiteY130" fmla="*/ 825500 h 3111500"/>
              <a:gd name="connsiteX131" fmla="*/ 4197350 w 5708650"/>
              <a:gd name="connsiteY131" fmla="*/ 812800 h 3111500"/>
              <a:gd name="connsiteX132" fmla="*/ 4235450 w 5708650"/>
              <a:gd name="connsiteY132" fmla="*/ 787400 h 3111500"/>
              <a:gd name="connsiteX133" fmla="*/ 4273550 w 5708650"/>
              <a:gd name="connsiteY133" fmla="*/ 749300 h 3111500"/>
              <a:gd name="connsiteX134" fmla="*/ 4330700 w 5708650"/>
              <a:gd name="connsiteY134" fmla="*/ 742950 h 3111500"/>
              <a:gd name="connsiteX135" fmla="*/ 4394200 w 5708650"/>
              <a:gd name="connsiteY135" fmla="*/ 730250 h 3111500"/>
              <a:gd name="connsiteX136" fmla="*/ 4438650 w 5708650"/>
              <a:gd name="connsiteY136" fmla="*/ 723900 h 3111500"/>
              <a:gd name="connsiteX137" fmla="*/ 4470400 w 5708650"/>
              <a:gd name="connsiteY137" fmla="*/ 698500 h 3111500"/>
              <a:gd name="connsiteX138" fmla="*/ 4521200 w 5708650"/>
              <a:gd name="connsiteY138" fmla="*/ 679450 h 3111500"/>
              <a:gd name="connsiteX139" fmla="*/ 4559300 w 5708650"/>
              <a:gd name="connsiteY139" fmla="*/ 666750 h 3111500"/>
              <a:gd name="connsiteX140" fmla="*/ 4597400 w 5708650"/>
              <a:gd name="connsiteY140" fmla="*/ 641350 h 3111500"/>
              <a:gd name="connsiteX141" fmla="*/ 4635500 w 5708650"/>
              <a:gd name="connsiteY141" fmla="*/ 628650 h 3111500"/>
              <a:gd name="connsiteX142" fmla="*/ 4654550 w 5708650"/>
              <a:gd name="connsiteY142" fmla="*/ 622300 h 3111500"/>
              <a:gd name="connsiteX143" fmla="*/ 4673600 w 5708650"/>
              <a:gd name="connsiteY143" fmla="*/ 609600 h 3111500"/>
              <a:gd name="connsiteX144" fmla="*/ 4711700 w 5708650"/>
              <a:gd name="connsiteY144" fmla="*/ 596900 h 3111500"/>
              <a:gd name="connsiteX145" fmla="*/ 4724400 w 5708650"/>
              <a:gd name="connsiteY145" fmla="*/ 577850 h 3111500"/>
              <a:gd name="connsiteX146" fmla="*/ 4762500 w 5708650"/>
              <a:gd name="connsiteY146" fmla="*/ 552450 h 3111500"/>
              <a:gd name="connsiteX147" fmla="*/ 4775200 w 5708650"/>
              <a:gd name="connsiteY147" fmla="*/ 508000 h 3111500"/>
              <a:gd name="connsiteX148" fmla="*/ 4794250 w 5708650"/>
              <a:gd name="connsiteY148" fmla="*/ 495300 h 3111500"/>
              <a:gd name="connsiteX149" fmla="*/ 4819650 w 5708650"/>
              <a:gd name="connsiteY149" fmla="*/ 476250 h 3111500"/>
              <a:gd name="connsiteX150" fmla="*/ 4851400 w 5708650"/>
              <a:gd name="connsiteY150" fmla="*/ 438150 h 3111500"/>
              <a:gd name="connsiteX151" fmla="*/ 4984750 w 5708650"/>
              <a:gd name="connsiteY151" fmla="*/ 431800 h 3111500"/>
              <a:gd name="connsiteX152" fmla="*/ 5003800 w 5708650"/>
              <a:gd name="connsiteY152" fmla="*/ 425450 h 3111500"/>
              <a:gd name="connsiteX153" fmla="*/ 5022850 w 5708650"/>
              <a:gd name="connsiteY153" fmla="*/ 412750 h 3111500"/>
              <a:gd name="connsiteX154" fmla="*/ 5080000 w 5708650"/>
              <a:gd name="connsiteY154" fmla="*/ 387350 h 3111500"/>
              <a:gd name="connsiteX155" fmla="*/ 5092700 w 5708650"/>
              <a:gd name="connsiteY155" fmla="*/ 368300 h 3111500"/>
              <a:gd name="connsiteX156" fmla="*/ 5111750 w 5708650"/>
              <a:gd name="connsiteY156" fmla="*/ 361950 h 3111500"/>
              <a:gd name="connsiteX157" fmla="*/ 5130800 w 5708650"/>
              <a:gd name="connsiteY157" fmla="*/ 349250 h 3111500"/>
              <a:gd name="connsiteX158" fmla="*/ 5137150 w 5708650"/>
              <a:gd name="connsiteY158" fmla="*/ 330200 h 3111500"/>
              <a:gd name="connsiteX159" fmla="*/ 5181600 w 5708650"/>
              <a:gd name="connsiteY159" fmla="*/ 317500 h 3111500"/>
              <a:gd name="connsiteX160" fmla="*/ 5200650 w 5708650"/>
              <a:gd name="connsiteY160" fmla="*/ 304800 h 3111500"/>
              <a:gd name="connsiteX161" fmla="*/ 5213350 w 5708650"/>
              <a:gd name="connsiteY161" fmla="*/ 266700 h 3111500"/>
              <a:gd name="connsiteX162" fmla="*/ 5251450 w 5708650"/>
              <a:gd name="connsiteY162" fmla="*/ 260350 h 3111500"/>
              <a:gd name="connsiteX163" fmla="*/ 5270500 w 5708650"/>
              <a:gd name="connsiteY163" fmla="*/ 254000 h 3111500"/>
              <a:gd name="connsiteX164" fmla="*/ 5308600 w 5708650"/>
              <a:gd name="connsiteY164" fmla="*/ 247650 h 3111500"/>
              <a:gd name="connsiteX165" fmla="*/ 5346700 w 5708650"/>
              <a:gd name="connsiteY165" fmla="*/ 234950 h 3111500"/>
              <a:gd name="connsiteX166" fmla="*/ 5372100 w 5708650"/>
              <a:gd name="connsiteY166" fmla="*/ 228600 h 3111500"/>
              <a:gd name="connsiteX167" fmla="*/ 5384800 w 5708650"/>
              <a:gd name="connsiteY167" fmla="*/ 209550 h 3111500"/>
              <a:gd name="connsiteX168" fmla="*/ 5403850 w 5708650"/>
              <a:gd name="connsiteY168" fmla="*/ 203200 h 3111500"/>
              <a:gd name="connsiteX169" fmla="*/ 5410200 w 5708650"/>
              <a:gd name="connsiteY169" fmla="*/ 184150 h 3111500"/>
              <a:gd name="connsiteX170" fmla="*/ 5429250 w 5708650"/>
              <a:gd name="connsiteY170" fmla="*/ 177800 h 3111500"/>
              <a:gd name="connsiteX171" fmla="*/ 5467350 w 5708650"/>
              <a:gd name="connsiteY171" fmla="*/ 158750 h 3111500"/>
              <a:gd name="connsiteX172" fmla="*/ 5480050 w 5708650"/>
              <a:gd name="connsiteY172" fmla="*/ 139700 h 3111500"/>
              <a:gd name="connsiteX173" fmla="*/ 5486400 w 5708650"/>
              <a:gd name="connsiteY173" fmla="*/ 107950 h 3111500"/>
              <a:gd name="connsiteX174" fmla="*/ 5537200 w 5708650"/>
              <a:gd name="connsiteY174" fmla="*/ 101600 h 3111500"/>
              <a:gd name="connsiteX175" fmla="*/ 5543550 w 5708650"/>
              <a:gd name="connsiteY175" fmla="*/ 76200 h 3111500"/>
              <a:gd name="connsiteX176" fmla="*/ 5562600 w 5708650"/>
              <a:gd name="connsiteY176" fmla="*/ 82550 h 3111500"/>
              <a:gd name="connsiteX177" fmla="*/ 5594350 w 5708650"/>
              <a:gd name="connsiteY177" fmla="*/ 95250 h 3111500"/>
              <a:gd name="connsiteX178" fmla="*/ 5664200 w 5708650"/>
              <a:gd name="connsiteY178" fmla="*/ 88900 h 3111500"/>
              <a:gd name="connsiteX179" fmla="*/ 5708650 w 5708650"/>
              <a:gd name="connsiteY179" fmla="*/ 82550 h 3111500"/>
              <a:gd name="connsiteX180" fmla="*/ 5702300 w 5708650"/>
              <a:gd name="connsiteY180"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651000 w 5708650"/>
              <a:gd name="connsiteY48" fmla="*/ 2298700 h 3111500"/>
              <a:gd name="connsiteX49" fmla="*/ 1752600 w 5708650"/>
              <a:gd name="connsiteY49" fmla="*/ 2235200 h 3111500"/>
              <a:gd name="connsiteX50" fmla="*/ 1797050 w 5708650"/>
              <a:gd name="connsiteY50" fmla="*/ 2203450 h 3111500"/>
              <a:gd name="connsiteX51" fmla="*/ 1828800 w 5708650"/>
              <a:gd name="connsiteY51" fmla="*/ 2197100 h 3111500"/>
              <a:gd name="connsiteX52" fmla="*/ 1847850 w 5708650"/>
              <a:gd name="connsiteY52" fmla="*/ 2190750 h 3111500"/>
              <a:gd name="connsiteX53" fmla="*/ 1860550 w 5708650"/>
              <a:gd name="connsiteY53" fmla="*/ 2152650 h 3111500"/>
              <a:gd name="connsiteX54" fmla="*/ 1866900 w 5708650"/>
              <a:gd name="connsiteY54" fmla="*/ 2120900 h 3111500"/>
              <a:gd name="connsiteX55" fmla="*/ 1885950 w 5708650"/>
              <a:gd name="connsiteY55" fmla="*/ 2108200 h 3111500"/>
              <a:gd name="connsiteX56" fmla="*/ 1930400 w 5708650"/>
              <a:gd name="connsiteY56" fmla="*/ 2101850 h 3111500"/>
              <a:gd name="connsiteX57" fmla="*/ 1955800 w 5708650"/>
              <a:gd name="connsiteY57" fmla="*/ 2095500 h 3111500"/>
              <a:gd name="connsiteX58" fmla="*/ 1962150 w 5708650"/>
              <a:gd name="connsiteY58" fmla="*/ 2070100 h 3111500"/>
              <a:gd name="connsiteX59" fmla="*/ 2000250 w 5708650"/>
              <a:gd name="connsiteY59" fmla="*/ 2044700 h 3111500"/>
              <a:gd name="connsiteX60" fmla="*/ 2063750 w 5708650"/>
              <a:gd name="connsiteY60" fmla="*/ 2025650 h 3111500"/>
              <a:gd name="connsiteX61" fmla="*/ 2082800 w 5708650"/>
              <a:gd name="connsiteY61" fmla="*/ 2019300 h 3111500"/>
              <a:gd name="connsiteX62" fmla="*/ 2108200 w 5708650"/>
              <a:gd name="connsiteY62" fmla="*/ 2006600 h 3111500"/>
              <a:gd name="connsiteX63" fmla="*/ 2139950 w 5708650"/>
              <a:gd name="connsiteY63" fmla="*/ 2000250 h 3111500"/>
              <a:gd name="connsiteX64" fmla="*/ 2165350 w 5708650"/>
              <a:gd name="connsiteY64" fmla="*/ 1987550 h 3111500"/>
              <a:gd name="connsiteX65" fmla="*/ 2184400 w 5708650"/>
              <a:gd name="connsiteY65" fmla="*/ 1981200 h 3111500"/>
              <a:gd name="connsiteX66" fmla="*/ 2190750 w 5708650"/>
              <a:gd name="connsiteY66" fmla="*/ 1955800 h 3111500"/>
              <a:gd name="connsiteX67" fmla="*/ 2209800 w 5708650"/>
              <a:gd name="connsiteY67" fmla="*/ 1936750 h 3111500"/>
              <a:gd name="connsiteX68" fmla="*/ 2254250 w 5708650"/>
              <a:gd name="connsiteY68" fmla="*/ 1905000 h 3111500"/>
              <a:gd name="connsiteX69" fmla="*/ 2298700 w 5708650"/>
              <a:gd name="connsiteY69" fmla="*/ 1873250 h 3111500"/>
              <a:gd name="connsiteX70" fmla="*/ 2349500 w 5708650"/>
              <a:gd name="connsiteY70" fmla="*/ 1860550 h 3111500"/>
              <a:gd name="connsiteX71" fmla="*/ 2368550 w 5708650"/>
              <a:gd name="connsiteY71" fmla="*/ 1847850 h 3111500"/>
              <a:gd name="connsiteX72" fmla="*/ 2387600 w 5708650"/>
              <a:gd name="connsiteY72" fmla="*/ 1841500 h 3111500"/>
              <a:gd name="connsiteX73" fmla="*/ 2425700 w 5708650"/>
              <a:gd name="connsiteY73" fmla="*/ 1816100 h 3111500"/>
              <a:gd name="connsiteX74" fmla="*/ 2476500 w 5708650"/>
              <a:gd name="connsiteY74" fmla="*/ 1803400 h 3111500"/>
              <a:gd name="connsiteX75" fmla="*/ 2495550 w 5708650"/>
              <a:gd name="connsiteY75" fmla="*/ 1784350 h 3111500"/>
              <a:gd name="connsiteX76" fmla="*/ 2514600 w 5708650"/>
              <a:gd name="connsiteY76" fmla="*/ 1778000 h 3111500"/>
              <a:gd name="connsiteX77" fmla="*/ 2546350 w 5708650"/>
              <a:gd name="connsiteY77" fmla="*/ 1752600 h 3111500"/>
              <a:gd name="connsiteX78" fmla="*/ 2565400 w 5708650"/>
              <a:gd name="connsiteY78" fmla="*/ 1733550 h 3111500"/>
              <a:gd name="connsiteX79" fmla="*/ 2584450 w 5708650"/>
              <a:gd name="connsiteY79" fmla="*/ 1720850 h 3111500"/>
              <a:gd name="connsiteX80" fmla="*/ 2616200 w 5708650"/>
              <a:gd name="connsiteY80" fmla="*/ 1689100 h 3111500"/>
              <a:gd name="connsiteX81" fmla="*/ 2679700 w 5708650"/>
              <a:gd name="connsiteY81" fmla="*/ 1676400 h 3111500"/>
              <a:gd name="connsiteX82" fmla="*/ 2698750 w 5708650"/>
              <a:gd name="connsiteY82" fmla="*/ 1670050 h 3111500"/>
              <a:gd name="connsiteX83" fmla="*/ 2755900 w 5708650"/>
              <a:gd name="connsiteY83" fmla="*/ 1663700 h 3111500"/>
              <a:gd name="connsiteX84" fmla="*/ 2851150 w 5708650"/>
              <a:gd name="connsiteY84" fmla="*/ 1600200 h 3111500"/>
              <a:gd name="connsiteX85" fmla="*/ 2882900 w 5708650"/>
              <a:gd name="connsiteY85" fmla="*/ 1555750 h 3111500"/>
              <a:gd name="connsiteX86" fmla="*/ 2901950 w 5708650"/>
              <a:gd name="connsiteY86" fmla="*/ 1549400 h 3111500"/>
              <a:gd name="connsiteX87" fmla="*/ 2940050 w 5708650"/>
              <a:gd name="connsiteY87" fmla="*/ 1517650 h 3111500"/>
              <a:gd name="connsiteX88" fmla="*/ 2965450 w 5708650"/>
              <a:gd name="connsiteY88" fmla="*/ 1511300 h 3111500"/>
              <a:gd name="connsiteX89" fmla="*/ 3003550 w 5708650"/>
              <a:gd name="connsiteY89" fmla="*/ 1498600 h 3111500"/>
              <a:gd name="connsiteX90" fmla="*/ 3041650 w 5708650"/>
              <a:gd name="connsiteY90" fmla="*/ 1466850 h 3111500"/>
              <a:gd name="connsiteX91" fmla="*/ 3092450 w 5708650"/>
              <a:gd name="connsiteY91" fmla="*/ 1454150 h 3111500"/>
              <a:gd name="connsiteX92" fmla="*/ 3111500 w 5708650"/>
              <a:gd name="connsiteY92" fmla="*/ 1441450 h 3111500"/>
              <a:gd name="connsiteX93" fmla="*/ 3117850 w 5708650"/>
              <a:gd name="connsiteY93" fmla="*/ 1422400 h 3111500"/>
              <a:gd name="connsiteX94" fmla="*/ 3143250 w 5708650"/>
              <a:gd name="connsiteY94" fmla="*/ 1409700 h 3111500"/>
              <a:gd name="connsiteX95" fmla="*/ 3181350 w 5708650"/>
              <a:gd name="connsiteY95" fmla="*/ 1397000 h 3111500"/>
              <a:gd name="connsiteX96" fmla="*/ 3200400 w 5708650"/>
              <a:gd name="connsiteY96" fmla="*/ 1390650 h 3111500"/>
              <a:gd name="connsiteX97" fmla="*/ 3219450 w 5708650"/>
              <a:gd name="connsiteY97" fmla="*/ 1384300 h 3111500"/>
              <a:gd name="connsiteX98" fmla="*/ 3244850 w 5708650"/>
              <a:gd name="connsiteY98" fmla="*/ 1377950 h 3111500"/>
              <a:gd name="connsiteX99" fmla="*/ 3282950 w 5708650"/>
              <a:gd name="connsiteY99" fmla="*/ 1358900 h 3111500"/>
              <a:gd name="connsiteX100" fmla="*/ 3340100 w 5708650"/>
              <a:gd name="connsiteY100" fmla="*/ 1346200 h 3111500"/>
              <a:gd name="connsiteX101" fmla="*/ 3359150 w 5708650"/>
              <a:gd name="connsiteY101" fmla="*/ 1333500 h 3111500"/>
              <a:gd name="connsiteX102" fmla="*/ 3397250 w 5708650"/>
              <a:gd name="connsiteY102" fmla="*/ 1320800 h 3111500"/>
              <a:gd name="connsiteX103" fmla="*/ 3435350 w 5708650"/>
              <a:gd name="connsiteY103" fmla="*/ 1301750 h 3111500"/>
              <a:gd name="connsiteX104" fmla="*/ 3473450 w 5708650"/>
              <a:gd name="connsiteY104" fmla="*/ 1282700 h 3111500"/>
              <a:gd name="connsiteX105" fmla="*/ 3530600 w 5708650"/>
              <a:gd name="connsiteY105" fmla="*/ 1238250 h 3111500"/>
              <a:gd name="connsiteX106" fmla="*/ 3575050 w 5708650"/>
              <a:gd name="connsiteY106" fmla="*/ 1231900 h 3111500"/>
              <a:gd name="connsiteX107" fmla="*/ 3613150 w 5708650"/>
              <a:gd name="connsiteY107" fmla="*/ 1206500 h 3111500"/>
              <a:gd name="connsiteX108" fmla="*/ 3632200 w 5708650"/>
              <a:gd name="connsiteY108" fmla="*/ 1200150 h 3111500"/>
              <a:gd name="connsiteX109" fmla="*/ 3676650 w 5708650"/>
              <a:gd name="connsiteY109" fmla="*/ 1187450 h 3111500"/>
              <a:gd name="connsiteX110" fmla="*/ 3695700 w 5708650"/>
              <a:gd name="connsiteY110" fmla="*/ 1174750 h 3111500"/>
              <a:gd name="connsiteX111" fmla="*/ 3721100 w 5708650"/>
              <a:gd name="connsiteY111" fmla="*/ 1168400 h 3111500"/>
              <a:gd name="connsiteX112" fmla="*/ 3759200 w 5708650"/>
              <a:gd name="connsiteY112" fmla="*/ 1155700 h 3111500"/>
              <a:gd name="connsiteX113" fmla="*/ 3771900 w 5708650"/>
              <a:gd name="connsiteY113" fmla="*/ 1136650 h 3111500"/>
              <a:gd name="connsiteX114" fmla="*/ 3810000 w 5708650"/>
              <a:gd name="connsiteY114" fmla="*/ 1104900 h 3111500"/>
              <a:gd name="connsiteX115" fmla="*/ 3822700 w 5708650"/>
              <a:gd name="connsiteY115" fmla="*/ 1085850 h 3111500"/>
              <a:gd name="connsiteX116" fmla="*/ 3860800 w 5708650"/>
              <a:gd name="connsiteY116" fmla="*/ 1066800 h 3111500"/>
              <a:gd name="connsiteX117" fmla="*/ 3917950 w 5708650"/>
              <a:gd name="connsiteY117" fmla="*/ 1028700 h 3111500"/>
              <a:gd name="connsiteX118" fmla="*/ 3937000 w 5708650"/>
              <a:gd name="connsiteY118" fmla="*/ 1016000 h 3111500"/>
              <a:gd name="connsiteX119" fmla="*/ 3975100 w 5708650"/>
              <a:gd name="connsiteY119" fmla="*/ 1003300 h 3111500"/>
              <a:gd name="connsiteX120" fmla="*/ 3994150 w 5708650"/>
              <a:gd name="connsiteY120" fmla="*/ 990600 h 3111500"/>
              <a:gd name="connsiteX121" fmla="*/ 4025900 w 5708650"/>
              <a:gd name="connsiteY121" fmla="*/ 984250 h 3111500"/>
              <a:gd name="connsiteX122" fmla="*/ 4064000 w 5708650"/>
              <a:gd name="connsiteY122" fmla="*/ 971550 h 3111500"/>
              <a:gd name="connsiteX123" fmla="*/ 4076700 w 5708650"/>
              <a:gd name="connsiteY123" fmla="*/ 952500 h 3111500"/>
              <a:gd name="connsiteX124" fmla="*/ 4089400 w 5708650"/>
              <a:gd name="connsiteY124" fmla="*/ 914400 h 3111500"/>
              <a:gd name="connsiteX125" fmla="*/ 4108450 w 5708650"/>
              <a:gd name="connsiteY125" fmla="*/ 901700 h 3111500"/>
              <a:gd name="connsiteX126" fmla="*/ 4121150 w 5708650"/>
              <a:gd name="connsiteY126" fmla="*/ 882650 h 3111500"/>
              <a:gd name="connsiteX127" fmla="*/ 4140200 w 5708650"/>
              <a:gd name="connsiteY127" fmla="*/ 876300 h 3111500"/>
              <a:gd name="connsiteX128" fmla="*/ 4159250 w 5708650"/>
              <a:gd name="connsiteY128" fmla="*/ 863600 h 3111500"/>
              <a:gd name="connsiteX129" fmla="*/ 4171950 w 5708650"/>
              <a:gd name="connsiteY129" fmla="*/ 844550 h 3111500"/>
              <a:gd name="connsiteX130" fmla="*/ 4178300 w 5708650"/>
              <a:gd name="connsiteY130" fmla="*/ 825500 h 3111500"/>
              <a:gd name="connsiteX131" fmla="*/ 4197350 w 5708650"/>
              <a:gd name="connsiteY131" fmla="*/ 812800 h 3111500"/>
              <a:gd name="connsiteX132" fmla="*/ 4235450 w 5708650"/>
              <a:gd name="connsiteY132" fmla="*/ 787400 h 3111500"/>
              <a:gd name="connsiteX133" fmla="*/ 4273550 w 5708650"/>
              <a:gd name="connsiteY133" fmla="*/ 749300 h 3111500"/>
              <a:gd name="connsiteX134" fmla="*/ 4330700 w 5708650"/>
              <a:gd name="connsiteY134" fmla="*/ 742950 h 3111500"/>
              <a:gd name="connsiteX135" fmla="*/ 4394200 w 5708650"/>
              <a:gd name="connsiteY135" fmla="*/ 730250 h 3111500"/>
              <a:gd name="connsiteX136" fmla="*/ 4438650 w 5708650"/>
              <a:gd name="connsiteY136" fmla="*/ 723900 h 3111500"/>
              <a:gd name="connsiteX137" fmla="*/ 4470400 w 5708650"/>
              <a:gd name="connsiteY137" fmla="*/ 698500 h 3111500"/>
              <a:gd name="connsiteX138" fmla="*/ 4521200 w 5708650"/>
              <a:gd name="connsiteY138" fmla="*/ 679450 h 3111500"/>
              <a:gd name="connsiteX139" fmla="*/ 4559300 w 5708650"/>
              <a:gd name="connsiteY139" fmla="*/ 666750 h 3111500"/>
              <a:gd name="connsiteX140" fmla="*/ 4597400 w 5708650"/>
              <a:gd name="connsiteY140" fmla="*/ 641350 h 3111500"/>
              <a:gd name="connsiteX141" fmla="*/ 4635500 w 5708650"/>
              <a:gd name="connsiteY141" fmla="*/ 628650 h 3111500"/>
              <a:gd name="connsiteX142" fmla="*/ 4654550 w 5708650"/>
              <a:gd name="connsiteY142" fmla="*/ 622300 h 3111500"/>
              <a:gd name="connsiteX143" fmla="*/ 4673600 w 5708650"/>
              <a:gd name="connsiteY143" fmla="*/ 609600 h 3111500"/>
              <a:gd name="connsiteX144" fmla="*/ 4711700 w 5708650"/>
              <a:gd name="connsiteY144" fmla="*/ 596900 h 3111500"/>
              <a:gd name="connsiteX145" fmla="*/ 4724400 w 5708650"/>
              <a:gd name="connsiteY145" fmla="*/ 577850 h 3111500"/>
              <a:gd name="connsiteX146" fmla="*/ 4762500 w 5708650"/>
              <a:gd name="connsiteY146" fmla="*/ 552450 h 3111500"/>
              <a:gd name="connsiteX147" fmla="*/ 4775200 w 5708650"/>
              <a:gd name="connsiteY147" fmla="*/ 508000 h 3111500"/>
              <a:gd name="connsiteX148" fmla="*/ 4794250 w 5708650"/>
              <a:gd name="connsiteY148" fmla="*/ 495300 h 3111500"/>
              <a:gd name="connsiteX149" fmla="*/ 4819650 w 5708650"/>
              <a:gd name="connsiteY149" fmla="*/ 476250 h 3111500"/>
              <a:gd name="connsiteX150" fmla="*/ 4851400 w 5708650"/>
              <a:gd name="connsiteY150" fmla="*/ 438150 h 3111500"/>
              <a:gd name="connsiteX151" fmla="*/ 4984750 w 5708650"/>
              <a:gd name="connsiteY151" fmla="*/ 431800 h 3111500"/>
              <a:gd name="connsiteX152" fmla="*/ 5003800 w 5708650"/>
              <a:gd name="connsiteY152" fmla="*/ 425450 h 3111500"/>
              <a:gd name="connsiteX153" fmla="*/ 5022850 w 5708650"/>
              <a:gd name="connsiteY153" fmla="*/ 412750 h 3111500"/>
              <a:gd name="connsiteX154" fmla="*/ 5080000 w 5708650"/>
              <a:gd name="connsiteY154" fmla="*/ 387350 h 3111500"/>
              <a:gd name="connsiteX155" fmla="*/ 5092700 w 5708650"/>
              <a:gd name="connsiteY155" fmla="*/ 368300 h 3111500"/>
              <a:gd name="connsiteX156" fmla="*/ 5111750 w 5708650"/>
              <a:gd name="connsiteY156" fmla="*/ 361950 h 3111500"/>
              <a:gd name="connsiteX157" fmla="*/ 5130800 w 5708650"/>
              <a:gd name="connsiteY157" fmla="*/ 349250 h 3111500"/>
              <a:gd name="connsiteX158" fmla="*/ 5137150 w 5708650"/>
              <a:gd name="connsiteY158" fmla="*/ 330200 h 3111500"/>
              <a:gd name="connsiteX159" fmla="*/ 5181600 w 5708650"/>
              <a:gd name="connsiteY159" fmla="*/ 317500 h 3111500"/>
              <a:gd name="connsiteX160" fmla="*/ 5200650 w 5708650"/>
              <a:gd name="connsiteY160" fmla="*/ 304800 h 3111500"/>
              <a:gd name="connsiteX161" fmla="*/ 5213350 w 5708650"/>
              <a:gd name="connsiteY161" fmla="*/ 266700 h 3111500"/>
              <a:gd name="connsiteX162" fmla="*/ 5251450 w 5708650"/>
              <a:gd name="connsiteY162" fmla="*/ 260350 h 3111500"/>
              <a:gd name="connsiteX163" fmla="*/ 5270500 w 5708650"/>
              <a:gd name="connsiteY163" fmla="*/ 254000 h 3111500"/>
              <a:gd name="connsiteX164" fmla="*/ 5308600 w 5708650"/>
              <a:gd name="connsiteY164" fmla="*/ 247650 h 3111500"/>
              <a:gd name="connsiteX165" fmla="*/ 5346700 w 5708650"/>
              <a:gd name="connsiteY165" fmla="*/ 234950 h 3111500"/>
              <a:gd name="connsiteX166" fmla="*/ 5372100 w 5708650"/>
              <a:gd name="connsiteY166" fmla="*/ 228600 h 3111500"/>
              <a:gd name="connsiteX167" fmla="*/ 5384800 w 5708650"/>
              <a:gd name="connsiteY167" fmla="*/ 209550 h 3111500"/>
              <a:gd name="connsiteX168" fmla="*/ 5403850 w 5708650"/>
              <a:gd name="connsiteY168" fmla="*/ 203200 h 3111500"/>
              <a:gd name="connsiteX169" fmla="*/ 5410200 w 5708650"/>
              <a:gd name="connsiteY169" fmla="*/ 184150 h 3111500"/>
              <a:gd name="connsiteX170" fmla="*/ 5429250 w 5708650"/>
              <a:gd name="connsiteY170" fmla="*/ 177800 h 3111500"/>
              <a:gd name="connsiteX171" fmla="*/ 5467350 w 5708650"/>
              <a:gd name="connsiteY171" fmla="*/ 158750 h 3111500"/>
              <a:gd name="connsiteX172" fmla="*/ 5480050 w 5708650"/>
              <a:gd name="connsiteY172" fmla="*/ 139700 h 3111500"/>
              <a:gd name="connsiteX173" fmla="*/ 5486400 w 5708650"/>
              <a:gd name="connsiteY173" fmla="*/ 107950 h 3111500"/>
              <a:gd name="connsiteX174" fmla="*/ 5537200 w 5708650"/>
              <a:gd name="connsiteY174" fmla="*/ 101600 h 3111500"/>
              <a:gd name="connsiteX175" fmla="*/ 5543550 w 5708650"/>
              <a:gd name="connsiteY175" fmla="*/ 76200 h 3111500"/>
              <a:gd name="connsiteX176" fmla="*/ 5562600 w 5708650"/>
              <a:gd name="connsiteY176" fmla="*/ 82550 h 3111500"/>
              <a:gd name="connsiteX177" fmla="*/ 5594350 w 5708650"/>
              <a:gd name="connsiteY177" fmla="*/ 95250 h 3111500"/>
              <a:gd name="connsiteX178" fmla="*/ 5664200 w 5708650"/>
              <a:gd name="connsiteY178" fmla="*/ 88900 h 3111500"/>
              <a:gd name="connsiteX179" fmla="*/ 5708650 w 5708650"/>
              <a:gd name="connsiteY179" fmla="*/ 82550 h 3111500"/>
              <a:gd name="connsiteX180" fmla="*/ 5702300 w 5708650"/>
              <a:gd name="connsiteY180"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651000 w 5708650"/>
              <a:gd name="connsiteY48" fmla="*/ 2298700 h 3111500"/>
              <a:gd name="connsiteX49" fmla="*/ 1752600 w 5708650"/>
              <a:gd name="connsiteY49" fmla="*/ 2235200 h 3111500"/>
              <a:gd name="connsiteX50" fmla="*/ 1797050 w 5708650"/>
              <a:gd name="connsiteY50" fmla="*/ 2203450 h 3111500"/>
              <a:gd name="connsiteX51" fmla="*/ 1828800 w 5708650"/>
              <a:gd name="connsiteY51" fmla="*/ 2197100 h 3111500"/>
              <a:gd name="connsiteX52" fmla="*/ 1847850 w 5708650"/>
              <a:gd name="connsiteY52" fmla="*/ 2190750 h 3111500"/>
              <a:gd name="connsiteX53" fmla="*/ 1860550 w 5708650"/>
              <a:gd name="connsiteY53" fmla="*/ 2152650 h 3111500"/>
              <a:gd name="connsiteX54" fmla="*/ 1866900 w 5708650"/>
              <a:gd name="connsiteY54" fmla="*/ 2120900 h 3111500"/>
              <a:gd name="connsiteX55" fmla="*/ 1885950 w 5708650"/>
              <a:gd name="connsiteY55" fmla="*/ 2108200 h 3111500"/>
              <a:gd name="connsiteX56" fmla="*/ 1930400 w 5708650"/>
              <a:gd name="connsiteY56" fmla="*/ 2101850 h 3111500"/>
              <a:gd name="connsiteX57" fmla="*/ 1955800 w 5708650"/>
              <a:gd name="connsiteY57" fmla="*/ 2095500 h 3111500"/>
              <a:gd name="connsiteX58" fmla="*/ 1962150 w 5708650"/>
              <a:gd name="connsiteY58" fmla="*/ 2070100 h 3111500"/>
              <a:gd name="connsiteX59" fmla="*/ 2000250 w 5708650"/>
              <a:gd name="connsiteY59" fmla="*/ 2044700 h 3111500"/>
              <a:gd name="connsiteX60" fmla="*/ 2063750 w 5708650"/>
              <a:gd name="connsiteY60" fmla="*/ 2025650 h 3111500"/>
              <a:gd name="connsiteX61" fmla="*/ 2082800 w 5708650"/>
              <a:gd name="connsiteY61" fmla="*/ 2019300 h 3111500"/>
              <a:gd name="connsiteX62" fmla="*/ 2108200 w 5708650"/>
              <a:gd name="connsiteY62" fmla="*/ 2006600 h 3111500"/>
              <a:gd name="connsiteX63" fmla="*/ 2139950 w 5708650"/>
              <a:gd name="connsiteY63" fmla="*/ 2000250 h 3111500"/>
              <a:gd name="connsiteX64" fmla="*/ 2165350 w 5708650"/>
              <a:gd name="connsiteY64" fmla="*/ 1987550 h 3111500"/>
              <a:gd name="connsiteX65" fmla="*/ 2184400 w 5708650"/>
              <a:gd name="connsiteY65" fmla="*/ 1981200 h 3111500"/>
              <a:gd name="connsiteX66" fmla="*/ 2190750 w 5708650"/>
              <a:gd name="connsiteY66" fmla="*/ 1955800 h 3111500"/>
              <a:gd name="connsiteX67" fmla="*/ 2209800 w 5708650"/>
              <a:gd name="connsiteY67" fmla="*/ 1936750 h 3111500"/>
              <a:gd name="connsiteX68" fmla="*/ 2254250 w 5708650"/>
              <a:gd name="connsiteY68" fmla="*/ 1905000 h 3111500"/>
              <a:gd name="connsiteX69" fmla="*/ 2298700 w 5708650"/>
              <a:gd name="connsiteY69" fmla="*/ 1873250 h 3111500"/>
              <a:gd name="connsiteX70" fmla="*/ 2349500 w 5708650"/>
              <a:gd name="connsiteY70" fmla="*/ 1860550 h 3111500"/>
              <a:gd name="connsiteX71" fmla="*/ 2368550 w 5708650"/>
              <a:gd name="connsiteY71" fmla="*/ 1847850 h 3111500"/>
              <a:gd name="connsiteX72" fmla="*/ 2387600 w 5708650"/>
              <a:gd name="connsiteY72" fmla="*/ 1841500 h 3111500"/>
              <a:gd name="connsiteX73" fmla="*/ 2425700 w 5708650"/>
              <a:gd name="connsiteY73" fmla="*/ 1816100 h 3111500"/>
              <a:gd name="connsiteX74" fmla="*/ 2476500 w 5708650"/>
              <a:gd name="connsiteY74" fmla="*/ 1803400 h 3111500"/>
              <a:gd name="connsiteX75" fmla="*/ 2495550 w 5708650"/>
              <a:gd name="connsiteY75" fmla="*/ 1784350 h 3111500"/>
              <a:gd name="connsiteX76" fmla="*/ 2514600 w 5708650"/>
              <a:gd name="connsiteY76" fmla="*/ 1778000 h 3111500"/>
              <a:gd name="connsiteX77" fmla="*/ 2546350 w 5708650"/>
              <a:gd name="connsiteY77" fmla="*/ 1752600 h 3111500"/>
              <a:gd name="connsiteX78" fmla="*/ 2565400 w 5708650"/>
              <a:gd name="connsiteY78" fmla="*/ 1733550 h 3111500"/>
              <a:gd name="connsiteX79" fmla="*/ 2584450 w 5708650"/>
              <a:gd name="connsiteY79" fmla="*/ 1720850 h 3111500"/>
              <a:gd name="connsiteX80" fmla="*/ 2616200 w 5708650"/>
              <a:gd name="connsiteY80" fmla="*/ 1689100 h 3111500"/>
              <a:gd name="connsiteX81" fmla="*/ 2679700 w 5708650"/>
              <a:gd name="connsiteY81" fmla="*/ 1676400 h 3111500"/>
              <a:gd name="connsiteX82" fmla="*/ 2698750 w 5708650"/>
              <a:gd name="connsiteY82" fmla="*/ 1670050 h 3111500"/>
              <a:gd name="connsiteX83" fmla="*/ 2755900 w 5708650"/>
              <a:gd name="connsiteY83" fmla="*/ 1663700 h 3111500"/>
              <a:gd name="connsiteX84" fmla="*/ 2851150 w 5708650"/>
              <a:gd name="connsiteY84" fmla="*/ 1600200 h 3111500"/>
              <a:gd name="connsiteX85" fmla="*/ 2882900 w 5708650"/>
              <a:gd name="connsiteY85" fmla="*/ 1555750 h 3111500"/>
              <a:gd name="connsiteX86" fmla="*/ 2901950 w 5708650"/>
              <a:gd name="connsiteY86" fmla="*/ 1549400 h 3111500"/>
              <a:gd name="connsiteX87" fmla="*/ 2940050 w 5708650"/>
              <a:gd name="connsiteY87" fmla="*/ 1517650 h 3111500"/>
              <a:gd name="connsiteX88" fmla="*/ 2965450 w 5708650"/>
              <a:gd name="connsiteY88" fmla="*/ 1511300 h 3111500"/>
              <a:gd name="connsiteX89" fmla="*/ 3003550 w 5708650"/>
              <a:gd name="connsiteY89" fmla="*/ 1498600 h 3111500"/>
              <a:gd name="connsiteX90" fmla="*/ 3041650 w 5708650"/>
              <a:gd name="connsiteY90" fmla="*/ 1466850 h 3111500"/>
              <a:gd name="connsiteX91" fmla="*/ 3092450 w 5708650"/>
              <a:gd name="connsiteY91" fmla="*/ 1454150 h 3111500"/>
              <a:gd name="connsiteX92" fmla="*/ 3111500 w 5708650"/>
              <a:gd name="connsiteY92" fmla="*/ 1441450 h 3111500"/>
              <a:gd name="connsiteX93" fmla="*/ 3117850 w 5708650"/>
              <a:gd name="connsiteY93" fmla="*/ 1422400 h 3111500"/>
              <a:gd name="connsiteX94" fmla="*/ 3143250 w 5708650"/>
              <a:gd name="connsiteY94" fmla="*/ 1409700 h 3111500"/>
              <a:gd name="connsiteX95" fmla="*/ 3181350 w 5708650"/>
              <a:gd name="connsiteY95" fmla="*/ 1397000 h 3111500"/>
              <a:gd name="connsiteX96" fmla="*/ 3200400 w 5708650"/>
              <a:gd name="connsiteY96" fmla="*/ 1390650 h 3111500"/>
              <a:gd name="connsiteX97" fmla="*/ 3219450 w 5708650"/>
              <a:gd name="connsiteY97" fmla="*/ 1384300 h 3111500"/>
              <a:gd name="connsiteX98" fmla="*/ 3244850 w 5708650"/>
              <a:gd name="connsiteY98" fmla="*/ 1377950 h 3111500"/>
              <a:gd name="connsiteX99" fmla="*/ 3282950 w 5708650"/>
              <a:gd name="connsiteY99" fmla="*/ 1358900 h 3111500"/>
              <a:gd name="connsiteX100" fmla="*/ 3340100 w 5708650"/>
              <a:gd name="connsiteY100" fmla="*/ 1346200 h 3111500"/>
              <a:gd name="connsiteX101" fmla="*/ 3359150 w 5708650"/>
              <a:gd name="connsiteY101" fmla="*/ 1333500 h 3111500"/>
              <a:gd name="connsiteX102" fmla="*/ 3397250 w 5708650"/>
              <a:gd name="connsiteY102" fmla="*/ 1320800 h 3111500"/>
              <a:gd name="connsiteX103" fmla="*/ 3435350 w 5708650"/>
              <a:gd name="connsiteY103" fmla="*/ 1301750 h 3111500"/>
              <a:gd name="connsiteX104" fmla="*/ 3473450 w 5708650"/>
              <a:gd name="connsiteY104" fmla="*/ 1282700 h 3111500"/>
              <a:gd name="connsiteX105" fmla="*/ 3530600 w 5708650"/>
              <a:gd name="connsiteY105" fmla="*/ 1238250 h 3111500"/>
              <a:gd name="connsiteX106" fmla="*/ 3575050 w 5708650"/>
              <a:gd name="connsiteY106" fmla="*/ 1231900 h 3111500"/>
              <a:gd name="connsiteX107" fmla="*/ 3613150 w 5708650"/>
              <a:gd name="connsiteY107" fmla="*/ 1206500 h 3111500"/>
              <a:gd name="connsiteX108" fmla="*/ 3632200 w 5708650"/>
              <a:gd name="connsiteY108" fmla="*/ 1200150 h 3111500"/>
              <a:gd name="connsiteX109" fmla="*/ 3676650 w 5708650"/>
              <a:gd name="connsiteY109" fmla="*/ 1187450 h 3111500"/>
              <a:gd name="connsiteX110" fmla="*/ 3695700 w 5708650"/>
              <a:gd name="connsiteY110" fmla="*/ 1174750 h 3111500"/>
              <a:gd name="connsiteX111" fmla="*/ 3721100 w 5708650"/>
              <a:gd name="connsiteY111" fmla="*/ 1168400 h 3111500"/>
              <a:gd name="connsiteX112" fmla="*/ 3759200 w 5708650"/>
              <a:gd name="connsiteY112" fmla="*/ 1155700 h 3111500"/>
              <a:gd name="connsiteX113" fmla="*/ 3771900 w 5708650"/>
              <a:gd name="connsiteY113" fmla="*/ 1136650 h 3111500"/>
              <a:gd name="connsiteX114" fmla="*/ 3810000 w 5708650"/>
              <a:gd name="connsiteY114" fmla="*/ 1104900 h 3111500"/>
              <a:gd name="connsiteX115" fmla="*/ 3822700 w 5708650"/>
              <a:gd name="connsiteY115" fmla="*/ 1085850 h 3111500"/>
              <a:gd name="connsiteX116" fmla="*/ 3860800 w 5708650"/>
              <a:gd name="connsiteY116" fmla="*/ 1066800 h 3111500"/>
              <a:gd name="connsiteX117" fmla="*/ 3917950 w 5708650"/>
              <a:gd name="connsiteY117" fmla="*/ 1028700 h 3111500"/>
              <a:gd name="connsiteX118" fmla="*/ 3937000 w 5708650"/>
              <a:gd name="connsiteY118" fmla="*/ 1016000 h 3111500"/>
              <a:gd name="connsiteX119" fmla="*/ 3975100 w 5708650"/>
              <a:gd name="connsiteY119" fmla="*/ 1003300 h 3111500"/>
              <a:gd name="connsiteX120" fmla="*/ 3994150 w 5708650"/>
              <a:gd name="connsiteY120" fmla="*/ 990600 h 3111500"/>
              <a:gd name="connsiteX121" fmla="*/ 4025900 w 5708650"/>
              <a:gd name="connsiteY121" fmla="*/ 984250 h 3111500"/>
              <a:gd name="connsiteX122" fmla="*/ 4064000 w 5708650"/>
              <a:gd name="connsiteY122" fmla="*/ 971550 h 3111500"/>
              <a:gd name="connsiteX123" fmla="*/ 4076700 w 5708650"/>
              <a:gd name="connsiteY123" fmla="*/ 952500 h 3111500"/>
              <a:gd name="connsiteX124" fmla="*/ 4089400 w 5708650"/>
              <a:gd name="connsiteY124" fmla="*/ 914400 h 3111500"/>
              <a:gd name="connsiteX125" fmla="*/ 4108450 w 5708650"/>
              <a:gd name="connsiteY125" fmla="*/ 901700 h 3111500"/>
              <a:gd name="connsiteX126" fmla="*/ 4121150 w 5708650"/>
              <a:gd name="connsiteY126" fmla="*/ 882650 h 3111500"/>
              <a:gd name="connsiteX127" fmla="*/ 4140200 w 5708650"/>
              <a:gd name="connsiteY127" fmla="*/ 876300 h 3111500"/>
              <a:gd name="connsiteX128" fmla="*/ 4159250 w 5708650"/>
              <a:gd name="connsiteY128" fmla="*/ 863600 h 3111500"/>
              <a:gd name="connsiteX129" fmla="*/ 4171950 w 5708650"/>
              <a:gd name="connsiteY129" fmla="*/ 844550 h 3111500"/>
              <a:gd name="connsiteX130" fmla="*/ 4178300 w 5708650"/>
              <a:gd name="connsiteY130" fmla="*/ 825500 h 3111500"/>
              <a:gd name="connsiteX131" fmla="*/ 4197350 w 5708650"/>
              <a:gd name="connsiteY131" fmla="*/ 812800 h 3111500"/>
              <a:gd name="connsiteX132" fmla="*/ 4235450 w 5708650"/>
              <a:gd name="connsiteY132" fmla="*/ 787400 h 3111500"/>
              <a:gd name="connsiteX133" fmla="*/ 4273550 w 5708650"/>
              <a:gd name="connsiteY133" fmla="*/ 749300 h 3111500"/>
              <a:gd name="connsiteX134" fmla="*/ 4330700 w 5708650"/>
              <a:gd name="connsiteY134" fmla="*/ 742950 h 3111500"/>
              <a:gd name="connsiteX135" fmla="*/ 4394200 w 5708650"/>
              <a:gd name="connsiteY135" fmla="*/ 730250 h 3111500"/>
              <a:gd name="connsiteX136" fmla="*/ 4438650 w 5708650"/>
              <a:gd name="connsiteY136" fmla="*/ 723900 h 3111500"/>
              <a:gd name="connsiteX137" fmla="*/ 4470400 w 5708650"/>
              <a:gd name="connsiteY137" fmla="*/ 698500 h 3111500"/>
              <a:gd name="connsiteX138" fmla="*/ 4521200 w 5708650"/>
              <a:gd name="connsiteY138" fmla="*/ 679450 h 3111500"/>
              <a:gd name="connsiteX139" fmla="*/ 4559300 w 5708650"/>
              <a:gd name="connsiteY139" fmla="*/ 666750 h 3111500"/>
              <a:gd name="connsiteX140" fmla="*/ 4597400 w 5708650"/>
              <a:gd name="connsiteY140" fmla="*/ 641350 h 3111500"/>
              <a:gd name="connsiteX141" fmla="*/ 4635500 w 5708650"/>
              <a:gd name="connsiteY141" fmla="*/ 628650 h 3111500"/>
              <a:gd name="connsiteX142" fmla="*/ 4654550 w 5708650"/>
              <a:gd name="connsiteY142" fmla="*/ 622300 h 3111500"/>
              <a:gd name="connsiteX143" fmla="*/ 4673600 w 5708650"/>
              <a:gd name="connsiteY143" fmla="*/ 609600 h 3111500"/>
              <a:gd name="connsiteX144" fmla="*/ 4711700 w 5708650"/>
              <a:gd name="connsiteY144" fmla="*/ 596900 h 3111500"/>
              <a:gd name="connsiteX145" fmla="*/ 4724400 w 5708650"/>
              <a:gd name="connsiteY145" fmla="*/ 577850 h 3111500"/>
              <a:gd name="connsiteX146" fmla="*/ 4762500 w 5708650"/>
              <a:gd name="connsiteY146" fmla="*/ 552450 h 3111500"/>
              <a:gd name="connsiteX147" fmla="*/ 4775200 w 5708650"/>
              <a:gd name="connsiteY147" fmla="*/ 508000 h 3111500"/>
              <a:gd name="connsiteX148" fmla="*/ 4794250 w 5708650"/>
              <a:gd name="connsiteY148" fmla="*/ 495300 h 3111500"/>
              <a:gd name="connsiteX149" fmla="*/ 4819650 w 5708650"/>
              <a:gd name="connsiteY149" fmla="*/ 476250 h 3111500"/>
              <a:gd name="connsiteX150" fmla="*/ 4851400 w 5708650"/>
              <a:gd name="connsiteY150" fmla="*/ 438150 h 3111500"/>
              <a:gd name="connsiteX151" fmla="*/ 4984750 w 5708650"/>
              <a:gd name="connsiteY151" fmla="*/ 431800 h 3111500"/>
              <a:gd name="connsiteX152" fmla="*/ 5003800 w 5708650"/>
              <a:gd name="connsiteY152" fmla="*/ 425450 h 3111500"/>
              <a:gd name="connsiteX153" fmla="*/ 5022850 w 5708650"/>
              <a:gd name="connsiteY153" fmla="*/ 412750 h 3111500"/>
              <a:gd name="connsiteX154" fmla="*/ 5080000 w 5708650"/>
              <a:gd name="connsiteY154" fmla="*/ 387350 h 3111500"/>
              <a:gd name="connsiteX155" fmla="*/ 5092700 w 5708650"/>
              <a:gd name="connsiteY155" fmla="*/ 368300 h 3111500"/>
              <a:gd name="connsiteX156" fmla="*/ 5111750 w 5708650"/>
              <a:gd name="connsiteY156" fmla="*/ 361950 h 3111500"/>
              <a:gd name="connsiteX157" fmla="*/ 5130800 w 5708650"/>
              <a:gd name="connsiteY157" fmla="*/ 349250 h 3111500"/>
              <a:gd name="connsiteX158" fmla="*/ 5137150 w 5708650"/>
              <a:gd name="connsiteY158" fmla="*/ 330200 h 3111500"/>
              <a:gd name="connsiteX159" fmla="*/ 5181600 w 5708650"/>
              <a:gd name="connsiteY159" fmla="*/ 317500 h 3111500"/>
              <a:gd name="connsiteX160" fmla="*/ 5200650 w 5708650"/>
              <a:gd name="connsiteY160" fmla="*/ 304800 h 3111500"/>
              <a:gd name="connsiteX161" fmla="*/ 5213350 w 5708650"/>
              <a:gd name="connsiteY161" fmla="*/ 266700 h 3111500"/>
              <a:gd name="connsiteX162" fmla="*/ 5251450 w 5708650"/>
              <a:gd name="connsiteY162" fmla="*/ 260350 h 3111500"/>
              <a:gd name="connsiteX163" fmla="*/ 5270500 w 5708650"/>
              <a:gd name="connsiteY163" fmla="*/ 254000 h 3111500"/>
              <a:gd name="connsiteX164" fmla="*/ 5308600 w 5708650"/>
              <a:gd name="connsiteY164" fmla="*/ 247650 h 3111500"/>
              <a:gd name="connsiteX165" fmla="*/ 5346700 w 5708650"/>
              <a:gd name="connsiteY165" fmla="*/ 234950 h 3111500"/>
              <a:gd name="connsiteX166" fmla="*/ 5372100 w 5708650"/>
              <a:gd name="connsiteY166" fmla="*/ 228600 h 3111500"/>
              <a:gd name="connsiteX167" fmla="*/ 5384800 w 5708650"/>
              <a:gd name="connsiteY167" fmla="*/ 209550 h 3111500"/>
              <a:gd name="connsiteX168" fmla="*/ 5403850 w 5708650"/>
              <a:gd name="connsiteY168" fmla="*/ 203200 h 3111500"/>
              <a:gd name="connsiteX169" fmla="*/ 5410200 w 5708650"/>
              <a:gd name="connsiteY169" fmla="*/ 184150 h 3111500"/>
              <a:gd name="connsiteX170" fmla="*/ 5429250 w 5708650"/>
              <a:gd name="connsiteY170" fmla="*/ 177800 h 3111500"/>
              <a:gd name="connsiteX171" fmla="*/ 5467350 w 5708650"/>
              <a:gd name="connsiteY171" fmla="*/ 158750 h 3111500"/>
              <a:gd name="connsiteX172" fmla="*/ 5480050 w 5708650"/>
              <a:gd name="connsiteY172" fmla="*/ 139700 h 3111500"/>
              <a:gd name="connsiteX173" fmla="*/ 5486400 w 5708650"/>
              <a:gd name="connsiteY173" fmla="*/ 107950 h 3111500"/>
              <a:gd name="connsiteX174" fmla="*/ 5537200 w 5708650"/>
              <a:gd name="connsiteY174" fmla="*/ 101600 h 3111500"/>
              <a:gd name="connsiteX175" fmla="*/ 5543550 w 5708650"/>
              <a:gd name="connsiteY175" fmla="*/ 76200 h 3111500"/>
              <a:gd name="connsiteX176" fmla="*/ 5562600 w 5708650"/>
              <a:gd name="connsiteY176" fmla="*/ 82550 h 3111500"/>
              <a:gd name="connsiteX177" fmla="*/ 5594350 w 5708650"/>
              <a:gd name="connsiteY177" fmla="*/ 95250 h 3111500"/>
              <a:gd name="connsiteX178" fmla="*/ 5664200 w 5708650"/>
              <a:gd name="connsiteY178" fmla="*/ 88900 h 3111500"/>
              <a:gd name="connsiteX179" fmla="*/ 5708650 w 5708650"/>
              <a:gd name="connsiteY179" fmla="*/ 82550 h 3111500"/>
              <a:gd name="connsiteX180" fmla="*/ 5702300 w 5708650"/>
              <a:gd name="connsiteY180"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65350 w 5708650"/>
              <a:gd name="connsiteY63" fmla="*/ 1987550 h 3111500"/>
              <a:gd name="connsiteX64" fmla="*/ 2184400 w 5708650"/>
              <a:gd name="connsiteY64" fmla="*/ 1981200 h 3111500"/>
              <a:gd name="connsiteX65" fmla="*/ 2190750 w 5708650"/>
              <a:gd name="connsiteY65" fmla="*/ 1955800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9500 w 5708650"/>
              <a:gd name="connsiteY69" fmla="*/ 1860550 h 3111500"/>
              <a:gd name="connsiteX70" fmla="*/ 2368550 w 5708650"/>
              <a:gd name="connsiteY70" fmla="*/ 1847850 h 3111500"/>
              <a:gd name="connsiteX71" fmla="*/ 2387600 w 5708650"/>
              <a:gd name="connsiteY71" fmla="*/ 1841500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787400 h 3111500"/>
              <a:gd name="connsiteX132" fmla="*/ 4273550 w 5708650"/>
              <a:gd name="connsiteY132" fmla="*/ 749300 h 3111500"/>
              <a:gd name="connsiteX133" fmla="*/ 4330700 w 5708650"/>
              <a:gd name="connsiteY133" fmla="*/ 742950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84400 w 5708650"/>
              <a:gd name="connsiteY64" fmla="*/ 1981200 h 3111500"/>
              <a:gd name="connsiteX65" fmla="*/ 2190750 w 5708650"/>
              <a:gd name="connsiteY65" fmla="*/ 1955800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9500 w 5708650"/>
              <a:gd name="connsiteY69" fmla="*/ 1860550 h 3111500"/>
              <a:gd name="connsiteX70" fmla="*/ 2368550 w 5708650"/>
              <a:gd name="connsiteY70" fmla="*/ 1847850 h 3111500"/>
              <a:gd name="connsiteX71" fmla="*/ 2387600 w 5708650"/>
              <a:gd name="connsiteY71" fmla="*/ 1841500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787400 h 3111500"/>
              <a:gd name="connsiteX132" fmla="*/ 4273550 w 5708650"/>
              <a:gd name="connsiteY132" fmla="*/ 749300 h 3111500"/>
              <a:gd name="connsiteX133" fmla="*/ 4330700 w 5708650"/>
              <a:gd name="connsiteY133" fmla="*/ 742950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90750 w 5708650"/>
              <a:gd name="connsiteY65" fmla="*/ 1955800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9500 w 5708650"/>
              <a:gd name="connsiteY69" fmla="*/ 1860550 h 3111500"/>
              <a:gd name="connsiteX70" fmla="*/ 2368550 w 5708650"/>
              <a:gd name="connsiteY70" fmla="*/ 1847850 h 3111500"/>
              <a:gd name="connsiteX71" fmla="*/ 2387600 w 5708650"/>
              <a:gd name="connsiteY71" fmla="*/ 1841500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787400 h 3111500"/>
              <a:gd name="connsiteX132" fmla="*/ 4273550 w 5708650"/>
              <a:gd name="connsiteY132" fmla="*/ 749300 h 3111500"/>
              <a:gd name="connsiteX133" fmla="*/ 4330700 w 5708650"/>
              <a:gd name="connsiteY133" fmla="*/ 742950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9500 w 5708650"/>
              <a:gd name="connsiteY69" fmla="*/ 1860550 h 3111500"/>
              <a:gd name="connsiteX70" fmla="*/ 2368550 w 5708650"/>
              <a:gd name="connsiteY70" fmla="*/ 1847850 h 3111500"/>
              <a:gd name="connsiteX71" fmla="*/ 2387600 w 5708650"/>
              <a:gd name="connsiteY71" fmla="*/ 1841500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787400 h 3111500"/>
              <a:gd name="connsiteX132" fmla="*/ 4273550 w 5708650"/>
              <a:gd name="connsiteY132" fmla="*/ 749300 h 3111500"/>
              <a:gd name="connsiteX133" fmla="*/ 4330700 w 5708650"/>
              <a:gd name="connsiteY133" fmla="*/ 742950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8550 w 5708650"/>
              <a:gd name="connsiteY70" fmla="*/ 1847850 h 3111500"/>
              <a:gd name="connsiteX71" fmla="*/ 2387600 w 5708650"/>
              <a:gd name="connsiteY71" fmla="*/ 1841500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787400 h 3111500"/>
              <a:gd name="connsiteX132" fmla="*/ 4273550 w 5708650"/>
              <a:gd name="connsiteY132" fmla="*/ 749300 h 3111500"/>
              <a:gd name="connsiteX133" fmla="*/ 4330700 w 5708650"/>
              <a:gd name="connsiteY133" fmla="*/ 742950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7600 w 5708650"/>
              <a:gd name="connsiteY71" fmla="*/ 1841500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787400 h 3111500"/>
              <a:gd name="connsiteX132" fmla="*/ 4273550 w 5708650"/>
              <a:gd name="connsiteY132" fmla="*/ 749300 h 3111500"/>
              <a:gd name="connsiteX133" fmla="*/ 4330700 w 5708650"/>
              <a:gd name="connsiteY133" fmla="*/ 742950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75542 w 5708650"/>
              <a:gd name="connsiteY71" fmla="*/ 1821403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787400 h 3111500"/>
              <a:gd name="connsiteX132" fmla="*/ 4273550 w 5708650"/>
              <a:gd name="connsiteY132" fmla="*/ 749300 h 3111500"/>
              <a:gd name="connsiteX133" fmla="*/ 4330700 w 5708650"/>
              <a:gd name="connsiteY133" fmla="*/ 742950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787400 h 3111500"/>
              <a:gd name="connsiteX132" fmla="*/ 4273550 w 5708650"/>
              <a:gd name="connsiteY132" fmla="*/ 749300 h 3111500"/>
              <a:gd name="connsiteX133" fmla="*/ 4330700 w 5708650"/>
              <a:gd name="connsiteY133" fmla="*/ 742950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3550 w 5708650"/>
              <a:gd name="connsiteY132" fmla="*/ 749300 h 3111500"/>
              <a:gd name="connsiteX133" fmla="*/ 4330700 w 5708650"/>
              <a:gd name="connsiteY133" fmla="*/ 742950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0700 w 5708650"/>
              <a:gd name="connsiteY133" fmla="*/ 742950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4719 w 5708650"/>
              <a:gd name="connsiteY133" fmla="*/ 76706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794250 w 5708650"/>
              <a:gd name="connsiteY147" fmla="*/ 495300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19650 w 5708650"/>
              <a:gd name="connsiteY148" fmla="*/ 476250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51400 w 5708650"/>
              <a:gd name="connsiteY149" fmla="*/ 438150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1497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7526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7526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486400 w 5708650"/>
              <a:gd name="connsiteY172" fmla="*/ 107950 h 3111500"/>
              <a:gd name="connsiteX173" fmla="*/ 5537200 w 5708650"/>
              <a:gd name="connsiteY173" fmla="*/ 101600 h 3111500"/>
              <a:gd name="connsiteX174" fmla="*/ 5543550 w 5708650"/>
              <a:gd name="connsiteY174" fmla="*/ 76200 h 3111500"/>
              <a:gd name="connsiteX175" fmla="*/ 5562600 w 5708650"/>
              <a:gd name="connsiteY175" fmla="*/ 82550 h 3111500"/>
              <a:gd name="connsiteX176" fmla="*/ 5594350 w 5708650"/>
              <a:gd name="connsiteY176" fmla="*/ 95250 h 3111500"/>
              <a:gd name="connsiteX177" fmla="*/ 5664200 w 5708650"/>
              <a:gd name="connsiteY177" fmla="*/ 88900 h 3111500"/>
              <a:gd name="connsiteX178" fmla="*/ 5708650 w 5708650"/>
              <a:gd name="connsiteY178" fmla="*/ 82550 h 3111500"/>
              <a:gd name="connsiteX179" fmla="*/ 5702300 w 5708650"/>
              <a:gd name="connsiteY179"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7526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537200 w 5708650"/>
              <a:gd name="connsiteY172" fmla="*/ 101600 h 3111500"/>
              <a:gd name="connsiteX173" fmla="*/ 5543550 w 5708650"/>
              <a:gd name="connsiteY173" fmla="*/ 76200 h 3111500"/>
              <a:gd name="connsiteX174" fmla="*/ 5562600 w 5708650"/>
              <a:gd name="connsiteY174" fmla="*/ 82550 h 3111500"/>
              <a:gd name="connsiteX175" fmla="*/ 5594350 w 5708650"/>
              <a:gd name="connsiteY175" fmla="*/ 95250 h 3111500"/>
              <a:gd name="connsiteX176" fmla="*/ 5664200 w 5708650"/>
              <a:gd name="connsiteY176" fmla="*/ 88900 h 3111500"/>
              <a:gd name="connsiteX177" fmla="*/ 5708650 w 5708650"/>
              <a:gd name="connsiteY177" fmla="*/ 82550 h 3111500"/>
              <a:gd name="connsiteX178" fmla="*/ 5702300 w 5708650"/>
              <a:gd name="connsiteY178"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7526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523132 w 5708650"/>
              <a:gd name="connsiteY172" fmla="*/ 115668 h 3111500"/>
              <a:gd name="connsiteX173" fmla="*/ 5543550 w 5708650"/>
              <a:gd name="connsiteY173" fmla="*/ 76200 h 3111500"/>
              <a:gd name="connsiteX174" fmla="*/ 5562600 w 5708650"/>
              <a:gd name="connsiteY174" fmla="*/ 82550 h 3111500"/>
              <a:gd name="connsiteX175" fmla="*/ 5594350 w 5708650"/>
              <a:gd name="connsiteY175" fmla="*/ 95250 h 3111500"/>
              <a:gd name="connsiteX176" fmla="*/ 5664200 w 5708650"/>
              <a:gd name="connsiteY176" fmla="*/ 88900 h 3111500"/>
              <a:gd name="connsiteX177" fmla="*/ 5708650 w 5708650"/>
              <a:gd name="connsiteY177" fmla="*/ 82550 h 3111500"/>
              <a:gd name="connsiteX178" fmla="*/ 5702300 w 5708650"/>
              <a:gd name="connsiteY178"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7526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523132 w 5708650"/>
              <a:gd name="connsiteY172" fmla="*/ 115668 h 3111500"/>
              <a:gd name="connsiteX173" fmla="*/ 5543550 w 5708650"/>
              <a:gd name="connsiteY173" fmla="*/ 76200 h 3111500"/>
              <a:gd name="connsiteX174" fmla="*/ 5562600 w 5708650"/>
              <a:gd name="connsiteY174" fmla="*/ 82550 h 3111500"/>
              <a:gd name="connsiteX175" fmla="*/ 5594350 w 5708650"/>
              <a:gd name="connsiteY175" fmla="*/ 95250 h 3111500"/>
              <a:gd name="connsiteX176" fmla="*/ 5664200 w 5708650"/>
              <a:gd name="connsiteY176" fmla="*/ 88900 h 3111500"/>
              <a:gd name="connsiteX177" fmla="*/ 5708650 w 5708650"/>
              <a:gd name="connsiteY177" fmla="*/ 82550 h 3111500"/>
              <a:gd name="connsiteX178" fmla="*/ 5702300 w 5708650"/>
              <a:gd name="connsiteY178"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7526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523132 w 5708650"/>
              <a:gd name="connsiteY172" fmla="*/ 115668 h 3111500"/>
              <a:gd name="connsiteX173" fmla="*/ 5562600 w 5708650"/>
              <a:gd name="connsiteY173" fmla="*/ 82550 h 3111500"/>
              <a:gd name="connsiteX174" fmla="*/ 5594350 w 5708650"/>
              <a:gd name="connsiteY174" fmla="*/ 95250 h 3111500"/>
              <a:gd name="connsiteX175" fmla="*/ 5664200 w 5708650"/>
              <a:gd name="connsiteY175" fmla="*/ 88900 h 3111500"/>
              <a:gd name="connsiteX176" fmla="*/ 5708650 w 5708650"/>
              <a:gd name="connsiteY176" fmla="*/ 82550 h 3111500"/>
              <a:gd name="connsiteX177" fmla="*/ 5702300 w 5708650"/>
              <a:gd name="connsiteY177"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7526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523132 w 5708650"/>
              <a:gd name="connsiteY172" fmla="*/ 115668 h 3111500"/>
              <a:gd name="connsiteX173" fmla="*/ 5594350 w 5708650"/>
              <a:gd name="connsiteY173" fmla="*/ 95250 h 3111500"/>
              <a:gd name="connsiteX174" fmla="*/ 5664200 w 5708650"/>
              <a:gd name="connsiteY174" fmla="*/ 88900 h 3111500"/>
              <a:gd name="connsiteX175" fmla="*/ 5708650 w 5708650"/>
              <a:gd name="connsiteY175" fmla="*/ 82550 h 3111500"/>
              <a:gd name="connsiteX176" fmla="*/ 5702300 w 5708650"/>
              <a:gd name="connsiteY176"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7526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523132 w 5708650"/>
              <a:gd name="connsiteY172" fmla="*/ 109639 h 3111500"/>
              <a:gd name="connsiteX173" fmla="*/ 5594350 w 5708650"/>
              <a:gd name="connsiteY173" fmla="*/ 95250 h 3111500"/>
              <a:gd name="connsiteX174" fmla="*/ 5664200 w 5708650"/>
              <a:gd name="connsiteY174" fmla="*/ 88900 h 3111500"/>
              <a:gd name="connsiteX175" fmla="*/ 5708650 w 5708650"/>
              <a:gd name="connsiteY175" fmla="*/ 82550 h 3111500"/>
              <a:gd name="connsiteX176" fmla="*/ 5702300 w 5708650"/>
              <a:gd name="connsiteY176"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7526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523132 w 5708650"/>
              <a:gd name="connsiteY172" fmla="*/ 109639 h 3111500"/>
              <a:gd name="connsiteX173" fmla="*/ 5582292 w 5708650"/>
              <a:gd name="connsiteY173" fmla="*/ 87211 h 3111500"/>
              <a:gd name="connsiteX174" fmla="*/ 5664200 w 5708650"/>
              <a:gd name="connsiteY174" fmla="*/ 88900 h 3111500"/>
              <a:gd name="connsiteX175" fmla="*/ 5708650 w 5708650"/>
              <a:gd name="connsiteY175" fmla="*/ 82550 h 3111500"/>
              <a:gd name="connsiteX176" fmla="*/ 5702300 w 5708650"/>
              <a:gd name="connsiteY176"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7526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523132 w 5708650"/>
              <a:gd name="connsiteY172" fmla="*/ 109639 h 3111500"/>
              <a:gd name="connsiteX173" fmla="*/ 5580283 w 5708650"/>
              <a:gd name="connsiteY173" fmla="*/ 89221 h 3111500"/>
              <a:gd name="connsiteX174" fmla="*/ 5664200 w 5708650"/>
              <a:gd name="connsiteY174" fmla="*/ 88900 h 3111500"/>
              <a:gd name="connsiteX175" fmla="*/ 5708650 w 5708650"/>
              <a:gd name="connsiteY175" fmla="*/ 82550 h 3111500"/>
              <a:gd name="connsiteX176" fmla="*/ 5702300 w 5708650"/>
              <a:gd name="connsiteY176" fmla="*/ 0 h 3111500"/>
              <a:gd name="connsiteX0" fmla="*/ 0 w 5708650"/>
              <a:gd name="connsiteY0" fmla="*/ 3111500 h 3111500"/>
              <a:gd name="connsiteX1" fmla="*/ 0 w 5708650"/>
              <a:gd name="connsiteY1" fmla="*/ 3111500 h 3111500"/>
              <a:gd name="connsiteX2" fmla="*/ 45175 w 5708650"/>
              <a:gd name="connsiteY2" fmla="*/ 3076778 h 3111500"/>
              <a:gd name="connsiteX3" fmla="*/ 92277 w 5708650"/>
              <a:gd name="connsiteY3" fmla="*/ 3054434 h 3111500"/>
              <a:gd name="connsiteX4" fmla="*/ 134718 w 5708650"/>
              <a:gd name="connsiteY4" fmla="*/ 3029997 h 3111500"/>
              <a:gd name="connsiteX5" fmla="*/ 179168 w 5708650"/>
              <a:gd name="connsiteY5" fmla="*/ 3002587 h 3111500"/>
              <a:gd name="connsiteX6" fmla="*/ 211239 w 5708650"/>
              <a:gd name="connsiteY6" fmla="*/ 2983858 h 3111500"/>
              <a:gd name="connsiteX7" fmla="*/ 285750 w 5708650"/>
              <a:gd name="connsiteY7" fmla="*/ 2952750 h 3111500"/>
              <a:gd name="connsiteX8" fmla="*/ 350939 w 5708650"/>
              <a:gd name="connsiteY8" fmla="*/ 2936352 h 3111500"/>
              <a:gd name="connsiteX9" fmla="*/ 425450 w 5708650"/>
              <a:gd name="connsiteY9" fmla="*/ 2914650 h 3111500"/>
              <a:gd name="connsiteX10" fmla="*/ 444500 w 5708650"/>
              <a:gd name="connsiteY10" fmla="*/ 2901950 h 3111500"/>
              <a:gd name="connsiteX11" fmla="*/ 463550 w 5708650"/>
              <a:gd name="connsiteY11" fmla="*/ 2895600 h 3111500"/>
              <a:gd name="connsiteX12" fmla="*/ 476250 w 5708650"/>
              <a:gd name="connsiteY12" fmla="*/ 2876550 h 3111500"/>
              <a:gd name="connsiteX13" fmla="*/ 501650 w 5708650"/>
              <a:gd name="connsiteY13" fmla="*/ 2870200 h 3111500"/>
              <a:gd name="connsiteX14" fmla="*/ 603250 w 5708650"/>
              <a:gd name="connsiteY14" fmla="*/ 2857500 h 3111500"/>
              <a:gd name="connsiteX15" fmla="*/ 609600 w 5708650"/>
              <a:gd name="connsiteY15" fmla="*/ 2838450 h 3111500"/>
              <a:gd name="connsiteX16" fmla="*/ 647700 w 5708650"/>
              <a:gd name="connsiteY16" fmla="*/ 2800350 h 3111500"/>
              <a:gd name="connsiteX17" fmla="*/ 692150 w 5708650"/>
              <a:gd name="connsiteY17" fmla="*/ 2774950 h 3111500"/>
              <a:gd name="connsiteX18" fmla="*/ 749300 w 5708650"/>
              <a:gd name="connsiteY18" fmla="*/ 2743200 h 3111500"/>
              <a:gd name="connsiteX19" fmla="*/ 749300 w 5708650"/>
              <a:gd name="connsiteY19" fmla="*/ 2743200 h 3111500"/>
              <a:gd name="connsiteX20" fmla="*/ 831529 w 5708650"/>
              <a:gd name="connsiteY20" fmla="*/ 2710487 h 3111500"/>
              <a:gd name="connsiteX21" fmla="*/ 856929 w 5708650"/>
              <a:gd name="connsiteY21" fmla="*/ 2698108 h 3111500"/>
              <a:gd name="connsiteX22" fmla="*/ 914400 w 5708650"/>
              <a:gd name="connsiteY22" fmla="*/ 2683077 h 3111500"/>
              <a:gd name="connsiteX23" fmla="*/ 952500 w 5708650"/>
              <a:gd name="connsiteY23" fmla="*/ 2670699 h 3111500"/>
              <a:gd name="connsiteX24" fmla="*/ 983929 w 5708650"/>
              <a:gd name="connsiteY24" fmla="*/ 2666358 h 3111500"/>
              <a:gd name="connsiteX25" fmla="*/ 1053779 w 5708650"/>
              <a:gd name="connsiteY25" fmla="*/ 2649959 h 3111500"/>
              <a:gd name="connsiteX26" fmla="*/ 1117600 w 5708650"/>
              <a:gd name="connsiteY26" fmla="*/ 2628900 h 3111500"/>
              <a:gd name="connsiteX27" fmla="*/ 1130300 w 5708650"/>
              <a:gd name="connsiteY27" fmla="*/ 2609850 h 3111500"/>
              <a:gd name="connsiteX28" fmla="*/ 1136650 w 5708650"/>
              <a:gd name="connsiteY28" fmla="*/ 2596829 h 3111500"/>
              <a:gd name="connsiteX29" fmla="*/ 1165749 w 5708650"/>
              <a:gd name="connsiteY29" fmla="*/ 2588149 h 3111500"/>
              <a:gd name="connsiteX30" fmla="*/ 1193800 w 5708650"/>
              <a:gd name="connsiteY30" fmla="*/ 2565400 h 3111500"/>
              <a:gd name="connsiteX31" fmla="*/ 1212850 w 5708650"/>
              <a:gd name="connsiteY31" fmla="*/ 2559050 h 3111500"/>
              <a:gd name="connsiteX32" fmla="*/ 1238250 w 5708650"/>
              <a:gd name="connsiteY32" fmla="*/ 2552700 h 3111500"/>
              <a:gd name="connsiteX33" fmla="*/ 1276350 w 5708650"/>
              <a:gd name="connsiteY33" fmla="*/ 2540000 h 3111500"/>
              <a:gd name="connsiteX34" fmla="*/ 1295400 w 5708650"/>
              <a:gd name="connsiteY34" fmla="*/ 2520950 h 3111500"/>
              <a:gd name="connsiteX35" fmla="*/ 1314450 w 5708650"/>
              <a:gd name="connsiteY35" fmla="*/ 2514600 h 3111500"/>
              <a:gd name="connsiteX36" fmla="*/ 1320800 w 5708650"/>
              <a:gd name="connsiteY36" fmla="*/ 2489200 h 3111500"/>
              <a:gd name="connsiteX37" fmla="*/ 1358900 w 5708650"/>
              <a:gd name="connsiteY37" fmla="*/ 2476500 h 3111500"/>
              <a:gd name="connsiteX38" fmla="*/ 1403350 w 5708650"/>
              <a:gd name="connsiteY38" fmla="*/ 2463800 h 3111500"/>
              <a:gd name="connsiteX39" fmla="*/ 1422400 w 5708650"/>
              <a:gd name="connsiteY39" fmla="*/ 2457450 h 3111500"/>
              <a:gd name="connsiteX40" fmla="*/ 1460500 w 5708650"/>
              <a:gd name="connsiteY40" fmla="*/ 2432050 h 3111500"/>
              <a:gd name="connsiteX41" fmla="*/ 1479550 w 5708650"/>
              <a:gd name="connsiteY41" fmla="*/ 2419350 h 3111500"/>
              <a:gd name="connsiteX42" fmla="*/ 1498600 w 5708650"/>
              <a:gd name="connsiteY42" fmla="*/ 2400300 h 3111500"/>
              <a:gd name="connsiteX43" fmla="*/ 1517650 w 5708650"/>
              <a:gd name="connsiteY43" fmla="*/ 2393950 h 3111500"/>
              <a:gd name="connsiteX44" fmla="*/ 1555750 w 5708650"/>
              <a:gd name="connsiteY44" fmla="*/ 2374900 h 3111500"/>
              <a:gd name="connsiteX45" fmla="*/ 1568450 w 5708650"/>
              <a:gd name="connsiteY45" fmla="*/ 2355850 h 3111500"/>
              <a:gd name="connsiteX46" fmla="*/ 1606550 w 5708650"/>
              <a:gd name="connsiteY46" fmla="*/ 2343150 h 3111500"/>
              <a:gd name="connsiteX47" fmla="*/ 1625600 w 5708650"/>
              <a:gd name="connsiteY47" fmla="*/ 2330450 h 3111500"/>
              <a:gd name="connsiteX48" fmla="*/ 1752600 w 5708650"/>
              <a:gd name="connsiteY48" fmla="*/ 2235200 h 3111500"/>
              <a:gd name="connsiteX49" fmla="*/ 1797050 w 5708650"/>
              <a:gd name="connsiteY49" fmla="*/ 2203450 h 3111500"/>
              <a:gd name="connsiteX50" fmla="*/ 1828800 w 5708650"/>
              <a:gd name="connsiteY50" fmla="*/ 2197100 h 3111500"/>
              <a:gd name="connsiteX51" fmla="*/ 1847850 w 5708650"/>
              <a:gd name="connsiteY51" fmla="*/ 2190750 h 3111500"/>
              <a:gd name="connsiteX52" fmla="*/ 1860550 w 5708650"/>
              <a:gd name="connsiteY52" fmla="*/ 2152650 h 3111500"/>
              <a:gd name="connsiteX53" fmla="*/ 1866900 w 5708650"/>
              <a:gd name="connsiteY53" fmla="*/ 2120900 h 3111500"/>
              <a:gd name="connsiteX54" fmla="*/ 1885950 w 5708650"/>
              <a:gd name="connsiteY54" fmla="*/ 2108200 h 3111500"/>
              <a:gd name="connsiteX55" fmla="*/ 1930400 w 5708650"/>
              <a:gd name="connsiteY55" fmla="*/ 2101850 h 3111500"/>
              <a:gd name="connsiteX56" fmla="*/ 1955800 w 5708650"/>
              <a:gd name="connsiteY56" fmla="*/ 2095500 h 3111500"/>
              <a:gd name="connsiteX57" fmla="*/ 1962150 w 5708650"/>
              <a:gd name="connsiteY57" fmla="*/ 2070100 h 3111500"/>
              <a:gd name="connsiteX58" fmla="*/ 2000250 w 5708650"/>
              <a:gd name="connsiteY58" fmla="*/ 2044700 h 3111500"/>
              <a:gd name="connsiteX59" fmla="*/ 2063750 w 5708650"/>
              <a:gd name="connsiteY59" fmla="*/ 2025650 h 3111500"/>
              <a:gd name="connsiteX60" fmla="*/ 2082800 w 5708650"/>
              <a:gd name="connsiteY60" fmla="*/ 2019300 h 3111500"/>
              <a:gd name="connsiteX61" fmla="*/ 2108200 w 5708650"/>
              <a:gd name="connsiteY61" fmla="*/ 2006600 h 3111500"/>
              <a:gd name="connsiteX62" fmla="*/ 2139950 w 5708650"/>
              <a:gd name="connsiteY62" fmla="*/ 2000250 h 3111500"/>
              <a:gd name="connsiteX63" fmla="*/ 2157311 w 5708650"/>
              <a:gd name="connsiteY63" fmla="*/ 1971473 h 3111500"/>
              <a:gd name="connsiteX64" fmla="*/ 2166313 w 5708650"/>
              <a:gd name="connsiteY64" fmla="*/ 1955074 h 3111500"/>
              <a:gd name="connsiteX65" fmla="*/ 2188741 w 5708650"/>
              <a:gd name="connsiteY65" fmla="*/ 1939723 h 3111500"/>
              <a:gd name="connsiteX66" fmla="*/ 2209800 w 5708650"/>
              <a:gd name="connsiteY66" fmla="*/ 1936750 h 3111500"/>
              <a:gd name="connsiteX67" fmla="*/ 2254250 w 5708650"/>
              <a:gd name="connsiteY67" fmla="*/ 1905000 h 3111500"/>
              <a:gd name="connsiteX68" fmla="*/ 2298700 w 5708650"/>
              <a:gd name="connsiteY68" fmla="*/ 1873250 h 3111500"/>
              <a:gd name="connsiteX69" fmla="*/ 2343471 w 5708650"/>
              <a:gd name="connsiteY69" fmla="*/ 1852511 h 3111500"/>
              <a:gd name="connsiteX70" fmla="*/ 2360511 w 5708650"/>
              <a:gd name="connsiteY70" fmla="*/ 1839811 h 3111500"/>
              <a:gd name="connsiteX71" fmla="*/ 2385590 w 5708650"/>
              <a:gd name="connsiteY71" fmla="*/ 1825422 h 3111500"/>
              <a:gd name="connsiteX72" fmla="*/ 2425700 w 5708650"/>
              <a:gd name="connsiteY72" fmla="*/ 1816100 h 3111500"/>
              <a:gd name="connsiteX73" fmla="*/ 2476500 w 5708650"/>
              <a:gd name="connsiteY73" fmla="*/ 1803400 h 3111500"/>
              <a:gd name="connsiteX74" fmla="*/ 2495550 w 5708650"/>
              <a:gd name="connsiteY74" fmla="*/ 1784350 h 3111500"/>
              <a:gd name="connsiteX75" fmla="*/ 2514600 w 5708650"/>
              <a:gd name="connsiteY75" fmla="*/ 1778000 h 3111500"/>
              <a:gd name="connsiteX76" fmla="*/ 2546350 w 5708650"/>
              <a:gd name="connsiteY76" fmla="*/ 1752600 h 3111500"/>
              <a:gd name="connsiteX77" fmla="*/ 2565400 w 5708650"/>
              <a:gd name="connsiteY77" fmla="*/ 1733550 h 3111500"/>
              <a:gd name="connsiteX78" fmla="*/ 2584450 w 5708650"/>
              <a:gd name="connsiteY78" fmla="*/ 1720850 h 3111500"/>
              <a:gd name="connsiteX79" fmla="*/ 2616200 w 5708650"/>
              <a:gd name="connsiteY79" fmla="*/ 1689100 h 3111500"/>
              <a:gd name="connsiteX80" fmla="*/ 2679700 w 5708650"/>
              <a:gd name="connsiteY80" fmla="*/ 1676400 h 3111500"/>
              <a:gd name="connsiteX81" fmla="*/ 2698750 w 5708650"/>
              <a:gd name="connsiteY81" fmla="*/ 1670050 h 3111500"/>
              <a:gd name="connsiteX82" fmla="*/ 2755900 w 5708650"/>
              <a:gd name="connsiteY82" fmla="*/ 1663700 h 3111500"/>
              <a:gd name="connsiteX83" fmla="*/ 2851150 w 5708650"/>
              <a:gd name="connsiteY83" fmla="*/ 1600200 h 3111500"/>
              <a:gd name="connsiteX84" fmla="*/ 2882900 w 5708650"/>
              <a:gd name="connsiteY84" fmla="*/ 1555750 h 3111500"/>
              <a:gd name="connsiteX85" fmla="*/ 2901950 w 5708650"/>
              <a:gd name="connsiteY85" fmla="*/ 1549400 h 3111500"/>
              <a:gd name="connsiteX86" fmla="*/ 2940050 w 5708650"/>
              <a:gd name="connsiteY86" fmla="*/ 1517650 h 3111500"/>
              <a:gd name="connsiteX87" fmla="*/ 2965450 w 5708650"/>
              <a:gd name="connsiteY87" fmla="*/ 1511300 h 3111500"/>
              <a:gd name="connsiteX88" fmla="*/ 3003550 w 5708650"/>
              <a:gd name="connsiteY88" fmla="*/ 1498600 h 3111500"/>
              <a:gd name="connsiteX89" fmla="*/ 3041650 w 5708650"/>
              <a:gd name="connsiteY89" fmla="*/ 1466850 h 3111500"/>
              <a:gd name="connsiteX90" fmla="*/ 3092450 w 5708650"/>
              <a:gd name="connsiteY90" fmla="*/ 1454150 h 3111500"/>
              <a:gd name="connsiteX91" fmla="*/ 3111500 w 5708650"/>
              <a:gd name="connsiteY91" fmla="*/ 1441450 h 3111500"/>
              <a:gd name="connsiteX92" fmla="*/ 3117850 w 5708650"/>
              <a:gd name="connsiteY92" fmla="*/ 1422400 h 3111500"/>
              <a:gd name="connsiteX93" fmla="*/ 3143250 w 5708650"/>
              <a:gd name="connsiteY93" fmla="*/ 1409700 h 3111500"/>
              <a:gd name="connsiteX94" fmla="*/ 3181350 w 5708650"/>
              <a:gd name="connsiteY94" fmla="*/ 1397000 h 3111500"/>
              <a:gd name="connsiteX95" fmla="*/ 3200400 w 5708650"/>
              <a:gd name="connsiteY95" fmla="*/ 1390650 h 3111500"/>
              <a:gd name="connsiteX96" fmla="*/ 3219450 w 5708650"/>
              <a:gd name="connsiteY96" fmla="*/ 1384300 h 3111500"/>
              <a:gd name="connsiteX97" fmla="*/ 3244850 w 5708650"/>
              <a:gd name="connsiteY97" fmla="*/ 1377950 h 3111500"/>
              <a:gd name="connsiteX98" fmla="*/ 3282950 w 5708650"/>
              <a:gd name="connsiteY98" fmla="*/ 1358900 h 3111500"/>
              <a:gd name="connsiteX99" fmla="*/ 3340100 w 5708650"/>
              <a:gd name="connsiteY99" fmla="*/ 1346200 h 3111500"/>
              <a:gd name="connsiteX100" fmla="*/ 3359150 w 5708650"/>
              <a:gd name="connsiteY100" fmla="*/ 1333500 h 3111500"/>
              <a:gd name="connsiteX101" fmla="*/ 3397250 w 5708650"/>
              <a:gd name="connsiteY101" fmla="*/ 1320800 h 3111500"/>
              <a:gd name="connsiteX102" fmla="*/ 3435350 w 5708650"/>
              <a:gd name="connsiteY102" fmla="*/ 1301750 h 3111500"/>
              <a:gd name="connsiteX103" fmla="*/ 3473450 w 5708650"/>
              <a:gd name="connsiteY103" fmla="*/ 1282700 h 3111500"/>
              <a:gd name="connsiteX104" fmla="*/ 3530600 w 5708650"/>
              <a:gd name="connsiteY104" fmla="*/ 1238250 h 3111500"/>
              <a:gd name="connsiteX105" fmla="*/ 3575050 w 5708650"/>
              <a:gd name="connsiteY105" fmla="*/ 1231900 h 3111500"/>
              <a:gd name="connsiteX106" fmla="*/ 3613150 w 5708650"/>
              <a:gd name="connsiteY106" fmla="*/ 1206500 h 3111500"/>
              <a:gd name="connsiteX107" fmla="*/ 3632200 w 5708650"/>
              <a:gd name="connsiteY107" fmla="*/ 1200150 h 3111500"/>
              <a:gd name="connsiteX108" fmla="*/ 3676650 w 5708650"/>
              <a:gd name="connsiteY108" fmla="*/ 1187450 h 3111500"/>
              <a:gd name="connsiteX109" fmla="*/ 3695700 w 5708650"/>
              <a:gd name="connsiteY109" fmla="*/ 1174750 h 3111500"/>
              <a:gd name="connsiteX110" fmla="*/ 3721100 w 5708650"/>
              <a:gd name="connsiteY110" fmla="*/ 1168400 h 3111500"/>
              <a:gd name="connsiteX111" fmla="*/ 3759200 w 5708650"/>
              <a:gd name="connsiteY111" fmla="*/ 1155700 h 3111500"/>
              <a:gd name="connsiteX112" fmla="*/ 3771900 w 5708650"/>
              <a:gd name="connsiteY112" fmla="*/ 1136650 h 3111500"/>
              <a:gd name="connsiteX113" fmla="*/ 3810000 w 5708650"/>
              <a:gd name="connsiteY113" fmla="*/ 1104900 h 3111500"/>
              <a:gd name="connsiteX114" fmla="*/ 3822700 w 5708650"/>
              <a:gd name="connsiteY114" fmla="*/ 1085850 h 3111500"/>
              <a:gd name="connsiteX115" fmla="*/ 3860800 w 5708650"/>
              <a:gd name="connsiteY115" fmla="*/ 1066800 h 3111500"/>
              <a:gd name="connsiteX116" fmla="*/ 3917950 w 5708650"/>
              <a:gd name="connsiteY116" fmla="*/ 1028700 h 3111500"/>
              <a:gd name="connsiteX117" fmla="*/ 3937000 w 5708650"/>
              <a:gd name="connsiteY117" fmla="*/ 1016000 h 3111500"/>
              <a:gd name="connsiteX118" fmla="*/ 3975100 w 5708650"/>
              <a:gd name="connsiteY118" fmla="*/ 1003300 h 3111500"/>
              <a:gd name="connsiteX119" fmla="*/ 3994150 w 5708650"/>
              <a:gd name="connsiteY119" fmla="*/ 990600 h 3111500"/>
              <a:gd name="connsiteX120" fmla="*/ 4025900 w 5708650"/>
              <a:gd name="connsiteY120" fmla="*/ 984250 h 3111500"/>
              <a:gd name="connsiteX121" fmla="*/ 4064000 w 5708650"/>
              <a:gd name="connsiteY121" fmla="*/ 971550 h 3111500"/>
              <a:gd name="connsiteX122" fmla="*/ 4076700 w 5708650"/>
              <a:gd name="connsiteY122" fmla="*/ 952500 h 3111500"/>
              <a:gd name="connsiteX123" fmla="*/ 4089400 w 5708650"/>
              <a:gd name="connsiteY123" fmla="*/ 914400 h 3111500"/>
              <a:gd name="connsiteX124" fmla="*/ 4108450 w 5708650"/>
              <a:gd name="connsiteY124" fmla="*/ 901700 h 3111500"/>
              <a:gd name="connsiteX125" fmla="*/ 4121150 w 5708650"/>
              <a:gd name="connsiteY125" fmla="*/ 882650 h 3111500"/>
              <a:gd name="connsiteX126" fmla="*/ 4140200 w 5708650"/>
              <a:gd name="connsiteY126" fmla="*/ 876300 h 3111500"/>
              <a:gd name="connsiteX127" fmla="*/ 4159250 w 5708650"/>
              <a:gd name="connsiteY127" fmla="*/ 863600 h 3111500"/>
              <a:gd name="connsiteX128" fmla="*/ 4171950 w 5708650"/>
              <a:gd name="connsiteY128" fmla="*/ 844550 h 3111500"/>
              <a:gd name="connsiteX129" fmla="*/ 4178300 w 5708650"/>
              <a:gd name="connsiteY129" fmla="*/ 825500 h 3111500"/>
              <a:gd name="connsiteX130" fmla="*/ 4197350 w 5708650"/>
              <a:gd name="connsiteY130" fmla="*/ 812800 h 3111500"/>
              <a:gd name="connsiteX131" fmla="*/ 4235450 w 5708650"/>
              <a:gd name="connsiteY131" fmla="*/ 801467 h 3111500"/>
              <a:gd name="connsiteX132" fmla="*/ 4277570 w 5708650"/>
              <a:gd name="connsiteY132" fmla="*/ 769397 h 3111500"/>
              <a:gd name="connsiteX133" fmla="*/ 4338739 w 5708650"/>
              <a:gd name="connsiteY133" fmla="*/ 763047 h 3111500"/>
              <a:gd name="connsiteX134" fmla="*/ 4394200 w 5708650"/>
              <a:gd name="connsiteY134" fmla="*/ 730250 h 3111500"/>
              <a:gd name="connsiteX135" fmla="*/ 4438650 w 5708650"/>
              <a:gd name="connsiteY135" fmla="*/ 723900 h 3111500"/>
              <a:gd name="connsiteX136" fmla="*/ 4470400 w 5708650"/>
              <a:gd name="connsiteY136" fmla="*/ 698500 h 3111500"/>
              <a:gd name="connsiteX137" fmla="*/ 4521200 w 5708650"/>
              <a:gd name="connsiteY137" fmla="*/ 679450 h 3111500"/>
              <a:gd name="connsiteX138" fmla="*/ 4559300 w 5708650"/>
              <a:gd name="connsiteY138" fmla="*/ 666750 h 3111500"/>
              <a:gd name="connsiteX139" fmla="*/ 4597400 w 5708650"/>
              <a:gd name="connsiteY139" fmla="*/ 641350 h 3111500"/>
              <a:gd name="connsiteX140" fmla="*/ 4635500 w 5708650"/>
              <a:gd name="connsiteY140" fmla="*/ 628650 h 3111500"/>
              <a:gd name="connsiteX141" fmla="*/ 4654550 w 5708650"/>
              <a:gd name="connsiteY141" fmla="*/ 622300 h 3111500"/>
              <a:gd name="connsiteX142" fmla="*/ 4673600 w 5708650"/>
              <a:gd name="connsiteY142" fmla="*/ 609600 h 3111500"/>
              <a:gd name="connsiteX143" fmla="*/ 4711700 w 5708650"/>
              <a:gd name="connsiteY143" fmla="*/ 596900 h 3111500"/>
              <a:gd name="connsiteX144" fmla="*/ 4724400 w 5708650"/>
              <a:gd name="connsiteY144" fmla="*/ 577850 h 3111500"/>
              <a:gd name="connsiteX145" fmla="*/ 4762500 w 5708650"/>
              <a:gd name="connsiteY145" fmla="*/ 552450 h 3111500"/>
              <a:gd name="connsiteX146" fmla="*/ 4775200 w 5708650"/>
              <a:gd name="connsiteY146" fmla="*/ 508000 h 3111500"/>
              <a:gd name="connsiteX147" fmla="*/ 4800279 w 5708650"/>
              <a:gd name="connsiteY147" fmla="*/ 505348 h 3111500"/>
              <a:gd name="connsiteX148" fmla="*/ 4853814 w 5708650"/>
              <a:gd name="connsiteY148" fmla="*/ 492327 h 3111500"/>
              <a:gd name="connsiteX149" fmla="*/ 4877526 w 5708650"/>
              <a:gd name="connsiteY149" fmla="*/ 460256 h 3111500"/>
              <a:gd name="connsiteX150" fmla="*/ 4984750 w 5708650"/>
              <a:gd name="connsiteY150" fmla="*/ 431800 h 3111500"/>
              <a:gd name="connsiteX151" fmla="*/ 5003800 w 5708650"/>
              <a:gd name="connsiteY151" fmla="*/ 425450 h 3111500"/>
              <a:gd name="connsiteX152" fmla="*/ 5022850 w 5708650"/>
              <a:gd name="connsiteY152" fmla="*/ 412750 h 3111500"/>
              <a:gd name="connsiteX153" fmla="*/ 5080000 w 5708650"/>
              <a:gd name="connsiteY153" fmla="*/ 387350 h 3111500"/>
              <a:gd name="connsiteX154" fmla="*/ 5092700 w 5708650"/>
              <a:gd name="connsiteY154" fmla="*/ 368300 h 3111500"/>
              <a:gd name="connsiteX155" fmla="*/ 5111750 w 5708650"/>
              <a:gd name="connsiteY155" fmla="*/ 361950 h 3111500"/>
              <a:gd name="connsiteX156" fmla="*/ 5130800 w 5708650"/>
              <a:gd name="connsiteY156" fmla="*/ 349250 h 3111500"/>
              <a:gd name="connsiteX157" fmla="*/ 5137150 w 5708650"/>
              <a:gd name="connsiteY157" fmla="*/ 330200 h 3111500"/>
              <a:gd name="connsiteX158" fmla="*/ 5181600 w 5708650"/>
              <a:gd name="connsiteY158" fmla="*/ 317500 h 3111500"/>
              <a:gd name="connsiteX159" fmla="*/ 5200650 w 5708650"/>
              <a:gd name="connsiteY159" fmla="*/ 304800 h 3111500"/>
              <a:gd name="connsiteX160" fmla="*/ 5213350 w 5708650"/>
              <a:gd name="connsiteY160" fmla="*/ 266700 h 3111500"/>
              <a:gd name="connsiteX161" fmla="*/ 5251450 w 5708650"/>
              <a:gd name="connsiteY161" fmla="*/ 260350 h 3111500"/>
              <a:gd name="connsiteX162" fmla="*/ 5270500 w 5708650"/>
              <a:gd name="connsiteY162" fmla="*/ 254000 h 3111500"/>
              <a:gd name="connsiteX163" fmla="*/ 5308600 w 5708650"/>
              <a:gd name="connsiteY163" fmla="*/ 247650 h 3111500"/>
              <a:gd name="connsiteX164" fmla="*/ 5346700 w 5708650"/>
              <a:gd name="connsiteY164" fmla="*/ 234950 h 3111500"/>
              <a:gd name="connsiteX165" fmla="*/ 5372100 w 5708650"/>
              <a:gd name="connsiteY165" fmla="*/ 228600 h 3111500"/>
              <a:gd name="connsiteX166" fmla="*/ 5384800 w 5708650"/>
              <a:gd name="connsiteY166" fmla="*/ 209550 h 3111500"/>
              <a:gd name="connsiteX167" fmla="*/ 5403850 w 5708650"/>
              <a:gd name="connsiteY167" fmla="*/ 203200 h 3111500"/>
              <a:gd name="connsiteX168" fmla="*/ 5410200 w 5708650"/>
              <a:gd name="connsiteY168" fmla="*/ 184150 h 3111500"/>
              <a:gd name="connsiteX169" fmla="*/ 5429250 w 5708650"/>
              <a:gd name="connsiteY169" fmla="*/ 177800 h 3111500"/>
              <a:gd name="connsiteX170" fmla="*/ 5467350 w 5708650"/>
              <a:gd name="connsiteY170" fmla="*/ 158750 h 3111500"/>
              <a:gd name="connsiteX171" fmla="*/ 5480050 w 5708650"/>
              <a:gd name="connsiteY171" fmla="*/ 139700 h 3111500"/>
              <a:gd name="connsiteX172" fmla="*/ 5523132 w 5708650"/>
              <a:gd name="connsiteY172" fmla="*/ 109639 h 3111500"/>
              <a:gd name="connsiteX173" fmla="*/ 5580283 w 5708650"/>
              <a:gd name="connsiteY173" fmla="*/ 89221 h 3111500"/>
              <a:gd name="connsiteX174" fmla="*/ 5634055 w 5708650"/>
              <a:gd name="connsiteY174" fmla="*/ 90910 h 3111500"/>
              <a:gd name="connsiteX175" fmla="*/ 5708650 w 5708650"/>
              <a:gd name="connsiteY175" fmla="*/ 82550 h 3111500"/>
              <a:gd name="connsiteX176" fmla="*/ 5702300 w 5708650"/>
              <a:gd name="connsiteY176" fmla="*/ 0 h 3111500"/>
              <a:gd name="connsiteX0" fmla="*/ 0 w 5702621"/>
              <a:gd name="connsiteY0" fmla="*/ 3111500 h 3111500"/>
              <a:gd name="connsiteX1" fmla="*/ 0 w 5702621"/>
              <a:gd name="connsiteY1" fmla="*/ 3111500 h 3111500"/>
              <a:gd name="connsiteX2" fmla="*/ 45175 w 5702621"/>
              <a:gd name="connsiteY2" fmla="*/ 3076778 h 3111500"/>
              <a:gd name="connsiteX3" fmla="*/ 92277 w 5702621"/>
              <a:gd name="connsiteY3" fmla="*/ 3054434 h 3111500"/>
              <a:gd name="connsiteX4" fmla="*/ 134718 w 5702621"/>
              <a:gd name="connsiteY4" fmla="*/ 3029997 h 3111500"/>
              <a:gd name="connsiteX5" fmla="*/ 179168 w 5702621"/>
              <a:gd name="connsiteY5" fmla="*/ 3002587 h 3111500"/>
              <a:gd name="connsiteX6" fmla="*/ 211239 w 5702621"/>
              <a:gd name="connsiteY6" fmla="*/ 2983858 h 3111500"/>
              <a:gd name="connsiteX7" fmla="*/ 285750 w 5702621"/>
              <a:gd name="connsiteY7" fmla="*/ 2952750 h 3111500"/>
              <a:gd name="connsiteX8" fmla="*/ 350939 w 5702621"/>
              <a:gd name="connsiteY8" fmla="*/ 2936352 h 3111500"/>
              <a:gd name="connsiteX9" fmla="*/ 425450 w 5702621"/>
              <a:gd name="connsiteY9" fmla="*/ 2914650 h 3111500"/>
              <a:gd name="connsiteX10" fmla="*/ 444500 w 5702621"/>
              <a:gd name="connsiteY10" fmla="*/ 2901950 h 3111500"/>
              <a:gd name="connsiteX11" fmla="*/ 463550 w 5702621"/>
              <a:gd name="connsiteY11" fmla="*/ 2895600 h 3111500"/>
              <a:gd name="connsiteX12" fmla="*/ 476250 w 5702621"/>
              <a:gd name="connsiteY12" fmla="*/ 2876550 h 3111500"/>
              <a:gd name="connsiteX13" fmla="*/ 501650 w 5702621"/>
              <a:gd name="connsiteY13" fmla="*/ 2870200 h 3111500"/>
              <a:gd name="connsiteX14" fmla="*/ 603250 w 5702621"/>
              <a:gd name="connsiteY14" fmla="*/ 2857500 h 3111500"/>
              <a:gd name="connsiteX15" fmla="*/ 609600 w 5702621"/>
              <a:gd name="connsiteY15" fmla="*/ 2838450 h 3111500"/>
              <a:gd name="connsiteX16" fmla="*/ 647700 w 5702621"/>
              <a:gd name="connsiteY16" fmla="*/ 2800350 h 3111500"/>
              <a:gd name="connsiteX17" fmla="*/ 692150 w 5702621"/>
              <a:gd name="connsiteY17" fmla="*/ 2774950 h 3111500"/>
              <a:gd name="connsiteX18" fmla="*/ 749300 w 5702621"/>
              <a:gd name="connsiteY18" fmla="*/ 2743200 h 3111500"/>
              <a:gd name="connsiteX19" fmla="*/ 749300 w 5702621"/>
              <a:gd name="connsiteY19" fmla="*/ 2743200 h 3111500"/>
              <a:gd name="connsiteX20" fmla="*/ 831529 w 5702621"/>
              <a:gd name="connsiteY20" fmla="*/ 2710487 h 3111500"/>
              <a:gd name="connsiteX21" fmla="*/ 856929 w 5702621"/>
              <a:gd name="connsiteY21" fmla="*/ 2698108 h 3111500"/>
              <a:gd name="connsiteX22" fmla="*/ 914400 w 5702621"/>
              <a:gd name="connsiteY22" fmla="*/ 2683077 h 3111500"/>
              <a:gd name="connsiteX23" fmla="*/ 952500 w 5702621"/>
              <a:gd name="connsiteY23" fmla="*/ 2670699 h 3111500"/>
              <a:gd name="connsiteX24" fmla="*/ 983929 w 5702621"/>
              <a:gd name="connsiteY24" fmla="*/ 2666358 h 3111500"/>
              <a:gd name="connsiteX25" fmla="*/ 1053779 w 5702621"/>
              <a:gd name="connsiteY25" fmla="*/ 2649959 h 3111500"/>
              <a:gd name="connsiteX26" fmla="*/ 1117600 w 5702621"/>
              <a:gd name="connsiteY26" fmla="*/ 2628900 h 3111500"/>
              <a:gd name="connsiteX27" fmla="*/ 1130300 w 5702621"/>
              <a:gd name="connsiteY27" fmla="*/ 2609850 h 3111500"/>
              <a:gd name="connsiteX28" fmla="*/ 1136650 w 5702621"/>
              <a:gd name="connsiteY28" fmla="*/ 2596829 h 3111500"/>
              <a:gd name="connsiteX29" fmla="*/ 1165749 w 5702621"/>
              <a:gd name="connsiteY29" fmla="*/ 2588149 h 3111500"/>
              <a:gd name="connsiteX30" fmla="*/ 1193800 w 5702621"/>
              <a:gd name="connsiteY30" fmla="*/ 2565400 h 3111500"/>
              <a:gd name="connsiteX31" fmla="*/ 1212850 w 5702621"/>
              <a:gd name="connsiteY31" fmla="*/ 2559050 h 3111500"/>
              <a:gd name="connsiteX32" fmla="*/ 1238250 w 5702621"/>
              <a:gd name="connsiteY32" fmla="*/ 2552700 h 3111500"/>
              <a:gd name="connsiteX33" fmla="*/ 1276350 w 5702621"/>
              <a:gd name="connsiteY33" fmla="*/ 2540000 h 3111500"/>
              <a:gd name="connsiteX34" fmla="*/ 1295400 w 5702621"/>
              <a:gd name="connsiteY34" fmla="*/ 2520950 h 3111500"/>
              <a:gd name="connsiteX35" fmla="*/ 1314450 w 5702621"/>
              <a:gd name="connsiteY35" fmla="*/ 2514600 h 3111500"/>
              <a:gd name="connsiteX36" fmla="*/ 1320800 w 5702621"/>
              <a:gd name="connsiteY36" fmla="*/ 2489200 h 3111500"/>
              <a:gd name="connsiteX37" fmla="*/ 1358900 w 5702621"/>
              <a:gd name="connsiteY37" fmla="*/ 2476500 h 3111500"/>
              <a:gd name="connsiteX38" fmla="*/ 1403350 w 5702621"/>
              <a:gd name="connsiteY38" fmla="*/ 2463800 h 3111500"/>
              <a:gd name="connsiteX39" fmla="*/ 1422400 w 5702621"/>
              <a:gd name="connsiteY39" fmla="*/ 2457450 h 3111500"/>
              <a:gd name="connsiteX40" fmla="*/ 1460500 w 5702621"/>
              <a:gd name="connsiteY40" fmla="*/ 2432050 h 3111500"/>
              <a:gd name="connsiteX41" fmla="*/ 1479550 w 5702621"/>
              <a:gd name="connsiteY41" fmla="*/ 2419350 h 3111500"/>
              <a:gd name="connsiteX42" fmla="*/ 1498600 w 5702621"/>
              <a:gd name="connsiteY42" fmla="*/ 2400300 h 3111500"/>
              <a:gd name="connsiteX43" fmla="*/ 1517650 w 5702621"/>
              <a:gd name="connsiteY43" fmla="*/ 2393950 h 3111500"/>
              <a:gd name="connsiteX44" fmla="*/ 1555750 w 5702621"/>
              <a:gd name="connsiteY44" fmla="*/ 2374900 h 3111500"/>
              <a:gd name="connsiteX45" fmla="*/ 1568450 w 5702621"/>
              <a:gd name="connsiteY45" fmla="*/ 2355850 h 3111500"/>
              <a:gd name="connsiteX46" fmla="*/ 1606550 w 5702621"/>
              <a:gd name="connsiteY46" fmla="*/ 2343150 h 3111500"/>
              <a:gd name="connsiteX47" fmla="*/ 1625600 w 5702621"/>
              <a:gd name="connsiteY47" fmla="*/ 2330450 h 3111500"/>
              <a:gd name="connsiteX48" fmla="*/ 1752600 w 5702621"/>
              <a:gd name="connsiteY48" fmla="*/ 2235200 h 3111500"/>
              <a:gd name="connsiteX49" fmla="*/ 1797050 w 5702621"/>
              <a:gd name="connsiteY49" fmla="*/ 2203450 h 3111500"/>
              <a:gd name="connsiteX50" fmla="*/ 1828800 w 5702621"/>
              <a:gd name="connsiteY50" fmla="*/ 2197100 h 3111500"/>
              <a:gd name="connsiteX51" fmla="*/ 1847850 w 5702621"/>
              <a:gd name="connsiteY51" fmla="*/ 2190750 h 3111500"/>
              <a:gd name="connsiteX52" fmla="*/ 1860550 w 5702621"/>
              <a:gd name="connsiteY52" fmla="*/ 2152650 h 3111500"/>
              <a:gd name="connsiteX53" fmla="*/ 1866900 w 5702621"/>
              <a:gd name="connsiteY53" fmla="*/ 2120900 h 3111500"/>
              <a:gd name="connsiteX54" fmla="*/ 1885950 w 5702621"/>
              <a:gd name="connsiteY54" fmla="*/ 2108200 h 3111500"/>
              <a:gd name="connsiteX55" fmla="*/ 1930400 w 5702621"/>
              <a:gd name="connsiteY55" fmla="*/ 2101850 h 3111500"/>
              <a:gd name="connsiteX56" fmla="*/ 1955800 w 5702621"/>
              <a:gd name="connsiteY56" fmla="*/ 2095500 h 3111500"/>
              <a:gd name="connsiteX57" fmla="*/ 1962150 w 5702621"/>
              <a:gd name="connsiteY57" fmla="*/ 2070100 h 3111500"/>
              <a:gd name="connsiteX58" fmla="*/ 2000250 w 5702621"/>
              <a:gd name="connsiteY58" fmla="*/ 2044700 h 3111500"/>
              <a:gd name="connsiteX59" fmla="*/ 2063750 w 5702621"/>
              <a:gd name="connsiteY59" fmla="*/ 2025650 h 3111500"/>
              <a:gd name="connsiteX60" fmla="*/ 2082800 w 5702621"/>
              <a:gd name="connsiteY60" fmla="*/ 2019300 h 3111500"/>
              <a:gd name="connsiteX61" fmla="*/ 2108200 w 5702621"/>
              <a:gd name="connsiteY61" fmla="*/ 2006600 h 3111500"/>
              <a:gd name="connsiteX62" fmla="*/ 2139950 w 5702621"/>
              <a:gd name="connsiteY62" fmla="*/ 2000250 h 3111500"/>
              <a:gd name="connsiteX63" fmla="*/ 2157311 w 5702621"/>
              <a:gd name="connsiteY63" fmla="*/ 1971473 h 3111500"/>
              <a:gd name="connsiteX64" fmla="*/ 2166313 w 5702621"/>
              <a:gd name="connsiteY64" fmla="*/ 1955074 h 3111500"/>
              <a:gd name="connsiteX65" fmla="*/ 2188741 w 5702621"/>
              <a:gd name="connsiteY65" fmla="*/ 1939723 h 3111500"/>
              <a:gd name="connsiteX66" fmla="*/ 2209800 w 5702621"/>
              <a:gd name="connsiteY66" fmla="*/ 1936750 h 3111500"/>
              <a:gd name="connsiteX67" fmla="*/ 2254250 w 5702621"/>
              <a:gd name="connsiteY67" fmla="*/ 1905000 h 3111500"/>
              <a:gd name="connsiteX68" fmla="*/ 2298700 w 5702621"/>
              <a:gd name="connsiteY68" fmla="*/ 1873250 h 3111500"/>
              <a:gd name="connsiteX69" fmla="*/ 2343471 w 5702621"/>
              <a:gd name="connsiteY69" fmla="*/ 1852511 h 3111500"/>
              <a:gd name="connsiteX70" fmla="*/ 2360511 w 5702621"/>
              <a:gd name="connsiteY70" fmla="*/ 1839811 h 3111500"/>
              <a:gd name="connsiteX71" fmla="*/ 2385590 w 5702621"/>
              <a:gd name="connsiteY71" fmla="*/ 1825422 h 3111500"/>
              <a:gd name="connsiteX72" fmla="*/ 2425700 w 5702621"/>
              <a:gd name="connsiteY72" fmla="*/ 1816100 h 3111500"/>
              <a:gd name="connsiteX73" fmla="*/ 2476500 w 5702621"/>
              <a:gd name="connsiteY73" fmla="*/ 1803400 h 3111500"/>
              <a:gd name="connsiteX74" fmla="*/ 2495550 w 5702621"/>
              <a:gd name="connsiteY74" fmla="*/ 1784350 h 3111500"/>
              <a:gd name="connsiteX75" fmla="*/ 2514600 w 5702621"/>
              <a:gd name="connsiteY75" fmla="*/ 1778000 h 3111500"/>
              <a:gd name="connsiteX76" fmla="*/ 2546350 w 5702621"/>
              <a:gd name="connsiteY76" fmla="*/ 1752600 h 3111500"/>
              <a:gd name="connsiteX77" fmla="*/ 2565400 w 5702621"/>
              <a:gd name="connsiteY77" fmla="*/ 1733550 h 3111500"/>
              <a:gd name="connsiteX78" fmla="*/ 2584450 w 5702621"/>
              <a:gd name="connsiteY78" fmla="*/ 1720850 h 3111500"/>
              <a:gd name="connsiteX79" fmla="*/ 2616200 w 5702621"/>
              <a:gd name="connsiteY79" fmla="*/ 1689100 h 3111500"/>
              <a:gd name="connsiteX80" fmla="*/ 2679700 w 5702621"/>
              <a:gd name="connsiteY80" fmla="*/ 1676400 h 3111500"/>
              <a:gd name="connsiteX81" fmla="*/ 2698750 w 5702621"/>
              <a:gd name="connsiteY81" fmla="*/ 1670050 h 3111500"/>
              <a:gd name="connsiteX82" fmla="*/ 2755900 w 5702621"/>
              <a:gd name="connsiteY82" fmla="*/ 1663700 h 3111500"/>
              <a:gd name="connsiteX83" fmla="*/ 2851150 w 5702621"/>
              <a:gd name="connsiteY83" fmla="*/ 1600200 h 3111500"/>
              <a:gd name="connsiteX84" fmla="*/ 2882900 w 5702621"/>
              <a:gd name="connsiteY84" fmla="*/ 1555750 h 3111500"/>
              <a:gd name="connsiteX85" fmla="*/ 2901950 w 5702621"/>
              <a:gd name="connsiteY85" fmla="*/ 1549400 h 3111500"/>
              <a:gd name="connsiteX86" fmla="*/ 2940050 w 5702621"/>
              <a:gd name="connsiteY86" fmla="*/ 1517650 h 3111500"/>
              <a:gd name="connsiteX87" fmla="*/ 2965450 w 5702621"/>
              <a:gd name="connsiteY87" fmla="*/ 1511300 h 3111500"/>
              <a:gd name="connsiteX88" fmla="*/ 3003550 w 5702621"/>
              <a:gd name="connsiteY88" fmla="*/ 1498600 h 3111500"/>
              <a:gd name="connsiteX89" fmla="*/ 3041650 w 5702621"/>
              <a:gd name="connsiteY89" fmla="*/ 1466850 h 3111500"/>
              <a:gd name="connsiteX90" fmla="*/ 3092450 w 5702621"/>
              <a:gd name="connsiteY90" fmla="*/ 1454150 h 3111500"/>
              <a:gd name="connsiteX91" fmla="*/ 3111500 w 5702621"/>
              <a:gd name="connsiteY91" fmla="*/ 1441450 h 3111500"/>
              <a:gd name="connsiteX92" fmla="*/ 3117850 w 5702621"/>
              <a:gd name="connsiteY92" fmla="*/ 1422400 h 3111500"/>
              <a:gd name="connsiteX93" fmla="*/ 3143250 w 5702621"/>
              <a:gd name="connsiteY93" fmla="*/ 1409700 h 3111500"/>
              <a:gd name="connsiteX94" fmla="*/ 3181350 w 5702621"/>
              <a:gd name="connsiteY94" fmla="*/ 1397000 h 3111500"/>
              <a:gd name="connsiteX95" fmla="*/ 3200400 w 5702621"/>
              <a:gd name="connsiteY95" fmla="*/ 1390650 h 3111500"/>
              <a:gd name="connsiteX96" fmla="*/ 3219450 w 5702621"/>
              <a:gd name="connsiteY96" fmla="*/ 1384300 h 3111500"/>
              <a:gd name="connsiteX97" fmla="*/ 3244850 w 5702621"/>
              <a:gd name="connsiteY97" fmla="*/ 1377950 h 3111500"/>
              <a:gd name="connsiteX98" fmla="*/ 3282950 w 5702621"/>
              <a:gd name="connsiteY98" fmla="*/ 1358900 h 3111500"/>
              <a:gd name="connsiteX99" fmla="*/ 3340100 w 5702621"/>
              <a:gd name="connsiteY99" fmla="*/ 1346200 h 3111500"/>
              <a:gd name="connsiteX100" fmla="*/ 3359150 w 5702621"/>
              <a:gd name="connsiteY100" fmla="*/ 1333500 h 3111500"/>
              <a:gd name="connsiteX101" fmla="*/ 3397250 w 5702621"/>
              <a:gd name="connsiteY101" fmla="*/ 1320800 h 3111500"/>
              <a:gd name="connsiteX102" fmla="*/ 3435350 w 5702621"/>
              <a:gd name="connsiteY102" fmla="*/ 1301750 h 3111500"/>
              <a:gd name="connsiteX103" fmla="*/ 3473450 w 5702621"/>
              <a:gd name="connsiteY103" fmla="*/ 1282700 h 3111500"/>
              <a:gd name="connsiteX104" fmla="*/ 3530600 w 5702621"/>
              <a:gd name="connsiteY104" fmla="*/ 1238250 h 3111500"/>
              <a:gd name="connsiteX105" fmla="*/ 3575050 w 5702621"/>
              <a:gd name="connsiteY105" fmla="*/ 1231900 h 3111500"/>
              <a:gd name="connsiteX106" fmla="*/ 3613150 w 5702621"/>
              <a:gd name="connsiteY106" fmla="*/ 1206500 h 3111500"/>
              <a:gd name="connsiteX107" fmla="*/ 3632200 w 5702621"/>
              <a:gd name="connsiteY107" fmla="*/ 1200150 h 3111500"/>
              <a:gd name="connsiteX108" fmla="*/ 3676650 w 5702621"/>
              <a:gd name="connsiteY108" fmla="*/ 1187450 h 3111500"/>
              <a:gd name="connsiteX109" fmla="*/ 3695700 w 5702621"/>
              <a:gd name="connsiteY109" fmla="*/ 1174750 h 3111500"/>
              <a:gd name="connsiteX110" fmla="*/ 3721100 w 5702621"/>
              <a:gd name="connsiteY110" fmla="*/ 1168400 h 3111500"/>
              <a:gd name="connsiteX111" fmla="*/ 3759200 w 5702621"/>
              <a:gd name="connsiteY111" fmla="*/ 1155700 h 3111500"/>
              <a:gd name="connsiteX112" fmla="*/ 3771900 w 5702621"/>
              <a:gd name="connsiteY112" fmla="*/ 1136650 h 3111500"/>
              <a:gd name="connsiteX113" fmla="*/ 3810000 w 5702621"/>
              <a:gd name="connsiteY113" fmla="*/ 1104900 h 3111500"/>
              <a:gd name="connsiteX114" fmla="*/ 3822700 w 5702621"/>
              <a:gd name="connsiteY114" fmla="*/ 1085850 h 3111500"/>
              <a:gd name="connsiteX115" fmla="*/ 3860800 w 5702621"/>
              <a:gd name="connsiteY115" fmla="*/ 1066800 h 3111500"/>
              <a:gd name="connsiteX116" fmla="*/ 3917950 w 5702621"/>
              <a:gd name="connsiteY116" fmla="*/ 1028700 h 3111500"/>
              <a:gd name="connsiteX117" fmla="*/ 3937000 w 5702621"/>
              <a:gd name="connsiteY117" fmla="*/ 1016000 h 3111500"/>
              <a:gd name="connsiteX118" fmla="*/ 3975100 w 5702621"/>
              <a:gd name="connsiteY118" fmla="*/ 1003300 h 3111500"/>
              <a:gd name="connsiteX119" fmla="*/ 3994150 w 5702621"/>
              <a:gd name="connsiteY119" fmla="*/ 990600 h 3111500"/>
              <a:gd name="connsiteX120" fmla="*/ 4025900 w 5702621"/>
              <a:gd name="connsiteY120" fmla="*/ 984250 h 3111500"/>
              <a:gd name="connsiteX121" fmla="*/ 4064000 w 5702621"/>
              <a:gd name="connsiteY121" fmla="*/ 971550 h 3111500"/>
              <a:gd name="connsiteX122" fmla="*/ 4076700 w 5702621"/>
              <a:gd name="connsiteY122" fmla="*/ 952500 h 3111500"/>
              <a:gd name="connsiteX123" fmla="*/ 4089400 w 5702621"/>
              <a:gd name="connsiteY123" fmla="*/ 914400 h 3111500"/>
              <a:gd name="connsiteX124" fmla="*/ 4108450 w 5702621"/>
              <a:gd name="connsiteY124" fmla="*/ 901700 h 3111500"/>
              <a:gd name="connsiteX125" fmla="*/ 4121150 w 5702621"/>
              <a:gd name="connsiteY125" fmla="*/ 882650 h 3111500"/>
              <a:gd name="connsiteX126" fmla="*/ 4140200 w 5702621"/>
              <a:gd name="connsiteY126" fmla="*/ 876300 h 3111500"/>
              <a:gd name="connsiteX127" fmla="*/ 4159250 w 5702621"/>
              <a:gd name="connsiteY127" fmla="*/ 863600 h 3111500"/>
              <a:gd name="connsiteX128" fmla="*/ 4171950 w 5702621"/>
              <a:gd name="connsiteY128" fmla="*/ 844550 h 3111500"/>
              <a:gd name="connsiteX129" fmla="*/ 4178300 w 5702621"/>
              <a:gd name="connsiteY129" fmla="*/ 825500 h 3111500"/>
              <a:gd name="connsiteX130" fmla="*/ 4197350 w 5702621"/>
              <a:gd name="connsiteY130" fmla="*/ 812800 h 3111500"/>
              <a:gd name="connsiteX131" fmla="*/ 4235450 w 5702621"/>
              <a:gd name="connsiteY131" fmla="*/ 801467 h 3111500"/>
              <a:gd name="connsiteX132" fmla="*/ 4277570 w 5702621"/>
              <a:gd name="connsiteY132" fmla="*/ 769397 h 3111500"/>
              <a:gd name="connsiteX133" fmla="*/ 4338739 w 5702621"/>
              <a:gd name="connsiteY133" fmla="*/ 763047 h 3111500"/>
              <a:gd name="connsiteX134" fmla="*/ 4394200 w 5702621"/>
              <a:gd name="connsiteY134" fmla="*/ 730250 h 3111500"/>
              <a:gd name="connsiteX135" fmla="*/ 4438650 w 5702621"/>
              <a:gd name="connsiteY135" fmla="*/ 723900 h 3111500"/>
              <a:gd name="connsiteX136" fmla="*/ 4470400 w 5702621"/>
              <a:gd name="connsiteY136" fmla="*/ 698500 h 3111500"/>
              <a:gd name="connsiteX137" fmla="*/ 4521200 w 5702621"/>
              <a:gd name="connsiteY137" fmla="*/ 679450 h 3111500"/>
              <a:gd name="connsiteX138" fmla="*/ 4559300 w 5702621"/>
              <a:gd name="connsiteY138" fmla="*/ 666750 h 3111500"/>
              <a:gd name="connsiteX139" fmla="*/ 4597400 w 5702621"/>
              <a:gd name="connsiteY139" fmla="*/ 641350 h 3111500"/>
              <a:gd name="connsiteX140" fmla="*/ 4635500 w 5702621"/>
              <a:gd name="connsiteY140" fmla="*/ 628650 h 3111500"/>
              <a:gd name="connsiteX141" fmla="*/ 4654550 w 5702621"/>
              <a:gd name="connsiteY141" fmla="*/ 622300 h 3111500"/>
              <a:gd name="connsiteX142" fmla="*/ 4673600 w 5702621"/>
              <a:gd name="connsiteY142" fmla="*/ 609600 h 3111500"/>
              <a:gd name="connsiteX143" fmla="*/ 4711700 w 5702621"/>
              <a:gd name="connsiteY143" fmla="*/ 596900 h 3111500"/>
              <a:gd name="connsiteX144" fmla="*/ 4724400 w 5702621"/>
              <a:gd name="connsiteY144" fmla="*/ 577850 h 3111500"/>
              <a:gd name="connsiteX145" fmla="*/ 4762500 w 5702621"/>
              <a:gd name="connsiteY145" fmla="*/ 552450 h 3111500"/>
              <a:gd name="connsiteX146" fmla="*/ 4775200 w 5702621"/>
              <a:gd name="connsiteY146" fmla="*/ 508000 h 3111500"/>
              <a:gd name="connsiteX147" fmla="*/ 4800279 w 5702621"/>
              <a:gd name="connsiteY147" fmla="*/ 505348 h 3111500"/>
              <a:gd name="connsiteX148" fmla="*/ 4853814 w 5702621"/>
              <a:gd name="connsiteY148" fmla="*/ 492327 h 3111500"/>
              <a:gd name="connsiteX149" fmla="*/ 4877526 w 5702621"/>
              <a:gd name="connsiteY149" fmla="*/ 460256 h 3111500"/>
              <a:gd name="connsiteX150" fmla="*/ 4984750 w 5702621"/>
              <a:gd name="connsiteY150" fmla="*/ 431800 h 3111500"/>
              <a:gd name="connsiteX151" fmla="*/ 5003800 w 5702621"/>
              <a:gd name="connsiteY151" fmla="*/ 425450 h 3111500"/>
              <a:gd name="connsiteX152" fmla="*/ 5022850 w 5702621"/>
              <a:gd name="connsiteY152" fmla="*/ 412750 h 3111500"/>
              <a:gd name="connsiteX153" fmla="*/ 5080000 w 5702621"/>
              <a:gd name="connsiteY153" fmla="*/ 387350 h 3111500"/>
              <a:gd name="connsiteX154" fmla="*/ 5092700 w 5702621"/>
              <a:gd name="connsiteY154" fmla="*/ 368300 h 3111500"/>
              <a:gd name="connsiteX155" fmla="*/ 5111750 w 5702621"/>
              <a:gd name="connsiteY155" fmla="*/ 361950 h 3111500"/>
              <a:gd name="connsiteX156" fmla="*/ 5130800 w 5702621"/>
              <a:gd name="connsiteY156" fmla="*/ 349250 h 3111500"/>
              <a:gd name="connsiteX157" fmla="*/ 5137150 w 5702621"/>
              <a:gd name="connsiteY157" fmla="*/ 330200 h 3111500"/>
              <a:gd name="connsiteX158" fmla="*/ 5181600 w 5702621"/>
              <a:gd name="connsiteY158" fmla="*/ 317500 h 3111500"/>
              <a:gd name="connsiteX159" fmla="*/ 5200650 w 5702621"/>
              <a:gd name="connsiteY159" fmla="*/ 304800 h 3111500"/>
              <a:gd name="connsiteX160" fmla="*/ 5213350 w 5702621"/>
              <a:gd name="connsiteY160" fmla="*/ 266700 h 3111500"/>
              <a:gd name="connsiteX161" fmla="*/ 5251450 w 5702621"/>
              <a:gd name="connsiteY161" fmla="*/ 260350 h 3111500"/>
              <a:gd name="connsiteX162" fmla="*/ 5270500 w 5702621"/>
              <a:gd name="connsiteY162" fmla="*/ 254000 h 3111500"/>
              <a:gd name="connsiteX163" fmla="*/ 5308600 w 5702621"/>
              <a:gd name="connsiteY163" fmla="*/ 247650 h 3111500"/>
              <a:gd name="connsiteX164" fmla="*/ 5346700 w 5702621"/>
              <a:gd name="connsiteY164" fmla="*/ 234950 h 3111500"/>
              <a:gd name="connsiteX165" fmla="*/ 5372100 w 5702621"/>
              <a:gd name="connsiteY165" fmla="*/ 228600 h 3111500"/>
              <a:gd name="connsiteX166" fmla="*/ 5384800 w 5702621"/>
              <a:gd name="connsiteY166" fmla="*/ 209550 h 3111500"/>
              <a:gd name="connsiteX167" fmla="*/ 5403850 w 5702621"/>
              <a:gd name="connsiteY167" fmla="*/ 203200 h 3111500"/>
              <a:gd name="connsiteX168" fmla="*/ 5410200 w 5702621"/>
              <a:gd name="connsiteY168" fmla="*/ 184150 h 3111500"/>
              <a:gd name="connsiteX169" fmla="*/ 5429250 w 5702621"/>
              <a:gd name="connsiteY169" fmla="*/ 177800 h 3111500"/>
              <a:gd name="connsiteX170" fmla="*/ 5467350 w 5702621"/>
              <a:gd name="connsiteY170" fmla="*/ 158750 h 3111500"/>
              <a:gd name="connsiteX171" fmla="*/ 5480050 w 5702621"/>
              <a:gd name="connsiteY171" fmla="*/ 139700 h 3111500"/>
              <a:gd name="connsiteX172" fmla="*/ 5523132 w 5702621"/>
              <a:gd name="connsiteY172" fmla="*/ 109639 h 3111500"/>
              <a:gd name="connsiteX173" fmla="*/ 5580283 w 5702621"/>
              <a:gd name="connsiteY173" fmla="*/ 89221 h 3111500"/>
              <a:gd name="connsiteX174" fmla="*/ 5634055 w 5702621"/>
              <a:gd name="connsiteY174" fmla="*/ 90910 h 3111500"/>
              <a:gd name="connsiteX175" fmla="*/ 5702621 w 5702621"/>
              <a:gd name="connsiteY175" fmla="*/ 84560 h 3111500"/>
              <a:gd name="connsiteX176" fmla="*/ 5702300 w 5702621"/>
              <a:gd name="connsiteY176" fmla="*/ 0 h 311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5702621" h="3111500">
                <a:moveTo>
                  <a:pt x="0" y="3111500"/>
                </a:moveTo>
                <a:lnTo>
                  <a:pt x="0" y="3111500"/>
                </a:lnTo>
                <a:cubicBezTo>
                  <a:pt x="7529" y="3105713"/>
                  <a:pt x="29796" y="3086289"/>
                  <a:pt x="45175" y="3076778"/>
                </a:cubicBezTo>
                <a:cubicBezTo>
                  <a:pt x="60554" y="3067267"/>
                  <a:pt x="77353" y="3062231"/>
                  <a:pt x="92277" y="3054434"/>
                </a:cubicBezTo>
                <a:cubicBezTo>
                  <a:pt x="107201" y="3046637"/>
                  <a:pt x="119901" y="3032114"/>
                  <a:pt x="134718" y="3029997"/>
                </a:cubicBezTo>
                <a:cubicBezTo>
                  <a:pt x="151901" y="3018542"/>
                  <a:pt x="166415" y="3010277"/>
                  <a:pt x="179168" y="3002587"/>
                </a:cubicBezTo>
                <a:cubicBezTo>
                  <a:pt x="191921" y="2994897"/>
                  <a:pt x="193475" y="2992164"/>
                  <a:pt x="211239" y="2983858"/>
                </a:cubicBezTo>
                <a:cubicBezTo>
                  <a:pt x="229003" y="2975552"/>
                  <a:pt x="262467" y="2960668"/>
                  <a:pt x="285750" y="2952750"/>
                </a:cubicBezTo>
                <a:cubicBezTo>
                  <a:pt x="309033" y="2944832"/>
                  <a:pt x="331889" y="2938469"/>
                  <a:pt x="350939" y="2936352"/>
                </a:cubicBezTo>
                <a:cubicBezTo>
                  <a:pt x="403501" y="2918727"/>
                  <a:pt x="365890" y="2923159"/>
                  <a:pt x="425450" y="2914650"/>
                </a:cubicBezTo>
                <a:cubicBezTo>
                  <a:pt x="431800" y="2910417"/>
                  <a:pt x="437674" y="2905363"/>
                  <a:pt x="444500" y="2901950"/>
                </a:cubicBezTo>
                <a:cubicBezTo>
                  <a:pt x="450487" y="2898957"/>
                  <a:pt x="458323" y="2899781"/>
                  <a:pt x="463550" y="2895600"/>
                </a:cubicBezTo>
                <a:cubicBezTo>
                  <a:pt x="469509" y="2890832"/>
                  <a:pt x="469900" y="2880783"/>
                  <a:pt x="476250" y="2876550"/>
                </a:cubicBezTo>
                <a:cubicBezTo>
                  <a:pt x="483512" y="2871709"/>
                  <a:pt x="493131" y="2872093"/>
                  <a:pt x="501650" y="2870200"/>
                </a:cubicBezTo>
                <a:cubicBezTo>
                  <a:pt x="547073" y="2860106"/>
                  <a:pt x="542694" y="2863005"/>
                  <a:pt x="603250" y="2857500"/>
                </a:cubicBezTo>
                <a:cubicBezTo>
                  <a:pt x="605367" y="2851150"/>
                  <a:pt x="605491" y="2843734"/>
                  <a:pt x="609600" y="2838450"/>
                </a:cubicBezTo>
                <a:cubicBezTo>
                  <a:pt x="620627" y="2824273"/>
                  <a:pt x="631636" y="2808382"/>
                  <a:pt x="647700" y="2800350"/>
                </a:cubicBezTo>
                <a:cubicBezTo>
                  <a:pt x="663227" y="2792586"/>
                  <a:pt x="678687" y="2786169"/>
                  <a:pt x="692150" y="2774950"/>
                </a:cubicBezTo>
                <a:cubicBezTo>
                  <a:pt x="730171" y="2743266"/>
                  <a:pt x="688511" y="2763463"/>
                  <a:pt x="749300" y="2743200"/>
                </a:cubicBezTo>
                <a:lnTo>
                  <a:pt x="749300" y="2743200"/>
                </a:lnTo>
                <a:lnTo>
                  <a:pt x="831529" y="2710487"/>
                </a:lnTo>
                <a:cubicBezTo>
                  <a:pt x="849467" y="2702972"/>
                  <a:pt x="843117" y="2702676"/>
                  <a:pt x="856929" y="2698108"/>
                </a:cubicBezTo>
                <a:cubicBezTo>
                  <a:pt x="870741" y="2693540"/>
                  <a:pt x="898472" y="2687645"/>
                  <a:pt x="914400" y="2683077"/>
                </a:cubicBezTo>
                <a:cubicBezTo>
                  <a:pt x="930328" y="2678509"/>
                  <a:pt x="940912" y="2673485"/>
                  <a:pt x="952500" y="2670699"/>
                </a:cubicBezTo>
                <a:cubicBezTo>
                  <a:pt x="964088" y="2667913"/>
                  <a:pt x="967049" y="2669815"/>
                  <a:pt x="983929" y="2666358"/>
                </a:cubicBezTo>
                <a:cubicBezTo>
                  <a:pt x="1000809" y="2662901"/>
                  <a:pt x="1030496" y="2652076"/>
                  <a:pt x="1053779" y="2649959"/>
                </a:cubicBezTo>
                <a:cubicBezTo>
                  <a:pt x="1111073" y="2635636"/>
                  <a:pt x="1081991" y="2640770"/>
                  <a:pt x="1117600" y="2628900"/>
                </a:cubicBezTo>
                <a:cubicBezTo>
                  <a:pt x="1121833" y="2622550"/>
                  <a:pt x="1127125" y="2615195"/>
                  <a:pt x="1130300" y="2609850"/>
                </a:cubicBezTo>
                <a:cubicBezTo>
                  <a:pt x="1133475" y="2604505"/>
                  <a:pt x="1130742" y="2600446"/>
                  <a:pt x="1136650" y="2596829"/>
                </a:cubicBezTo>
                <a:cubicBezTo>
                  <a:pt x="1142558" y="2593212"/>
                  <a:pt x="1156224" y="2593387"/>
                  <a:pt x="1165749" y="2588149"/>
                </a:cubicBezTo>
                <a:cubicBezTo>
                  <a:pt x="1175274" y="2582911"/>
                  <a:pt x="1185950" y="2570250"/>
                  <a:pt x="1193800" y="2565400"/>
                </a:cubicBezTo>
                <a:cubicBezTo>
                  <a:pt x="1201650" y="2560550"/>
                  <a:pt x="1206356" y="2560673"/>
                  <a:pt x="1212850" y="2559050"/>
                </a:cubicBezTo>
                <a:cubicBezTo>
                  <a:pt x="1221317" y="2556933"/>
                  <a:pt x="1229891" y="2555208"/>
                  <a:pt x="1238250" y="2552700"/>
                </a:cubicBezTo>
                <a:cubicBezTo>
                  <a:pt x="1251072" y="2548853"/>
                  <a:pt x="1276350" y="2540000"/>
                  <a:pt x="1276350" y="2540000"/>
                </a:cubicBezTo>
                <a:cubicBezTo>
                  <a:pt x="1282700" y="2533650"/>
                  <a:pt x="1287928" y="2525931"/>
                  <a:pt x="1295400" y="2520950"/>
                </a:cubicBezTo>
                <a:cubicBezTo>
                  <a:pt x="1300969" y="2517237"/>
                  <a:pt x="1310269" y="2519827"/>
                  <a:pt x="1314450" y="2514600"/>
                </a:cubicBezTo>
                <a:cubicBezTo>
                  <a:pt x="1319902" y="2507785"/>
                  <a:pt x="1314174" y="2494880"/>
                  <a:pt x="1320800" y="2489200"/>
                </a:cubicBezTo>
                <a:cubicBezTo>
                  <a:pt x="1330964" y="2480488"/>
                  <a:pt x="1346200" y="2480733"/>
                  <a:pt x="1358900" y="2476500"/>
                </a:cubicBezTo>
                <a:cubicBezTo>
                  <a:pt x="1404575" y="2461275"/>
                  <a:pt x="1347536" y="2479747"/>
                  <a:pt x="1403350" y="2463800"/>
                </a:cubicBezTo>
                <a:cubicBezTo>
                  <a:pt x="1409786" y="2461961"/>
                  <a:pt x="1416549" y="2460701"/>
                  <a:pt x="1422400" y="2457450"/>
                </a:cubicBezTo>
                <a:cubicBezTo>
                  <a:pt x="1435743" y="2450037"/>
                  <a:pt x="1447800" y="2440517"/>
                  <a:pt x="1460500" y="2432050"/>
                </a:cubicBezTo>
                <a:cubicBezTo>
                  <a:pt x="1466850" y="2427817"/>
                  <a:pt x="1474154" y="2424746"/>
                  <a:pt x="1479550" y="2419350"/>
                </a:cubicBezTo>
                <a:cubicBezTo>
                  <a:pt x="1485900" y="2413000"/>
                  <a:pt x="1491128" y="2405281"/>
                  <a:pt x="1498600" y="2400300"/>
                </a:cubicBezTo>
                <a:cubicBezTo>
                  <a:pt x="1504169" y="2396587"/>
                  <a:pt x="1511663" y="2396943"/>
                  <a:pt x="1517650" y="2393950"/>
                </a:cubicBezTo>
                <a:cubicBezTo>
                  <a:pt x="1566889" y="2369331"/>
                  <a:pt x="1507867" y="2390861"/>
                  <a:pt x="1555750" y="2374900"/>
                </a:cubicBezTo>
                <a:cubicBezTo>
                  <a:pt x="1559983" y="2368550"/>
                  <a:pt x="1561978" y="2359895"/>
                  <a:pt x="1568450" y="2355850"/>
                </a:cubicBezTo>
                <a:cubicBezTo>
                  <a:pt x="1579802" y="2348755"/>
                  <a:pt x="1595411" y="2350576"/>
                  <a:pt x="1606550" y="2343150"/>
                </a:cubicBezTo>
                <a:lnTo>
                  <a:pt x="1625600" y="2330450"/>
                </a:lnTo>
                <a:cubicBezTo>
                  <a:pt x="1649942" y="2312458"/>
                  <a:pt x="1724025" y="2256367"/>
                  <a:pt x="1752600" y="2235200"/>
                </a:cubicBezTo>
                <a:cubicBezTo>
                  <a:pt x="1767417" y="2224617"/>
                  <a:pt x="1780764" y="2211593"/>
                  <a:pt x="1797050" y="2203450"/>
                </a:cubicBezTo>
                <a:cubicBezTo>
                  <a:pt x="1806703" y="2198623"/>
                  <a:pt x="1818329" y="2199718"/>
                  <a:pt x="1828800" y="2197100"/>
                </a:cubicBezTo>
                <a:cubicBezTo>
                  <a:pt x="1835294" y="2195477"/>
                  <a:pt x="1841500" y="2192867"/>
                  <a:pt x="1847850" y="2190750"/>
                </a:cubicBezTo>
                <a:cubicBezTo>
                  <a:pt x="1852083" y="2178050"/>
                  <a:pt x="1857925" y="2165777"/>
                  <a:pt x="1860550" y="2152650"/>
                </a:cubicBezTo>
                <a:cubicBezTo>
                  <a:pt x="1862667" y="2142067"/>
                  <a:pt x="1861545" y="2130271"/>
                  <a:pt x="1866900" y="2120900"/>
                </a:cubicBezTo>
                <a:cubicBezTo>
                  <a:pt x="1870686" y="2114274"/>
                  <a:pt x="1878640" y="2110393"/>
                  <a:pt x="1885950" y="2108200"/>
                </a:cubicBezTo>
                <a:cubicBezTo>
                  <a:pt x="1900286" y="2103899"/>
                  <a:pt x="1915674" y="2104527"/>
                  <a:pt x="1930400" y="2101850"/>
                </a:cubicBezTo>
                <a:cubicBezTo>
                  <a:pt x="1938986" y="2100289"/>
                  <a:pt x="1947333" y="2097617"/>
                  <a:pt x="1955800" y="2095500"/>
                </a:cubicBezTo>
                <a:cubicBezTo>
                  <a:pt x="1957917" y="2087033"/>
                  <a:pt x="1956403" y="2076668"/>
                  <a:pt x="1962150" y="2070100"/>
                </a:cubicBezTo>
                <a:cubicBezTo>
                  <a:pt x="1972201" y="2058613"/>
                  <a:pt x="1985770" y="2049527"/>
                  <a:pt x="2000250" y="2044700"/>
                </a:cubicBezTo>
                <a:cubicBezTo>
                  <a:pt x="2090792" y="2014519"/>
                  <a:pt x="1996572" y="2044844"/>
                  <a:pt x="2063750" y="2025650"/>
                </a:cubicBezTo>
                <a:cubicBezTo>
                  <a:pt x="2070186" y="2023811"/>
                  <a:pt x="2076648" y="2021937"/>
                  <a:pt x="2082800" y="2019300"/>
                </a:cubicBezTo>
                <a:cubicBezTo>
                  <a:pt x="2091501" y="2015571"/>
                  <a:pt x="2099220" y="2009593"/>
                  <a:pt x="2108200" y="2006600"/>
                </a:cubicBezTo>
                <a:cubicBezTo>
                  <a:pt x="2118439" y="2003187"/>
                  <a:pt x="2129367" y="2002367"/>
                  <a:pt x="2139950" y="2000250"/>
                </a:cubicBezTo>
                <a:cubicBezTo>
                  <a:pt x="2148417" y="1996017"/>
                  <a:pt x="2152917" y="1979002"/>
                  <a:pt x="2157311" y="1971473"/>
                </a:cubicBezTo>
                <a:cubicBezTo>
                  <a:pt x="2161705" y="1963944"/>
                  <a:pt x="2161075" y="1960366"/>
                  <a:pt x="2166313" y="1955074"/>
                </a:cubicBezTo>
                <a:cubicBezTo>
                  <a:pt x="2171551" y="1949782"/>
                  <a:pt x="2181493" y="1942777"/>
                  <a:pt x="2188741" y="1939723"/>
                </a:cubicBezTo>
                <a:cubicBezTo>
                  <a:pt x="2195989" y="1936669"/>
                  <a:pt x="2198882" y="1942537"/>
                  <a:pt x="2209800" y="1936750"/>
                </a:cubicBezTo>
                <a:cubicBezTo>
                  <a:pt x="2220718" y="1930963"/>
                  <a:pt x="2239173" y="1915051"/>
                  <a:pt x="2254250" y="1905000"/>
                </a:cubicBezTo>
                <a:cubicBezTo>
                  <a:pt x="2264160" y="1875270"/>
                  <a:pt x="2283830" y="1881998"/>
                  <a:pt x="2298700" y="1873250"/>
                </a:cubicBezTo>
                <a:cubicBezTo>
                  <a:pt x="2313570" y="1864502"/>
                  <a:pt x="2333169" y="1858084"/>
                  <a:pt x="2343471" y="1852511"/>
                </a:cubicBezTo>
                <a:cubicBezTo>
                  <a:pt x="2353773" y="1846938"/>
                  <a:pt x="2353491" y="1844326"/>
                  <a:pt x="2360511" y="1839811"/>
                </a:cubicBezTo>
                <a:cubicBezTo>
                  <a:pt x="2367531" y="1835296"/>
                  <a:pt x="2374725" y="1829374"/>
                  <a:pt x="2385590" y="1825422"/>
                </a:cubicBezTo>
                <a:cubicBezTo>
                  <a:pt x="2396455" y="1821470"/>
                  <a:pt x="2410548" y="1819770"/>
                  <a:pt x="2425700" y="1816100"/>
                </a:cubicBezTo>
                <a:lnTo>
                  <a:pt x="2476500" y="1803400"/>
                </a:lnTo>
                <a:cubicBezTo>
                  <a:pt x="2482850" y="1797050"/>
                  <a:pt x="2488078" y="1789331"/>
                  <a:pt x="2495550" y="1784350"/>
                </a:cubicBezTo>
                <a:cubicBezTo>
                  <a:pt x="2501119" y="1780637"/>
                  <a:pt x="2509373" y="1782181"/>
                  <a:pt x="2514600" y="1778000"/>
                </a:cubicBezTo>
                <a:cubicBezTo>
                  <a:pt x="2555632" y="1745174"/>
                  <a:pt x="2498467" y="1768561"/>
                  <a:pt x="2546350" y="1752600"/>
                </a:cubicBezTo>
                <a:cubicBezTo>
                  <a:pt x="2552700" y="1746250"/>
                  <a:pt x="2558501" y="1739299"/>
                  <a:pt x="2565400" y="1733550"/>
                </a:cubicBezTo>
                <a:cubicBezTo>
                  <a:pt x="2571263" y="1728664"/>
                  <a:pt x="2579054" y="1726246"/>
                  <a:pt x="2584450" y="1720850"/>
                </a:cubicBezTo>
                <a:cubicBezTo>
                  <a:pt x="2609850" y="1695450"/>
                  <a:pt x="2582333" y="1706033"/>
                  <a:pt x="2616200" y="1689100"/>
                </a:cubicBezTo>
                <a:cubicBezTo>
                  <a:pt x="2633933" y="1680234"/>
                  <a:pt x="2663319" y="1678740"/>
                  <a:pt x="2679700" y="1676400"/>
                </a:cubicBezTo>
                <a:cubicBezTo>
                  <a:pt x="2686050" y="1674283"/>
                  <a:pt x="2692164" y="1671247"/>
                  <a:pt x="2698750" y="1670050"/>
                </a:cubicBezTo>
                <a:cubicBezTo>
                  <a:pt x="2735119" y="1663437"/>
                  <a:pt x="2734535" y="1663700"/>
                  <a:pt x="2755900" y="1663700"/>
                </a:cubicBezTo>
                <a:lnTo>
                  <a:pt x="2851150" y="1600200"/>
                </a:lnTo>
                <a:cubicBezTo>
                  <a:pt x="2861733" y="1585383"/>
                  <a:pt x="2870025" y="1568625"/>
                  <a:pt x="2882900" y="1555750"/>
                </a:cubicBezTo>
                <a:cubicBezTo>
                  <a:pt x="2887633" y="1551017"/>
                  <a:pt x="2896723" y="1553581"/>
                  <a:pt x="2901950" y="1549400"/>
                </a:cubicBezTo>
                <a:cubicBezTo>
                  <a:pt x="2941825" y="1517500"/>
                  <a:pt x="2880630" y="1539932"/>
                  <a:pt x="2940050" y="1517650"/>
                </a:cubicBezTo>
                <a:cubicBezTo>
                  <a:pt x="2948222" y="1514586"/>
                  <a:pt x="2957091" y="1513808"/>
                  <a:pt x="2965450" y="1511300"/>
                </a:cubicBezTo>
                <a:cubicBezTo>
                  <a:pt x="2978272" y="1507453"/>
                  <a:pt x="3003550" y="1498600"/>
                  <a:pt x="3003550" y="1498600"/>
                </a:cubicBezTo>
                <a:cubicBezTo>
                  <a:pt x="3017789" y="1477241"/>
                  <a:pt x="3014028" y="1476057"/>
                  <a:pt x="3041650" y="1466850"/>
                </a:cubicBezTo>
                <a:cubicBezTo>
                  <a:pt x="3058209" y="1461330"/>
                  <a:pt x="3092450" y="1454150"/>
                  <a:pt x="3092450" y="1454150"/>
                </a:cubicBezTo>
                <a:cubicBezTo>
                  <a:pt x="3098800" y="1449917"/>
                  <a:pt x="3106732" y="1447409"/>
                  <a:pt x="3111500" y="1441450"/>
                </a:cubicBezTo>
                <a:cubicBezTo>
                  <a:pt x="3115681" y="1436223"/>
                  <a:pt x="3113117" y="1427133"/>
                  <a:pt x="3117850" y="1422400"/>
                </a:cubicBezTo>
                <a:cubicBezTo>
                  <a:pt x="3124543" y="1415707"/>
                  <a:pt x="3134461" y="1413216"/>
                  <a:pt x="3143250" y="1409700"/>
                </a:cubicBezTo>
                <a:cubicBezTo>
                  <a:pt x="3155679" y="1404728"/>
                  <a:pt x="3168650" y="1401233"/>
                  <a:pt x="3181350" y="1397000"/>
                </a:cubicBezTo>
                <a:lnTo>
                  <a:pt x="3200400" y="1390650"/>
                </a:lnTo>
                <a:cubicBezTo>
                  <a:pt x="3206750" y="1388533"/>
                  <a:pt x="3212956" y="1385923"/>
                  <a:pt x="3219450" y="1384300"/>
                </a:cubicBezTo>
                <a:lnTo>
                  <a:pt x="3244850" y="1377950"/>
                </a:lnTo>
                <a:cubicBezTo>
                  <a:pt x="3261975" y="1366533"/>
                  <a:pt x="3263232" y="1363282"/>
                  <a:pt x="3282950" y="1358900"/>
                </a:cubicBezTo>
                <a:cubicBezTo>
                  <a:pt x="3300510" y="1354998"/>
                  <a:pt x="3322946" y="1354777"/>
                  <a:pt x="3340100" y="1346200"/>
                </a:cubicBezTo>
                <a:cubicBezTo>
                  <a:pt x="3346926" y="1342787"/>
                  <a:pt x="3352176" y="1336600"/>
                  <a:pt x="3359150" y="1333500"/>
                </a:cubicBezTo>
                <a:cubicBezTo>
                  <a:pt x="3371383" y="1328063"/>
                  <a:pt x="3386111" y="1328226"/>
                  <a:pt x="3397250" y="1320800"/>
                </a:cubicBezTo>
                <a:cubicBezTo>
                  <a:pt x="3451845" y="1284404"/>
                  <a:pt x="3382770" y="1328040"/>
                  <a:pt x="3435350" y="1301750"/>
                </a:cubicBezTo>
                <a:cubicBezTo>
                  <a:pt x="3484589" y="1277131"/>
                  <a:pt x="3425567" y="1298661"/>
                  <a:pt x="3473450" y="1282700"/>
                </a:cubicBezTo>
                <a:cubicBezTo>
                  <a:pt x="3500144" y="1256006"/>
                  <a:pt x="3500526" y="1244265"/>
                  <a:pt x="3530600" y="1238250"/>
                </a:cubicBezTo>
                <a:cubicBezTo>
                  <a:pt x="3545276" y="1235315"/>
                  <a:pt x="3560233" y="1234017"/>
                  <a:pt x="3575050" y="1231900"/>
                </a:cubicBezTo>
                <a:cubicBezTo>
                  <a:pt x="3587750" y="1223433"/>
                  <a:pt x="3598670" y="1211327"/>
                  <a:pt x="3613150" y="1206500"/>
                </a:cubicBezTo>
                <a:cubicBezTo>
                  <a:pt x="3619500" y="1204383"/>
                  <a:pt x="3625764" y="1201989"/>
                  <a:pt x="3632200" y="1200150"/>
                </a:cubicBezTo>
                <a:cubicBezTo>
                  <a:pt x="3641695" y="1197437"/>
                  <a:pt x="3666500" y="1192525"/>
                  <a:pt x="3676650" y="1187450"/>
                </a:cubicBezTo>
                <a:cubicBezTo>
                  <a:pt x="3683476" y="1184037"/>
                  <a:pt x="3688685" y="1177756"/>
                  <a:pt x="3695700" y="1174750"/>
                </a:cubicBezTo>
                <a:cubicBezTo>
                  <a:pt x="3703722" y="1171312"/>
                  <a:pt x="3712741" y="1170908"/>
                  <a:pt x="3721100" y="1168400"/>
                </a:cubicBezTo>
                <a:cubicBezTo>
                  <a:pt x="3733922" y="1164553"/>
                  <a:pt x="3759200" y="1155700"/>
                  <a:pt x="3759200" y="1155700"/>
                </a:cubicBezTo>
                <a:cubicBezTo>
                  <a:pt x="3763433" y="1149350"/>
                  <a:pt x="3766504" y="1142046"/>
                  <a:pt x="3771900" y="1136650"/>
                </a:cubicBezTo>
                <a:cubicBezTo>
                  <a:pt x="3821850" y="1086700"/>
                  <a:pt x="3757986" y="1167317"/>
                  <a:pt x="3810000" y="1104900"/>
                </a:cubicBezTo>
                <a:cubicBezTo>
                  <a:pt x="3814886" y="1099037"/>
                  <a:pt x="3817304" y="1091246"/>
                  <a:pt x="3822700" y="1085850"/>
                </a:cubicBezTo>
                <a:cubicBezTo>
                  <a:pt x="3843843" y="1064707"/>
                  <a:pt x="3837559" y="1079712"/>
                  <a:pt x="3860800" y="1066800"/>
                </a:cubicBezTo>
                <a:lnTo>
                  <a:pt x="3917950" y="1028700"/>
                </a:lnTo>
                <a:cubicBezTo>
                  <a:pt x="3924300" y="1024467"/>
                  <a:pt x="3929760" y="1018413"/>
                  <a:pt x="3937000" y="1016000"/>
                </a:cubicBezTo>
                <a:cubicBezTo>
                  <a:pt x="3949700" y="1011767"/>
                  <a:pt x="3963961" y="1010726"/>
                  <a:pt x="3975100" y="1003300"/>
                </a:cubicBezTo>
                <a:cubicBezTo>
                  <a:pt x="3981450" y="999067"/>
                  <a:pt x="3987004" y="993280"/>
                  <a:pt x="3994150" y="990600"/>
                </a:cubicBezTo>
                <a:cubicBezTo>
                  <a:pt x="4004256" y="986810"/>
                  <a:pt x="4015487" y="987090"/>
                  <a:pt x="4025900" y="984250"/>
                </a:cubicBezTo>
                <a:cubicBezTo>
                  <a:pt x="4038815" y="980728"/>
                  <a:pt x="4064000" y="971550"/>
                  <a:pt x="4064000" y="971550"/>
                </a:cubicBezTo>
                <a:cubicBezTo>
                  <a:pt x="4068233" y="965200"/>
                  <a:pt x="4073600" y="959474"/>
                  <a:pt x="4076700" y="952500"/>
                </a:cubicBezTo>
                <a:cubicBezTo>
                  <a:pt x="4082137" y="940267"/>
                  <a:pt x="4078261" y="921826"/>
                  <a:pt x="4089400" y="914400"/>
                </a:cubicBezTo>
                <a:lnTo>
                  <a:pt x="4108450" y="901700"/>
                </a:lnTo>
                <a:cubicBezTo>
                  <a:pt x="4112683" y="895350"/>
                  <a:pt x="4115191" y="887418"/>
                  <a:pt x="4121150" y="882650"/>
                </a:cubicBezTo>
                <a:cubicBezTo>
                  <a:pt x="4126377" y="878469"/>
                  <a:pt x="4134213" y="879293"/>
                  <a:pt x="4140200" y="876300"/>
                </a:cubicBezTo>
                <a:cubicBezTo>
                  <a:pt x="4147026" y="872887"/>
                  <a:pt x="4152900" y="867833"/>
                  <a:pt x="4159250" y="863600"/>
                </a:cubicBezTo>
                <a:cubicBezTo>
                  <a:pt x="4163483" y="857250"/>
                  <a:pt x="4168537" y="851376"/>
                  <a:pt x="4171950" y="844550"/>
                </a:cubicBezTo>
                <a:cubicBezTo>
                  <a:pt x="4174943" y="838563"/>
                  <a:pt x="4174119" y="830727"/>
                  <a:pt x="4178300" y="825500"/>
                </a:cubicBezTo>
                <a:cubicBezTo>
                  <a:pt x="4183068" y="819541"/>
                  <a:pt x="4187825" y="816805"/>
                  <a:pt x="4197350" y="812800"/>
                </a:cubicBezTo>
                <a:cubicBezTo>
                  <a:pt x="4206875" y="808795"/>
                  <a:pt x="4201972" y="812626"/>
                  <a:pt x="4235450" y="801467"/>
                </a:cubicBezTo>
                <a:cubicBezTo>
                  <a:pt x="4248150" y="788767"/>
                  <a:pt x="4260355" y="775800"/>
                  <a:pt x="4277570" y="769397"/>
                </a:cubicBezTo>
                <a:cubicBezTo>
                  <a:pt x="4294785" y="762994"/>
                  <a:pt x="4319301" y="769571"/>
                  <a:pt x="4338739" y="763047"/>
                </a:cubicBezTo>
                <a:cubicBezTo>
                  <a:pt x="4358177" y="756523"/>
                  <a:pt x="4377548" y="736774"/>
                  <a:pt x="4394200" y="730250"/>
                </a:cubicBezTo>
                <a:cubicBezTo>
                  <a:pt x="4410852" y="723726"/>
                  <a:pt x="4423833" y="726017"/>
                  <a:pt x="4438650" y="723900"/>
                </a:cubicBezTo>
                <a:cubicBezTo>
                  <a:pt x="4484134" y="708739"/>
                  <a:pt x="4432103" y="730414"/>
                  <a:pt x="4470400" y="698500"/>
                </a:cubicBezTo>
                <a:cubicBezTo>
                  <a:pt x="4486369" y="685193"/>
                  <a:pt x="4502508" y="685057"/>
                  <a:pt x="4521200" y="679450"/>
                </a:cubicBezTo>
                <a:cubicBezTo>
                  <a:pt x="4534022" y="675603"/>
                  <a:pt x="4548161" y="674176"/>
                  <a:pt x="4559300" y="666750"/>
                </a:cubicBezTo>
                <a:cubicBezTo>
                  <a:pt x="4572000" y="658283"/>
                  <a:pt x="4582920" y="646177"/>
                  <a:pt x="4597400" y="641350"/>
                </a:cubicBezTo>
                <a:lnTo>
                  <a:pt x="4635500" y="628650"/>
                </a:lnTo>
                <a:cubicBezTo>
                  <a:pt x="4641850" y="626533"/>
                  <a:pt x="4648981" y="626013"/>
                  <a:pt x="4654550" y="622300"/>
                </a:cubicBezTo>
                <a:cubicBezTo>
                  <a:pt x="4660900" y="618067"/>
                  <a:pt x="4666626" y="612700"/>
                  <a:pt x="4673600" y="609600"/>
                </a:cubicBezTo>
                <a:cubicBezTo>
                  <a:pt x="4685833" y="604163"/>
                  <a:pt x="4711700" y="596900"/>
                  <a:pt x="4711700" y="596900"/>
                </a:cubicBezTo>
                <a:cubicBezTo>
                  <a:pt x="4715933" y="590550"/>
                  <a:pt x="4718657" y="582876"/>
                  <a:pt x="4724400" y="577850"/>
                </a:cubicBezTo>
                <a:cubicBezTo>
                  <a:pt x="4735887" y="567799"/>
                  <a:pt x="4762500" y="552450"/>
                  <a:pt x="4762500" y="552450"/>
                </a:cubicBezTo>
                <a:cubicBezTo>
                  <a:pt x="4762915" y="550791"/>
                  <a:pt x="4768904" y="515850"/>
                  <a:pt x="4775200" y="508000"/>
                </a:cubicBezTo>
                <a:cubicBezTo>
                  <a:pt x="4781496" y="500150"/>
                  <a:pt x="4787177" y="507960"/>
                  <a:pt x="4800279" y="505348"/>
                </a:cubicBezTo>
                <a:cubicBezTo>
                  <a:pt x="4813381" y="502736"/>
                  <a:pt x="4840940" y="499842"/>
                  <a:pt x="4853814" y="492327"/>
                </a:cubicBezTo>
                <a:cubicBezTo>
                  <a:pt x="4866688" y="484812"/>
                  <a:pt x="4855703" y="470344"/>
                  <a:pt x="4877526" y="460256"/>
                </a:cubicBezTo>
                <a:cubicBezTo>
                  <a:pt x="4899349" y="450168"/>
                  <a:pt x="4940300" y="433917"/>
                  <a:pt x="4984750" y="431800"/>
                </a:cubicBezTo>
                <a:cubicBezTo>
                  <a:pt x="4991100" y="429683"/>
                  <a:pt x="4997813" y="428443"/>
                  <a:pt x="5003800" y="425450"/>
                </a:cubicBezTo>
                <a:cubicBezTo>
                  <a:pt x="5010626" y="422037"/>
                  <a:pt x="5015876" y="415850"/>
                  <a:pt x="5022850" y="412750"/>
                </a:cubicBezTo>
                <a:cubicBezTo>
                  <a:pt x="5090860" y="382523"/>
                  <a:pt x="5036887" y="416092"/>
                  <a:pt x="5080000" y="387350"/>
                </a:cubicBezTo>
                <a:cubicBezTo>
                  <a:pt x="5084233" y="381000"/>
                  <a:pt x="5086741" y="373068"/>
                  <a:pt x="5092700" y="368300"/>
                </a:cubicBezTo>
                <a:cubicBezTo>
                  <a:pt x="5097927" y="364119"/>
                  <a:pt x="5105763" y="364943"/>
                  <a:pt x="5111750" y="361950"/>
                </a:cubicBezTo>
                <a:cubicBezTo>
                  <a:pt x="5118576" y="358537"/>
                  <a:pt x="5124450" y="353483"/>
                  <a:pt x="5130800" y="349250"/>
                </a:cubicBezTo>
                <a:cubicBezTo>
                  <a:pt x="5132917" y="342900"/>
                  <a:pt x="5132417" y="334933"/>
                  <a:pt x="5137150" y="330200"/>
                </a:cubicBezTo>
                <a:cubicBezTo>
                  <a:pt x="5140187" y="327163"/>
                  <a:pt x="5181380" y="317555"/>
                  <a:pt x="5181600" y="317500"/>
                </a:cubicBezTo>
                <a:cubicBezTo>
                  <a:pt x="5187950" y="313267"/>
                  <a:pt x="5196605" y="311272"/>
                  <a:pt x="5200650" y="304800"/>
                </a:cubicBezTo>
                <a:cubicBezTo>
                  <a:pt x="5207745" y="293448"/>
                  <a:pt x="5200145" y="268901"/>
                  <a:pt x="5213350" y="266700"/>
                </a:cubicBezTo>
                <a:cubicBezTo>
                  <a:pt x="5226050" y="264583"/>
                  <a:pt x="5238881" y="263143"/>
                  <a:pt x="5251450" y="260350"/>
                </a:cubicBezTo>
                <a:cubicBezTo>
                  <a:pt x="5257984" y="258898"/>
                  <a:pt x="5263966" y="255452"/>
                  <a:pt x="5270500" y="254000"/>
                </a:cubicBezTo>
                <a:cubicBezTo>
                  <a:pt x="5283069" y="251207"/>
                  <a:pt x="5296109" y="250773"/>
                  <a:pt x="5308600" y="247650"/>
                </a:cubicBezTo>
                <a:cubicBezTo>
                  <a:pt x="5321587" y="244403"/>
                  <a:pt x="5333713" y="238197"/>
                  <a:pt x="5346700" y="234950"/>
                </a:cubicBezTo>
                <a:lnTo>
                  <a:pt x="5372100" y="228600"/>
                </a:lnTo>
                <a:cubicBezTo>
                  <a:pt x="5376333" y="222250"/>
                  <a:pt x="5378841" y="214318"/>
                  <a:pt x="5384800" y="209550"/>
                </a:cubicBezTo>
                <a:cubicBezTo>
                  <a:pt x="5390027" y="205369"/>
                  <a:pt x="5399117" y="207933"/>
                  <a:pt x="5403850" y="203200"/>
                </a:cubicBezTo>
                <a:cubicBezTo>
                  <a:pt x="5408583" y="198467"/>
                  <a:pt x="5405467" y="188883"/>
                  <a:pt x="5410200" y="184150"/>
                </a:cubicBezTo>
                <a:cubicBezTo>
                  <a:pt x="5414933" y="179417"/>
                  <a:pt x="5423263" y="180793"/>
                  <a:pt x="5429250" y="177800"/>
                </a:cubicBezTo>
                <a:cubicBezTo>
                  <a:pt x="5478489" y="153181"/>
                  <a:pt x="5419467" y="174711"/>
                  <a:pt x="5467350" y="158750"/>
                </a:cubicBezTo>
                <a:cubicBezTo>
                  <a:pt x="5471583" y="152400"/>
                  <a:pt x="5470753" y="147885"/>
                  <a:pt x="5480050" y="139700"/>
                </a:cubicBezTo>
                <a:cubicBezTo>
                  <a:pt x="5489347" y="131515"/>
                  <a:pt x="5512549" y="120222"/>
                  <a:pt x="5523132" y="109639"/>
                </a:cubicBezTo>
                <a:cubicBezTo>
                  <a:pt x="5542182" y="102231"/>
                  <a:pt x="5556772" y="93682"/>
                  <a:pt x="5580283" y="89221"/>
                </a:cubicBezTo>
                <a:cubicBezTo>
                  <a:pt x="5603566" y="87104"/>
                  <a:pt x="5613665" y="91687"/>
                  <a:pt x="5634055" y="90910"/>
                </a:cubicBezTo>
                <a:cubicBezTo>
                  <a:pt x="5654445" y="90133"/>
                  <a:pt x="5654751" y="84560"/>
                  <a:pt x="5702621" y="84560"/>
                </a:cubicBezTo>
                <a:lnTo>
                  <a:pt x="5702300" y="0"/>
                </a:lnTo>
              </a:path>
            </a:pathLst>
          </a:custGeom>
          <a:no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en-US" sz="1800" b="0">
              <a:solidFill>
                <a:srgbClr val="FFFFFF"/>
              </a:solidFill>
            </a:endParaRPr>
          </a:p>
        </p:txBody>
      </p:sp>
      <p:sp>
        <p:nvSpPr>
          <p:cNvPr id="69" name="TextBox 68">
            <a:extLst>
              <a:ext uri="{FF2B5EF4-FFF2-40B4-BE49-F238E27FC236}">
                <a16:creationId xmlns:a16="http://schemas.microsoft.com/office/drawing/2014/main" id="{B3897A3A-F7EC-4A66-9866-24857167AF59}"/>
              </a:ext>
            </a:extLst>
          </p:cNvPr>
          <p:cNvSpPr txBox="1"/>
          <p:nvPr/>
        </p:nvSpPr>
        <p:spPr>
          <a:xfrm>
            <a:off x="5954914" y="1448628"/>
            <a:ext cx="1680758" cy="369332"/>
          </a:xfrm>
          <a:prstGeom prst="rect">
            <a:avLst/>
          </a:prstGeom>
          <a:solidFill>
            <a:schemeClr val="bg1"/>
          </a:solidFill>
        </p:spPr>
        <p:txBody>
          <a:bodyPr wrap="square" rtlCol="0">
            <a:spAutoFit/>
          </a:bodyPr>
          <a:lstStyle/>
          <a:p>
            <a:pPr fontAlgn="auto">
              <a:spcBef>
                <a:spcPts val="0"/>
              </a:spcBef>
              <a:spcAft>
                <a:spcPts val="0"/>
              </a:spcAft>
              <a:defRPr/>
            </a:pPr>
            <a:endParaRPr lang="en-US" sz="1800" b="0" dirty="0">
              <a:solidFill>
                <a:srgbClr val="000000"/>
              </a:solidFill>
              <a:latin typeface="Arial"/>
              <a:ea typeface="+mn-ea"/>
              <a:cs typeface="+mn-cs"/>
            </a:endParaRPr>
          </a:p>
        </p:txBody>
      </p:sp>
      <p:sp>
        <p:nvSpPr>
          <p:cNvPr id="72" name="TextBox 71">
            <a:extLst>
              <a:ext uri="{FF2B5EF4-FFF2-40B4-BE49-F238E27FC236}">
                <a16:creationId xmlns:a16="http://schemas.microsoft.com/office/drawing/2014/main" id="{0F495BE4-D2E9-4E11-B99E-16D92E5A7186}"/>
              </a:ext>
            </a:extLst>
          </p:cNvPr>
          <p:cNvSpPr txBox="1"/>
          <p:nvPr/>
        </p:nvSpPr>
        <p:spPr>
          <a:xfrm>
            <a:off x="2203998" y="1458153"/>
            <a:ext cx="137160" cy="369332"/>
          </a:xfrm>
          <a:prstGeom prst="rect">
            <a:avLst/>
          </a:prstGeom>
          <a:solidFill>
            <a:schemeClr val="bg1"/>
          </a:solidFill>
        </p:spPr>
        <p:txBody>
          <a:bodyPr wrap="square" rtlCol="0">
            <a:spAutoFit/>
          </a:bodyPr>
          <a:lstStyle/>
          <a:p>
            <a:pPr fontAlgn="auto">
              <a:spcBef>
                <a:spcPts val="0"/>
              </a:spcBef>
              <a:spcAft>
                <a:spcPts val="0"/>
              </a:spcAft>
              <a:defRPr/>
            </a:pPr>
            <a:endParaRPr lang="en-US" sz="1800" b="0" dirty="0">
              <a:solidFill>
                <a:srgbClr val="000000"/>
              </a:solidFill>
              <a:latin typeface="Arial"/>
              <a:ea typeface="+mn-ea"/>
              <a:cs typeface="+mn-cs"/>
            </a:endParaRPr>
          </a:p>
        </p:txBody>
      </p:sp>
      <p:sp>
        <p:nvSpPr>
          <p:cNvPr id="64" name="TextBox 63">
            <a:extLst>
              <a:ext uri="{FF2B5EF4-FFF2-40B4-BE49-F238E27FC236}">
                <a16:creationId xmlns:a16="http://schemas.microsoft.com/office/drawing/2014/main" id="{405E7DD5-9490-4556-91CF-5BD3F2CAA839}"/>
              </a:ext>
            </a:extLst>
          </p:cNvPr>
          <p:cNvSpPr txBox="1"/>
          <p:nvPr/>
        </p:nvSpPr>
        <p:spPr>
          <a:xfrm>
            <a:off x="6085731" y="2497253"/>
            <a:ext cx="2036648" cy="258532"/>
          </a:xfrm>
          <a:prstGeom prst="rect">
            <a:avLst/>
          </a:prstGeom>
          <a:noFill/>
        </p:spPr>
        <p:txBody>
          <a:bodyPr wrap="none" rtlCol="0">
            <a:spAutoFit/>
          </a:bodyPr>
          <a:lstStyle/>
          <a:p>
            <a:pPr fontAlgn="auto">
              <a:lnSpc>
                <a:spcPct val="90000"/>
              </a:lnSpc>
              <a:spcBef>
                <a:spcPts val="1200"/>
              </a:spcBef>
              <a:spcAft>
                <a:spcPts val="0"/>
              </a:spcAft>
              <a:buClr>
                <a:srgbClr val="7F134C"/>
              </a:buClr>
              <a:defRPr/>
            </a:pPr>
            <a:r>
              <a:rPr lang="en-US" sz="1200" dirty="0">
                <a:solidFill>
                  <a:srgbClr val="7F134C"/>
                </a:solidFill>
                <a:latin typeface="Arial" panose="020B0604020202020204"/>
                <a:ea typeface="+mn-ea"/>
                <a:cs typeface="+mn-cs"/>
              </a:rPr>
              <a:t>DAPA 10 mg (417 Events)</a:t>
            </a:r>
            <a:endParaRPr lang="en-US" sz="1200" b="0" dirty="0">
              <a:solidFill>
                <a:srgbClr val="7F134C"/>
              </a:solidFill>
              <a:latin typeface="Arial" panose="020B0604020202020204"/>
              <a:ea typeface="+mn-ea"/>
              <a:cs typeface="+mn-cs"/>
            </a:endParaRPr>
          </a:p>
        </p:txBody>
      </p:sp>
      <p:sp>
        <p:nvSpPr>
          <p:cNvPr id="65" name="TextBox 64">
            <a:extLst>
              <a:ext uri="{FF2B5EF4-FFF2-40B4-BE49-F238E27FC236}">
                <a16:creationId xmlns:a16="http://schemas.microsoft.com/office/drawing/2014/main" id="{F1D43B82-7F2D-4617-94D8-A0A03298FB84}"/>
              </a:ext>
            </a:extLst>
          </p:cNvPr>
          <p:cNvSpPr txBox="1"/>
          <p:nvPr/>
        </p:nvSpPr>
        <p:spPr>
          <a:xfrm>
            <a:off x="6094115" y="1924878"/>
            <a:ext cx="1721946" cy="258532"/>
          </a:xfrm>
          <a:prstGeom prst="rect">
            <a:avLst/>
          </a:prstGeom>
          <a:noFill/>
        </p:spPr>
        <p:txBody>
          <a:bodyPr wrap="none" rtlCol="0">
            <a:spAutoFit/>
          </a:bodyPr>
          <a:lstStyle/>
          <a:p>
            <a:pPr fontAlgn="auto">
              <a:lnSpc>
                <a:spcPct val="90000"/>
              </a:lnSpc>
              <a:spcBef>
                <a:spcPts val="1200"/>
              </a:spcBef>
              <a:spcAft>
                <a:spcPts val="0"/>
              </a:spcAft>
              <a:buClr>
                <a:srgbClr val="7F134C"/>
              </a:buClr>
              <a:defRPr/>
            </a:pPr>
            <a:r>
              <a:rPr lang="en-US" sz="1200" dirty="0">
                <a:solidFill>
                  <a:srgbClr val="FFFFFF">
                    <a:lumMod val="50000"/>
                  </a:srgbClr>
                </a:solidFill>
                <a:latin typeface="Arial" panose="020B0604020202020204"/>
                <a:ea typeface="+mn-ea"/>
                <a:cs typeface="+mn-cs"/>
              </a:rPr>
              <a:t>Placebo (496 Events)</a:t>
            </a:r>
            <a:endParaRPr lang="en-US" sz="1200" b="0" dirty="0">
              <a:solidFill>
                <a:srgbClr val="FFFFFF">
                  <a:lumMod val="50000"/>
                </a:srgbClr>
              </a:solidFill>
              <a:latin typeface="Arial" panose="020B0604020202020204"/>
              <a:ea typeface="+mn-ea"/>
              <a:cs typeface="+mn-cs"/>
            </a:endParaRPr>
          </a:p>
        </p:txBody>
      </p:sp>
    </p:spTree>
    <p:extLst>
      <p:ext uri="{BB962C8B-B14F-4D97-AF65-F5344CB8AC3E}">
        <p14:creationId xmlns:p14="http://schemas.microsoft.com/office/powerpoint/2010/main" val="28687672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254" y="933650"/>
            <a:ext cx="7646796" cy="55705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ovéPole 3"/>
          <p:cNvSpPr txBox="1"/>
          <p:nvPr/>
        </p:nvSpPr>
        <p:spPr>
          <a:xfrm>
            <a:off x="180874" y="30707"/>
            <a:ext cx="8712869" cy="830997"/>
          </a:xfrm>
          <a:prstGeom prst="rect">
            <a:avLst/>
          </a:prstGeom>
          <a:noFill/>
        </p:spPr>
        <p:txBody>
          <a:bodyPr wrap="square" rtlCol="0">
            <a:spAutoFit/>
          </a:bodyPr>
          <a:lstStyle/>
          <a:p>
            <a:r>
              <a:rPr lang="cs-CZ" dirty="0"/>
              <a:t>Společná doporučení ADA EASD 2018: léčba T2DM u pacientů s KV komplikacemi</a:t>
            </a:r>
          </a:p>
        </p:txBody>
      </p:sp>
    </p:spTree>
    <p:extLst>
      <p:ext uri="{BB962C8B-B14F-4D97-AF65-F5344CB8AC3E}">
        <p14:creationId xmlns:p14="http://schemas.microsoft.com/office/powerpoint/2010/main" val="24657898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b="1" dirty="0"/>
              <a:t>Léčba s omezením nákladů</a:t>
            </a: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7938" y="1038227"/>
            <a:ext cx="6521450" cy="5345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45754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1348" y="0"/>
            <a:ext cx="8280000" cy="672000"/>
          </a:xfrm>
        </p:spPr>
        <p:txBody>
          <a:bodyPr>
            <a:normAutofit fontScale="90000"/>
          </a:bodyPr>
          <a:lstStyle/>
          <a:p>
            <a:pPr algn="ctr"/>
            <a:r>
              <a:rPr lang="cs-CZ" sz="4900" b="1" dirty="0">
                <a:solidFill>
                  <a:schemeClr val="tx1">
                    <a:lumMod val="50000"/>
                  </a:schemeClr>
                </a:solidFill>
              </a:rPr>
              <a:t>Závěr </a:t>
            </a:r>
            <a:r>
              <a:rPr lang="cs-CZ" sz="4400" b="1" dirty="0">
                <a:solidFill>
                  <a:schemeClr val="tx1">
                    <a:lumMod val="50000"/>
                  </a:schemeClr>
                </a:solidFill>
              </a:rPr>
              <a:t> </a:t>
            </a:r>
            <a:endParaRPr lang="en-GB" sz="4400" b="1" dirty="0">
              <a:solidFill>
                <a:schemeClr val="tx1">
                  <a:lumMod val="50000"/>
                </a:schemeClr>
              </a:solidFill>
            </a:endParaRPr>
          </a:p>
        </p:txBody>
      </p:sp>
      <p:sp>
        <p:nvSpPr>
          <p:cNvPr id="5" name="Zástupný symbol pro text 4"/>
          <p:cNvSpPr>
            <a:spLocks noGrp="1"/>
          </p:cNvSpPr>
          <p:nvPr>
            <p:ph type="body" sz="quarter" idx="11"/>
          </p:nvPr>
        </p:nvSpPr>
        <p:spPr>
          <a:xfrm>
            <a:off x="306979" y="907587"/>
            <a:ext cx="8535148" cy="4229521"/>
          </a:xfrm>
        </p:spPr>
        <p:txBody>
          <a:bodyPr/>
          <a:lstStyle/>
          <a:p>
            <a:pPr marL="342900" indent="-342900">
              <a:buFont typeface="Arial" panose="020B0604020202020204" pitchFamily="34" charset="0"/>
              <a:buChar char="•"/>
            </a:pPr>
            <a:r>
              <a:rPr lang="cs-CZ" sz="2800" dirty="0"/>
              <a:t>Řada GLP-1 agonistů (</a:t>
            </a:r>
            <a:r>
              <a:rPr lang="cs-CZ" sz="2800" dirty="0" err="1"/>
              <a:t>liraglutid</a:t>
            </a:r>
            <a:r>
              <a:rPr lang="cs-CZ" sz="2800" dirty="0"/>
              <a:t>, </a:t>
            </a:r>
            <a:r>
              <a:rPr lang="cs-CZ" sz="2800" dirty="0" err="1"/>
              <a:t>semaglutid</a:t>
            </a:r>
            <a:r>
              <a:rPr lang="cs-CZ" sz="2800" dirty="0"/>
              <a:t>, </a:t>
            </a:r>
            <a:r>
              <a:rPr lang="cs-CZ" sz="2800" dirty="0" err="1"/>
              <a:t>albiglutid</a:t>
            </a:r>
            <a:r>
              <a:rPr lang="cs-CZ" sz="2800" dirty="0"/>
              <a:t>, </a:t>
            </a:r>
            <a:r>
              <a:rPr lang="cs-CZ" sz="2800" dirty="0" err="1"/>
              <a:t>dulaglutid</a:t>
            </a:r>
            <a:r>
              <a:rPr lang="cs-CZ" sz="2800" dirty="0"/>
              <a:t>) a SGLT-2 inhibitorů (</a:t>
            </a:r>
            <a:r>
              <a:rPr lang="cs-CZ" sz="2800" dirty="0" err="1"/>
              <a:t>empagliflozin</a:t>
            </a:r>
            <a:r>
              <a:rPr lang="cs-CZ" sz="2800" dirty="0"/>
              <a:t>, </a:t>
            </a:r>
            <a:r>
              <a:rPr lang="cs-CZ" sz="2800" dirty="0" err="1"/>
              <a:t>canagliflozin</a:t>
            </a:r>
            <a:r>
              <a:rPr lang="cs-CZ" sz="2800" dirty="0"/>
              <a:t> a </a:t>
            </a:r>
            <a:r>
              <a:rPr lang="cs-CZ" sz="2800" dirty="0" err="1"/>
              <a:t>dapagliflozin</a:t>
            </a:r>
            <a:r>
              <a:rPr lang="cs-CZ" sz="2800" dirty="0"/>
              <a:t>) má </a:t>
            </a:r>
            <a:r>
              <a:rPr lang="cs-CZ" sz="2800" dirty="0" err="1"/>
              <a:t>kardio</a:t>
            </a:r>
            <a:r>
              <a:rPr lang="cs-CZ" sz="2800" dirty="0"/>
              <a:t>- a </a:t>
            </a:r>
            <a:r>
              <a:rPr lang="cs-CZ" sz="2800" dirty="0" err="1"/>
              <a:t>nefroprotektivní</a:t>
            </a:r>
            <a:r>
              <a:rPr lang="cs-CZ" sz="2800" dirty="0"/>
              <a:t> účinky</a:t>
            </a:r>
          </a:p>
          <a:p>
            <a:pPr marL="342900" indent="-342900">
              <a:buFont typeface="Arial" panose="020B0604020202020204" pitchFamily="34" charset="0"/>
              <a:buChar char="•"/>
            </a:pPr>
            <a:r>
              <a:rPr lang="cs-CZ" sz="2800" dirty="0"/>
              <a:t>Kromě dobré </a:t>
            </a:r>
            <a:r>
              <a:rPr lang="cs-CZ" sz="2800" dirty="0" err="1"/>
              <a:t>antidiabetické</a:t>
            </a:r>
            <a:r>
              <a:rPr lang="cs-CZ" sz="2800" dirty="0"/>
              <a:t> účinnosti (bez rizika hypoglykémie) obě skupiny snižují hmotnost a krevní tlak</a:t>
            </a:r>
          </a:p>
          <a:p>
            <a:pPr marL="342900" indent="-342900">
              <a:buFont typeface="Arial" panose="020B0604020202020204" pitchFamily="34" charset="0"/>
              <a:buChar char="•"/>
            </a:pPr>
            <a:r>
              <a:rPr lang="cs-CZ" sz="2800" dirty="0"/>
              <a:t>GLP-1 agonisté navíc zlepšují funkci beta-buněk</a:t>
            </a:r>
          </a:p>
          <a:p>
            <a:pPr marL="342900" indent="-342900">
              <a:buFont typeface="Arial" panose="020B0604020202020204" pitchFamily="34" charset="0"/>
              <a:buChar char="•"/>
            </a:pPr>
            <a:r>
              <a:rPr lang="cs-CZ" sz="2800" dirty="0"/>
              <a:t>Podle současných doporučení  by měly být léky první volby u diabetiků 2. typu s anamnézou KV příhody (GLP-1 agonisté, SGLT-2 inhibitory) nebo srdečního selhání (SGLT-2 agonisté)</a:t>
            </a:r>
          </a:p>
          <a:p>
            <a:pPr marL="342900" indent="-342900">
              <a:buFont typeface="Arial" panose="020B0604020202020204" pitchFamily="34" charset="0"/>
              <a:buChar char="•"/>
            </a:pPr>
            <a:r>
              <a:rPr lang="cs-CZ" sz="2800" dirty="0"/>
              <a:t>Obě skupiny je možné kombinovat s inzulínem</a:t>
            </a:r>
          </a:p>
        </p:txBody>
      </p:sp>
    </p:spTree>
    <p:extLst>
      <p:ext uri="{BB962C8B-B14F-4D97-AF65-F5344CB8AC3E}">
        <p14:creationId xmlns:p14="http://schemas.microsoft.com/office/powerpoint/2010/main" val="1614303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barn(inVertical)">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barn(inVertical)">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barn(inVertical)">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barn(inVertical)">
                                      <p:cBhvr>
                                        <p:cTn id="22" dur="5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barn(inVertical)">
                                      <p:cBhvr>
                                        <p:cTn id="27"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4000" dirty="0">
                <a:solidFill>
                  <a:srgbClr val="001423"/>
                </a:solidFill>
              </a:rPr>
              <a:t>Co z toho plyne? </a:t>
            </a:r>
          </a:p>
        </p:txBody>
      </p:sp>
      <p:sp>
        <p:nvSpPr>
          <p:cNvPr id="3" name="Zástupný symbol pro text 2"/>
          <p:cNvSpPr>
            <a:spLocks noGrp="1"/>
          </p:cNvSpPr>
          <p:nvPr>
            <p:ph type="body" sz="quarter" idx="11"/>
          </p:nvPr>
        </p:nvSpPr>
        <p:spPr>
          <a:xfrm>
            <a:off x="237063" y="1552691"/>
            <a:ext cx="8483425" cy="4229521"/>
          </a:xfrm>
        </p:spPr>
        <p:txBody>
          <a:bodyPr/>
          <a:lstStyle/>
          <a:p>
            <a:pPr marL="342900" indent="-342900">
              <a:buFont typeface="Arial" panose="020B0604020202020204" pitchFamily="34" charset="0"/>
              <a:buChar char="•"/>
            </a:pPr>
            <a:r>
              <a:rPr lang="cs-CZ" sz="3200" dirty="0"/>
              <a:t>Deriváty </a:t>
            </a:r>
            <a:r>
              <a:rPr lang="cs-CZ" sz="3200" dirty="0" err="1"/>
              <a:t>sulfonylurey</a:t>
            </a:r>
            <a:r>
              <a:rPr lang="cs-CZ" sz="3200" dirty="0"/>
              <a:t> k ničemu nepotřebujeme!</a:t>
            </a:r>
          </a:p>
          <a:p>
            <a:pPr marL="342900" indent="-342900">
              <a:buFont typeface="Arial" panose="020B0604020202020204" pitchFamily="34" charset="0"/>
              <a:buChar char="•"/>
            </a:pPr>
            <a:endParaRPr lang="cs-CZ" sz="2800" dirty="0"/>
          </a:p>
          <a:p>
            <a:r>
              <a:rPr lang="cs-CZ" sz="5400" b="1" dirty="0"/>
              <a:t>ale    </a:t>
            </a:r>
          </a:p>
          <a:p>
            <a:pPr marL="342900" indent="-342900">
              <a:buFont typeface="Arial" panose="020B0604020202020204" pitchFamily="34" charset="0"/>
              <a:buChar char="•"/>
            </a:pPr>
            <a:endParaRPr lang="cs-CZ" sz="2800" dirty="0"/>
          </a:p>
          <a:p>
            <a:pPr marL="342900" indent="-342900">
              <a:buFont typeface="Arial" panose="020B0604020202020204" pitchFamily="34" charset="0"/>
              <a:buChar char="•"/>
            </a:pPr>
            <a:r>
              <a:rPr lang="cs-CZ" sz="3200" dirty="0"/>
              <a:t>Plátci nehradí GLP-1 agonisty a SGLT-2i u všech pacientů, kde jsou indikovány z pohledu medicíny založené na důkazech</a:t>
            </a:r>
          </a:p>
          <a:p>
            <a:pPr marL="342900" indent="-342900">
              <a:buFont typeface="Arial" panose="020B0604020202020204" pitchFamily="34" charset="0"/>
              <a:buChar char="•"/>
            </a:pPr>
            <a:endParaRPr lang="cs-CZ" sz="2800" dirty="0"/>
          </a:p>
          <a:p>
            <a:endParaRPr lang="cs-CZ" dirty="0"/>
          </a:p>
        </p:txBody>
      </p:sp>
    </p:spTree>
    <p:extLst>
      <p:ext uri="{BB962C8B-B14F-4D97-AF65-F5344CB8AC3E}">
        <p14:creationId xmlns:p14="http://schemas.microsoft.com/office/powerpoint/2010/main" val="234631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arn(inVertic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barn(inVertical)">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seriÃ¡l a je t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7812" y="2310829"/>
            <a:ext cx="5238750" cy="4124327"/>
          </a:xfrm>
          <a:prstGeom prst="rect">
            <a:avLst/>
          </a:prstGeom>
          <a:noFill/>
          <a:extLst>
            <a:ext uri="{909E8E84-426E-40DD-AFC4-6F175D3DCCD1}">
              <a14:hiddenFill xmlns:a14="http://schemas.microsoft.com/office/drawing/2010/main">
                <a:solidFill>
                  <a:srgbClr val="FFFFFF"/>
                </a:solidFill>
              </a14:hiddenFill>
            </a:ext>
          </a:extLst>
        </p:spPr>
      </p:pic>
      <p:sp>
        <p:nvSpPr>
          <p:cNvPr id="4" name="Nadpis 2"/>
          <p:cNvSpPr>
            <a:spLocks noGrp="1"/>
          </p:cNvSpPr>
          <p:nvPr>
            <p:ph type="title"/>
          </p:nvPr>
        </p:nvSpPr>
        <p:spPr>
          <a:xfrm>
            <a:off x="390630" y="361741"/>
            <a:ext cx="8229600" cy="1199408"/>
          </a:xfrm>
        </p:spPr>
        <p:txBody>
          <a:bodyPr/>
          <a:lstStyle/>
          <a:p>
            <a:pPr algn="ctr"/>
            <a:r>
              <a:rPr lang="cs-CZ" b="1" dirty="0">
                <a:solidFill>
                  <a:schemeClr val="tx1"/>
                </a:solidFill>
              </a:rPr>
              <a:t>Děkuji za pozornost</a:t>
            </a:r>
          </a:p>
        </p:txBody>
      </p:sp>
      <p:sp>
        <p:nvSpPr>
          <p:cNvPr id="2" name="Obdélník 1"/>
          <p:cNvSpPr/>
          <p:nvPr/>
        </p:nvSpPr>
        <p:spPr>
          <a:xfrm>
            <a:off x="3499062" y="1561149"/>
            <a:ext cx="1756250" cy="461665"/>
          </a:xfrm>
          <a:prstGeom prst="rect">
            <a:avLst/>
          </a:prstGeom>
        </p:spPr>
        <p:txBody>
          <a:bodyPr wrap="none">
            <a:spAutoFit/>
          </a:bodyPr>
          <a:lstStyle/>
          <a:p>
            <a:r>
              <a:rPr lang="cs-CZ" dirty="0"/>
              <a:t>A JE TO….</a:t>
            </a:r>
          </a:p>
        </p:txBody>
      </p:sp>
    </p:spTree>
    <p:extLst>
      <p:ext uri="{BB962C8B-B14F-4D97-AF65-F5344CB8AC3E}">
        <p14:creationId xmlns:p14="http://schemas.microsoft.com/office/powerpoint/2010/main" val="32710274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endParaRPr lang="cs-CZ"/>
          </a:p>
        </p:txBody>
      </p:sp>
    </p:spTree>
    <p:extLst>
      <p:ext uri="{BB962C8B-B14F-4D97-AF65-F5344CB8AC3E}">
        <p14:creationId xmlns:p14="http://schemas.microsoft.com/office/powerpoint/2010/main" val="35982490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79933" y="1797189"/>
            <a:ext cx="8112125" cy="4464496"/>
          </a:xfrm>
        </p:spPr>
        <p:txBody>
          <a:bodyPr>
            <a:normAutofit/>
          </a:bodyPr>
          <a:lstStyle/>
          <a:p>
            <a:pPr>
              <a:buNone/>
            </a:pPr>
            <a:r>
              <a:rPr lang="cs-CZ" sz="2000" dirty="0" err="1">
                <a:latin typeface="Verdana" pitchFamily="34" charset="0"/>
                <a:ea typeface="Verdana" pitchFamily="34" charset="0"/>
                <a:cs typeface="Verdana" pitchFamily="34" charset="0"/>
              </a:rPr>
              <a:t>Glifloziny</a:t>
            </a:r>
            <a:r>
              <a:rPr lang="cs-CZ" sz="2000" dirty="0">
                <a:latin typeface="Verdana" pitchFamily="34" charset="0"/>
                <a:ea typeface="Verdana" pitchFamily="34" charset="0"/>
                <a:cs typeface="Verdana" pitchFamily="34" charset="0"/>
              </a:rPr>
              <a:t> jsou hrazeny u diabetika 2. typu: </a:t>
            </a:r>
          </a:p>
          <a:p>
            <a:pPr marL="0" indent="0">
              <a:buNone/>
            </a:pPr>
            <a:r>
              <a:rPr lang="cs-CZ" sz="1900" dirty="0"/>
              <a:t>V</a:t>
            </a:r>
            <a:r>
              <a:rPr lang="cs-CZ" sz="1900" dirty="0">
                <a:latin typeface="Verdana" pitchFamily="34" charset="0"/>
                <a:ea typeface="Verdana" pitchFamily="34" charset="0"/>
                <a:cs typeface="Verdana" pitchFamily="34" charset="0"/>
              </a:rPr>
              <a:t> </a:t>
            </a:r>
            <a:r>
              <a:rPr lang="cs-CZ" sz="1900" b="1" dirty="0">
                <a:latin typeface="Verdana" pitchFamily="34" charset="0"/>
                <a:ea typeface="Verdana" pitchFamily="34" charset="0"/>
                <a:cs typeface="Verdana" pitchFamily="34" charset="0"/>
              </a:rPr>
              <a:t>dvojkombinaci s </a:t>
            </a:r>
            <a:r>
              <a:rPr lang="cs-CZ" sz="1900" b="1" dirty="0" err="1">
                <a:latin typeface="Verdana" pitchFamily="34" charset="0"/>
                <a:ea typeface="Verdana" pitchFamily="34" charset="0"/>
                <a:cs typeface="Verdana" pitchFamily="34" charset="0"/>
              </a:rPr>
              <a:t>metforminem</a:t>
            </a:r>
            <a:r>
              <a:rPr lang="cs-CZ" sz="1900" dirty="0">
                <a:latin typeface="Verdana" pitchFamily="34" charset="0"/>
                <a:ea typeface="Verdana" pitchFamily="34" charset="0"/>
                <a:cs typeface="Verdana" pitchFamily="34" charset="0"/>
              </a:rPr>
              <a:t> nebo v </a:t>
            </a:r>
            <a:r>
              <a:rPr lang="cs-CZ" sz="1900" b="1" dirty="0">
                <a:latin typeface="Verdana" pitchFamily="34" charset="0"/>
                <a:ea typeface="Verdana" pitchFamily="34" charset="0"/>
                <a:cs typeface="Verdana" pitchFamily="34" charset="0"/>
              </a:rPr>
              <a:t>dvojkombinaci s inzulinem</a:t>
            </a:r>
            <a:r>
              <a:rPr lang="cs-CZ" sz="1900" dirty="0">
                <a:latin typeface="Verdana" pitchFamily="34" charset="0"/>
                <a:ea typeface="Verdana" pitchFamily="34" charset="0"/>
                <a:cs typeface="Verdana" pitchFamily="34" charset="0"/>
              </a:rPr>
              <a:t> nebo </a:t>
            </a:r>
            <a:r>
              <a:rPr lang="cs-CZ" sz="1900" b="1" dirty="0">
                <a:latin typeface="Verdana" pitchFamily="34" charset="0"/>
                <a:ea typeface="Verdana" pitchFamily="34" charset="0"/>
                <a:cs typeface="Verdana" pitchFamily="34" charset="0"/>
              </a:rPr>
              <a:t>trojkombinaci s </a:t>
            </a:r>
            <a:r>
              <a:rPr lang="cs-CZ" sz="1900" b="1" dirty="0" err="1">
                <a:latin typeface="Verdana" pitchFamily="34" charset="0"/>
                <a:ea typeface="Verdana" pitchFamily="34" charset="0"/>
                <a:cs typeface="Verdana" pitchFamily="34" charset="0"/>
              </a:rPr>
              <a:t>metforminem</a:t>
            </a:r>
            <a:r>
              <a:rPr lang="cs-CZ" sz="1900" b="1" dirty="0">
                <a:latin typeface="Verdana" pitchFamily="34" charset="0"/>
                <a:ea typeface="Verdana" pitchFamily="34" charset="0"/>
                <a:cs typeface="Verdana" pitchFamily="34" charset="0"/>
              </a:rPr>
              <a:t> a inzulinem </a:t>
            </a:r>
            <a:r>
              <a:rPr lang="cs-CZ" sz="1900" dirty="0">
                <a:latin typeface="Verdana" pitchFamily="34" charset="0"/>
                <a:ea typeface="Verdana" pitchFamily="34" charset="0"/>
                <a:cs typeface="Verdana" pitchFamily="34" charset="0"/>
              </a:rPr>
              <a:t>u pacientů, u nichž použití maximálních tolerovaných dávek </a:t>
            </a:r>
            <a:r>
              <a:rPr lang="cs-CZ" sz="1900" dirty="0" err="1">
                <a:latin typeface="Verdana" pitchFamily="34" charset="0"/>
                <a:ea typeface="Verdana" pitchFamily="34" charset="0"/>
                <a:cs typeface="Verdana" pitchFamily="34" charset="0"/>
              </a:rPr>
              <a:t>metforminu</a:t>
            </a:r>
            <a:r>
              <a:rPr lang="cs-CZ" sz="1900" dirty="0">
                <a:latin typeface="Verdana" pitchFamily="34" charset="0"/>
                <a:ea typeface="Verdana" pitchFamily="34" charset="0"/>
                <a:cs typeface="Verdana" pitchFamily="34" charset="0"/>
              </a:rPr>
              <a:t> po dobu alespoň 3 měsíců nevedlo k uspokojivé kompenzaci diabetu definované </a:t>
            </a:r>
            <a:r>
              <a:rPr lang="cs-CZ" sz="1900" b="1" dirty="0">
                <a:latin typeface="Verdana" pitchFamily="34" charset="0"/>
                <a:ea typeface="Verdana" pitchFamily="34" charset="0"/>
                <a:cs typeface="Verdana" pitchFamily="34" charset="0"/>
              </a:rPr>
              <a:t>HbA</a:t>
            </a:r>
            <a:r>
              <a:rPr lang="cs-CZ" sz="1900" b="1" baseline="-25000" dirty="0">
                <a:latin typeface="Verdana" pitchFamily="34" charset="0"/>
                <a:ea typeface="Verdana" pitchFamily="34" charset="0"/>
                <a:cs typeface="Verdana" pitchFamily="34" charset="0"/>
              </a:rPr>
              <a:t>1C</a:t>
            </a:r>
            <a:r>
              <a:rPr lang="cs-CZ" sz="1900" dirty="0">
                <a:latin typeface="Verdana" pitchFamily="34" charset="0"/>
                <a:ea typeface="Verdana" pitchFamily="34" charset="0"/>
                <a:cs typeface="Verdana" pitchFamily="34" charset="0"/>
              </a:rPr>
              <a:t> nižší než </a:t>
            </a:r>
            <a:r>
              <a:rPr lang="cs-CZ" sz="1900" b="1" dirty="0">
                <a:latin typeface="Verdana" pitchFamily="34" charset="0"/>
                <a:ea typeface="Verdana" pitchFamily="34" charset="0"/>
                <a:cs typeface="Verdana" pitchFamily="34" charset="0"/>
              </a:rPr>
              <a:t>60mmol/mol. </a:t>
            </a:r>
            <a:endParaRPr lang="cs-CZ" sz="1900" dirty="0"/>
          </a:p>
        </p:txBody>
      </p:sp>
      <p:sp>
        <p:nvSpPr>
          <p:cNvPr id="3" name="Rectangle 2"/>
          <p:cNvSpPr/>
          <p:nvPr/>
        </p:nvSpPr>
        <p:spPr>
          <a:xfrm>
            <a:off x="179512" y="836712"/>
            <a:ext cx="8712968" cy="33032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sz="1800" b="0">
              <a:solidFill>
                <a:prstClr val="white"/>
              </a:solidFill>
            </a:endParaRPr>
          </a:p>
        </p:txBody>
      </p:sp>
      <p:sp>
        <p:nvSpPr>
          <p:cNvPr id="9" name="Title 1"/>
          <p:cNvSpPr>
            <a:spLocks noGrp="1"/>
          </p:cNvSpPr>
          <p:nvPr>
            <p:ph type="title"/>
          </p:nvPr>
        </p:nvSpPr>
        <p:spPr>
          <a:xfrm>
            <a:off x="518897" y="476672"/>
            <a:ext cx="8112125" cy="690363"/>
          </a:xfrm>
        </p:spPr>
        <p:txBody>
          <a:bodyPr>
            <a:noAutofit/>
          </a:bodyPr>
          <a:lstStyle/>
          <a:p>
            <a:pPr algn="ctr"/>
            <a:r>
              <a:rPr lang="cs-CZ" sz="3200" b="1" dirty="0">
                <a:solidFill>
                  <a:schemeClr val="tx1">
                    <a:lumMod val="50000"/>
                  </a:schemeClr>
                </a:solidFill>
              </a:rPr>
              <a:t>Podmínky úhrady pro </a:t>
            </a:r>
            <a:r>
              <a:rPr lang="cs-CZ" sz="3200" b="1" dirty="0" err="1">
                <a:solidFill>
                  <a:schemeClr val="tx1">
                    <a:lumMod val="50000"/>
                  </a:schemeClr>
                </a:solidFill>
              </a:rPr>
              <a:t>glifloziny</a:t>
            </a:r>
            <a:r>
              <a:rPr lang="cs-CZ" sz="3200" b="1" dirty="0">
                <a:solidFill>
                  <a:schemeClr val="tx1">
                    <a:lumMod val="50000"/>
                  </a:schemeClr>
                </a:solidFill>
              </a:rPr>
              <a:t> a GLP-1 agonisty</a:t>
            </a:r>
            <a:endParaRPr lang="en-GB" sz="3200" b="1" dirty="0">
              <a:solidFill>
                <a:schemeClr val="tx1">
                  <a:lumMod val="50000"/>
                </a:schemeClr>
              </a:solidFill>
            </a:endParaRPr>
          </a:p>
        </p:txBody>
      </p:sp>
      <p:sp>
        <p:nvSpPr>
          <p:cNvPr id="2" name="Obdélník 1"/>
          <p:cNvSpPr/>
          <p:nvPr/>
        </p:nvSpPr>
        <p:spPr>
          <a:xfrm>
            <a:off x="518896" y="1328399"/>
            <a:ext cx="3172663" cy="461665"/>
          </a:xfrm>
          <a:prstGeom prst="rect">
            <a:avLst/>
          </a:prstGeom>
        </p:spPr>
        <p:txBody>
          <a:bodyPr wrap="none">
            <a:spAutoFit/>
          </a:bodyPr>
          <a:lstStyle/>
          <a:p>
            <a:pPr>
              <a:buNone/>
            </a:pPr>
            <a:r>
              <a:rPr lang="cs-CZ" dirty="0">
                <a:latin typeface="Verdana" pitchFamily="34" charset="0"/>
                <a:ea typeface="Verdana" pitchFamily="34" charset="0"/>
                <a:cs typeface="Verdana" pitchFamily="34" charset="0"/>
              </a:rPr>
              <a:t>E/DIA, END, INT </a:t>
            </a:r>
          </a:p>
        </p:txBody>
      </p:sp>
      <p:sp>
        <p:nvSpPr>
          <p:cNvPr id="5" name="Obdélník 4"/>
          <p:cNvSpPr/>
          <p:nvPr/>
        </p:nvSpPr>
        <p:spPr>
          <a:xfrm>
            <a:off x="394175" y="4129763"/>
            <a:ext cx="8197883" cy="2431435"/>
          </a:xfrm>
          <a:prstGeom prst="rect">
            <a:avLst/>
          </a:prstGeom>
        </p:spPr>
        <p:txBody>
          <a:bodyPr wrap="square">
            <a:spAutoFit/>
          </a:bodyPr>
          <a:lstStyle/>
          <a:p>
            <a:r>
              <a:rPr lang="cs-CZ" sz="1900" b="0" dirty="0">
                <a:latin typeface="Verdana" panose="020B0604030504040204" pitchFamily="34" charset="0"/>
                <a:ea typeface="Verdana" panose="020B0604030504040204" pitchFamily="34" charset="0"/>
                <a:cs typeface="Verdana" panose="020B0604030504040204" pitchFamily="34" charset="0"/>
              </a:rPr>
              <a:t>GLP-1 agonisté jsou hrazeny u diabetika 2. typu:</a:t>
            </a:r>
          </a:p>
          <a:p>
            <a:r>
              <a:rPr lang="cs-CZ" sz="1900" dirty="0">
                <a:latin typeface="Verdana" panose="020B0604030504040204" pitchFamily="34" charset="0"/>
                <a:ea typeface="Verdana" panose="020B0604030504040204" pitchFamily="34" charset="0"/>
                <a:cs typeface="Verdana" panose="020B0604030504040204" pitchFamily="34" charset="0"/>
              </a:rPr>
              <a:t>v kombinaci s </a:t>
            </a:r>
            <a:r>
              <a:rPr lang="cs-CZ" sz="1900" dirty="0" err="1">
                <a:latin typeface="Verdana" panose="020B0604030504040204" pitchFamily="34" charset="0"/>
                <a:ea typeface="Verdana" panose="020B0604030504040204" pitchFamily="34" charset="0"/>
                <a:cs typeface="Verdana" panose="020B0604030504040204" pitchFamily="34" charset="0"/>
              </a:rPr>
              <a:t>metforminem</a:t>
            </a:r>
            <a:r>
              <a:rPr lang="cs-CZ" sz="1900" dirty="0">
                <a:latin typeface="Verdana" panose="020B0604030504040204" pitchFamily="34" charset="0"/>
                <a:ea typeface="Verdana" panose="020B0604030504040204" pitchFamily="34" charset="0"/>
                <a:cs typeface="Verdana" panose="020B0604030504040204" pitchFamily="34" charset="0"/>
              </a:rPr>
              <a:t> a/nebo </a:t>
            </a:r>
            <a:r>
              <a:rPr lang="cs-CZ" sz="1900" dirty="0" err="1">
                <a:latin typeface="Verdana" panose="020B0604030504040204" pitchFamily="34" charset="0"/>
                <a:ea typeface="Verdana" panose="020B0604030504040204" pitchFamily="34" charset="0"/>
                <a:cs typeface="Verdana" panose="020B0604030504040204" pitchFamily="34" charset="0"/>
              </a:rPr>
              <a:t>sulfonylureou</a:t>
            </a:r>
            <a:r>
              <a:rPr lang="cs-CZ" sz="1900" dirty="0">
                <a:latin typeface="Verdana" panose="020B0604030504040204" pitchFamily="34" charset="0"/>
                <a:ea typeface="Verdana" panose="020B0604030504040204" pitchFamily="34" charset="0"/>
                <a:cs typeface="Verdana" panose="020B0604030504040204" pitchFamily="34" charset="0"/>
              </a:rPr>
              <a:t> nebo v kombinaci s </a:t>
            </a:r>
            <a:r>
              <a:rPr lang="cs-CZ" sz="1900" dirty="0" err="1">
                <a:latin typeface="Verdana" panose="020B0604030504040204" pitchFamily="34" charset="0"/>
                <a:ea typeface="Verdana" panose="020B0604030504040204" pitchFamily="34" charset="0"/>
                <a:cs typeface="Verdana" panose="020B0604030504040204" pitchFamily="34" charset="0"/>
              </a:rPr>
              <a:t>thiazolidindiony</a:t>
            </a:r>
            <a:r>
              <a:rPr lang="cs-CZ" sz="1900" dirty="0">
                <a:latin typeface="Verdana" panose="020B0604030504040204" pitchFamily="34" charset="0"/>
                <a:ea typeface="Verdana" panose="020B0604030504040204" pitchFamily="34" charset="0"/>
                <a:cs typeface="Verdana" panose="020B0604030504040204" pitchFamily="34" charset="0"/>
              </a:rPr>
              <a:t> u pacientů</a:t>
            </a:r>
            <a:r>
              <a:rPr lang="cs-CZ" sz="1900" b="0" dirty="0">
                <a:latin typeface="Verdana" panose="020B0604030504040204" pitchFamily="34" charset="0"/>
                <a:ea typeface="Verdana" panose="020B0604030504040204" pitchFamily="34" charset="0"/>
                <a:cs typeface="Verdana" panose="020B0604030504040204" pitchFamily="34" charset="0"/>
              </a:rPr>
              <a:t>, u nichž použití maximálních tolerovaných dávek zmíněných léčiv po dobu alespoň 3 měsíců společně s režimovými opatřeními nevedlo k uspokojivé kompenzaci diabetu definované jako koncentrace HbA</a:t>
            </a:r>
            <a:r>
              <a:rPr lang="cs-CZ" sz="1900" b="0" baseline="-25000" dirty="0">
                <a:latin typeface="Verdana" panose="020B0604030504040204" pitchFamily="34" charset="0"/>
                <a:ea typeface="Verdana" panose="020B0604030504040204" pitchFamily="34" charset="0"/>
                <a:cs typeface="Verdana" panose="020B0604030504040204" pitchFamily="34" charset="0"/>
              </a:rPr>
              <a:t>1c</a:t>
            </a:r>
            <a:r>
              <a:rPr lang="cs-CZ" sz="1900" b="0" dirty="0">
                <a:latin typeface="Verdana" panose="020B0604030504040204" pitchFamily="34" charset="0"/>
                <a:ea typeface="Verdana" panose="020B0604030504040204" pitchFamily="34" charset="0"/>
                <a:cs typeface="Verdana" panose="020B0604030504040204" pitchFamily="34" charset="0"/>
              </a:rPr>
              <a:t> nižší než 60 </a:t>
            </a:r>
            <a:r>
              <a:rPr lang="cs-CZ" sz="1900" b="0" dirty="0" err="1">
                <a:latin typeface="Verdana" panose="020B0604030504040204" pitchFamily="34" charset="0"/>
                <a:ea typeface="Verdana" panose="020B0604030504040204" pitchFamily="34" charset="0"/>
                <a:cs typeface="Verdana" panose="020B0604030504040204" pitchFamily="34" charset="0"/>
              </a:rPr>
              <a:t>mmol</a:t>
            </a:r>
            <a:r>
              <a:rPr lang="cs-CZ" sz="1900" b="0" dirty="0">
                <a:latin typeface="Verdana" panose="020B0604030504040204" pitchFamily="34" charset="0"/>
                <a:ea typeface="Verdana" panose="020B0604030504040204" pitchFamily="34" charset="0"/>
                <a:cs typeface="Verdana" panose="020B0604030504040204" pitchFamily="34" charset="0"/>
              </a:rPr>
              <a:t>/mol. Dále pro zvýšenou úhradu podmínka BMI </a:t>
            </a:r>
            <a:r>
              <a:rPr lang="cs-CZ" sz="1900" b="0" dirty="0">
                <a:latin typeface="Verdana" panose="020B0604030504040204" pitchFamily="34" charset="0"/>
                <a:ea typeface="Verdana" panose="020B0604030504040204" pitchFamily="34" charset="0"/>
                <a:cs typeface="Verdana" panose="020B0604030504040204" pitchFamily="34" charset="0"/>
                <a:sym typeface="Symbol" panose="05050102010706020507" pitchFamily="18" charset="2"/>
              </a:rPr>
              <a:t> 35 kg/m</a:t>
            </a:r>
            <a:r>
              <a:rPr lang="cs-CZ" sz="1900" b="0" baseline="30000" dirty="0">
                <a:latin typeface="Verdana" panose="020B0604030504040204" pitchFamily="34" charset="0"/>
                <a:ea typeface="Verdana" panose="020B0604030504040204" pitchFamily="34" charset="0"/>
                <a:cs typeface="Verdana" panose="020B0604030504040204" pitchFamily="34" charset="0"/>
                <a:sym typeface="Symbol" panose="05050102010706020507" pitchFamily="18" charset="2"/>
              </a:rPr>
              <a:t>2</a:t>
            </a:r>
            <a:endParaRPr lang="cs-CZ" sz="1900" b="0" baseline="30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7162482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xfrm>
            <a:off x="285750" y="357198"/>
            <a:ext cx="8509000" cy="522287"/>
          </a:xfrm>
        </p:spPr>
        <p:txBody>
          <a:bodyPr/>
          <a:lstStyle/>
          <a:p>
            <a:pPr eaLnBrk="1" hangingPunct="1"/>
            <a:r>
              <a:rPr lang="cs-CZ" altLang="cs-CZ" sz="2800" b="1">
                <a:ea typeface="MS PGothic" pitchFamily="34" charset="-128"/>
              </a:rPr>
              <a:t>Etiopatogeneza DM 2. typu a jeho komplikací je velmi komplexní</a:t>
            </a:r>
            <a:endParaRPr lang="en-US" altLang="cs-CZ" sz="2800" b="1">
              <a:ea typeface="MS PGothic" pitchFamily="34" charset="-128"/>
            </a:endParaRPr>
          </a:p>
        </p:txBody>
      </p:sp>
      <p:sp>
        <p:nvSpPr>
          <p:cNvPr id="35843" name="Text Box 50"/>
          <p:cNvSpPr txBox="1">
            <a:spLocks noChangeArrowheads="1"/>
          </p:cNvSpPr>
          <p:nvPr/>
        </p:nvSpPr>
        <p:spPr bwMode="auto">
          <a:xfrm>
            <a:off x="179388" y="6574666"/>
            <a:ext cx="896461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spcBef>
                <a:spcPct val="20000"/>
              </a:spcBef>
              <a:buChar char="•"/>
              <a:defRPr sz="3200">
                <a:solidFill>
                  <a:schemeClr val="tx1"/>
                </a:solidFill>
                <a:latin typeface="Arial" pitchFamily="34" charset="0"/>
              </a:defRPr>
            </a:lvl1pPr>
            <a:lvl2pPr marL="742950" indent="-285750">
              <a:spcBef>
                <a:spcPct val="20000"/>
              </a:spcBef>
              <a:buChar char="–"/>
              <a:defRPr sz="2800">
                <a:solidFill>
                  <a:schemeClr val="tx1"/>
                </a:solidFill>
                <a:latin typeface="Arial" pitchFamily="34" charset="0"/>
              </a:defRPr>
            </a:lvl2pPr>
            <a:lvl3pPr marL="1143000" indent="-228600">
              <a:spcBef>
                <a:spcPct val="20000"/>
              </a:spcBef>
              <a:buChar char="•"/>
              <a:defRPr sz="2400">
                <a:solidFill>
                  <a:schemeClr val="tx1"/>
                </a:solidFill>
                <a:latin typeface="Arial" pitchFamily="34" charset="0"/>
              </a:defRPr>
            </a:lvl3pPr>
            <a:lvl4pPr marL="1600200" indent="-228600">
              <a:spcBef>
                <a:spcPct val="20000"/>
              </a:spcBef>
              <a:buChar char="–"/>
              <a:defRPr sz="2000">
                <a:solidFill>
                  <a:schemeClr val="tx1"/>
                </a:solidFill>
                <a:latin typeface="Arial" pitchFamily="34" charset="0"/>
              </a:defRPr>
            </a:lvl4pPr>
            <a:lvl5pPr marL="2057400" indent="-22860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0" hangingPunct="0">
              <a:spcBef>
                <a:spcPct val="0"/>
              </a:spcBef>
              <a:buFontTx/>
              <a:buNone/>
            </a:pPr>
            <a:r>
              <a:rPr lang="en-GB" altLang="cs-CZ" sz="1200" b="0">
                <a:solidFill>
                  <a:srgbClr val="001965"/>
                </a:solidFill>
                <a:latin typeface="Arial Narrow" pitchFamily="34" charset="0"/>
                <a:ea typeface="ヒラギノ角ゴ Pro W3"/>
                <a:cs typeface="ヒラギノ角ゴ Pro W3"/>
              </a:rPr>
              <a:t>Libby et al. </a:t>
            </a:r>
            <a:r>
              <a:rPr lang="fr-FR" altLang="cs-CZ" sz="1200" b="0" i="1">
                <a:solidFill>
                  <a:srgbClr val="001965"/>
                </a:solidFill>
                <a:latin typeface="Arial Narrow" pitchFamily="34" charset="0"/>
                <a:ea typeface="ヒラギノ角ゴ Pro W3"/>
                <a:cs typeface="ヒラギノ角ゴ Pro W3"/>
              </a:rPr>
              <a:t>Circulation </a:t>
            </a:r>
            <a:r>
              <a:rPr lang="fr-FR" altLang="cs-CZ" sz="1200" b="0">
                <a:solidFill>
                  <a:srgbClr val="001965"/>
                </a:solidFill>
                <a:latin typeface="Arial Narrow" pitchFamily="34" charset="0"/>
                <a:ea typeface="ヒラギノ角ゴ Pro W3"/>
                <a:cs typeface="ヒラギノ角ゴ Pro W3"/>
              </a:rPr>
              <a:t>2002;106(22):2760</a:t>
            </a:r>
            <a:r>
              <a:rPr lang="en-US" altLang="cs-CZ" sz="1200" b="0">
                <a:solidFill>
                  <a:srgbClr val="001965"/>
                </a:solidFill>
                <a:latin typeface="Arial Narrow" pitchFamily="34" charset="0"/>
                <a:cs typeface="Arial" pitchFamily="34" charset="0"/>
              </a:rPr>
              <a:t>‒</a:t>
            </a:r>
            <a:r>
              <a:rPr lang="fr-FR" altLang="cs-CZ" sz="1200" b="0">
                <a:solidFill>
                  <a:srgbClr val="001965"/>
                </a:solidFill>
                <a:latin typeface="Arial Narrow" pitchFamily="34" charset="0"/>
                <a:ea typeface="ヒラギノ角ゴ Pro W3"/>
                <a:cs typeface="ヒラギノ角ゴ Pro W3"/>
              </a:rPr>
              <a:t>2763.</a:t>
            </a:r>
            <a:r>
              <a:rPr lang="cs-CZ" altLang="cs-CZ" sz="1200" b="0">
                <a:solidFill>
                  <a:srgbClr val="001965"/>
                </a:solidFill>
                <a:latin typeface="Arial Narrow" pitchFamily="34" charset="0"/>
                <a:ea typeface="ヒラギノ角ゴ Pro W3"/>
                <a:cs typeface="ヒラギノ角ゴ Pro W3"/>
              </a:rPr>
              <a:t> </a:t>
            </a:r>
            <a:r>
              <a:rPr lang="en-GB" altLang="cs-CZ" sz="1200" b="0">
                <a:solidFill>
                  <a:srgbClr val="001965"/>
                </a:solidFill>
                <a:latin typeface="Arial Narrow" pitchFamily="34" charset="0"/>
                <a:ea typeface="ヒラギノ角ゴ Pro W3"/>
                <a:cs typeface="ヒラギノ角ゴ Pro W3"/>
              </a:rPr>
              <a:t>Jacobs </a:t>
            </a:r>
            <a:r>
              <a:rPr lang="en-GB" altLang="cs-CZ" sz="1200" b="0" i="1">
                <a:solidFill>
                  <a:srgbClr val="001965"/>
                </a:solidFill>
                <a:latin typeface="Arial Narrow" pitchFamily="34" charset="0"/>
                <a:ea typeface="ヒラギノ角ゴ Pro W3"/>
                <a:cs typeface="ヒラギノ角ゴ Pro W3"/>
              </a:rPr>
              <a:t>et al. Diabetes Res Clin Pract. </a:t>
            </a:r>
            <a:r>
              <a:rPr lang="en-GB" altLang="cs-CZ" sz="1200" b="0">
                <a:solidFill>
                  <a:srgbClr val="001965"/>
                </a:solidFill>
                <a:latin typeface="Arial Narrow" pitchFamily="34" charset="0"/>
                <a:ea typeface="ヒラギノ角ゴ Pro W3"/>
                <a:cs typeface="ヒラギノ角ゴ Pro W3"/>
              </a:rPr>
              <a:t>2005;70(3):263</a:t>
            </a:r>
            <a:r>
              <a:rPr lang="en-US" altLang="cs-CZ" sz="1200" b="0">
                <a:solidFill>
                  <a:srgbClr val="001965"/>
                </a:solidFill>
                <a:latin typeface="Arial Narrow" pitchFamily="34" charset="0"/>
                <a:cs typeface="Arial" pitchFamily="34" charset="0"/>
              </a:rPr>
              <a:t>‒</a:t>
            </a:r>
            <a:r>
              <a:rPr lang="en-GB" altLang="cs-CZ" sz="1200" b="0">
                <a:solidFill>
                  <a:srgbClr val="001965"/>
                </a:solidFill>
                <a:latin typeface="Arial Narrow" pitchFamily="34" charset="0"/>
                <a:ea typeface="ヒラギノ角ゴ Pro W3"/>
                <a:cs typeface="ヒラギノ角ゴ Pro W3"/>
              </a:rPr>
              <a:t>269.</a:t>
            </a:r>
            <a:endParaRPr lang="en-US" altLang="cs-CZ" sz="1200" b="0">
              <a:solidFill>
                <a:srgbClr val="001965"/>
              </a:solidFill>
              <a:latin typeface="Arial Narrow" pitchFamily="34" charset="0"/>
              <a:ea typeface="ヒラギノ角ゴ Pro W3"/>
              <a:cs typeface="ヒラギノ角ゴ Pro W3"/>
            </a:endParaRPr>
          </a:p>
        </p:txBody>
      </p:sp>
      <p:pic>
        <p:nvPicPr>
          <p:cNvPr id="35844" name="Picture 2" descr="IR copy.pct                                                    0009D88ABLI448-Gray                    B711A977:"/>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79390" y="1233491"/>
            <a:ext cx="6746875" cy="3941763"/>
          </a:xfrm>
        </p:spPr>
      </p:pic>
      <p:pic>
        <p:nvPicPr>
          <p:cNvPr id="35845" name="Picture 4"/>
          <p:cNvPicPr>
            <a:picLocks noChangeAspect="1" noChangeArrowheads="1"/>
          </p:cNvPicPr>
          <p:nvPr/>
        </p:nvPicPr>
        <p:blipFill>
          <a:blip r:embed="rId3">
            <a:clrChange>
              <a:clrFrom>
                <a:srgbClr val="0140C0"/>
              </a:clrFrom>
              <a:clrTo>
                <a:srgbClr val="0140C0">
                  <a:alpha val="0"/>
                </a:srgbClr>
              </a:clrTo>
            </a:clrChange>
            <a:extLst>
              <a:ext uri="{28A0092B-C50C-407E-A947-70E740481C1C}">
                <a14:useLocalDpi xmlns:a14="http://schemas.microsoft.com/office/drawing/2010/main" val="0"/>
              </a:ext>
            </a:extLst>
          </a:blip>
          <a:srcRect/>
          <a:stretch>
            <a:fillRect/>
          </a:stretch>
        </p:blipFill>
        <p:spPr bwMode="auto">
          <a:xfrm>
            <a:off x="7018338" y="1484313"/>
            <a:ext cx="2044700" cy="3708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6" name="TextovéPole 5"/>
          <p:cNvSpPr txBox="1"/>
          <p:nvPr/>
        </p:nvSpPr>
        <p:spPr>
          <a:xfrm>
            <a:off x="971550" y="5230813"/>
            <a:ext cx="7200900" cy="923330"/>
          </a:xfrm>
          <a:prstGeom prst="rect">
            <a:avLst/>
          </a:prstGeom>
        </p:spPr>
        <p:style>
          <a:lnRef idx="2">
            <a:schemeClr val="dk1"/>
          </a:lnRef>
          <a:fillRef idx="1">
            <a:schemeClr val="lt1"/>
          </a:fillRef>
          <a:effectRef idx="0">
            <a:schemeClr val="dk1"/>
          </a:effectRef>
          <a:fontRef idx="minor">
            <a:schemeClr val="dk1"/>
          </a:fontRef>
        </p:style>
        <p:txBody>
          <a:bodyPr>
            <a:spAutoFit/>
          </a:bodyPr>
          <a:lstStyle/>
          <a:p>
            <a:pPr eaLnBrk="0" hangingPunct="0">
              <a:defRPr/>
            </a:pPr>
            <a:r>
              <a:rPr lang="cs-CZ" sz="1800" dirty="0">
                <a:solidFill>
                  <a:srgbClr val="FF0000"/>
                </a:solidFill>
              </a:rPr>
              <a:t>90 %</a:t>
            </a:r>
            <a:r>
              <a:rPr lang="cs-CZ" sz="1800" dirty="0">
                <a:solidFill>
                  <a:srgbClr val="001965"/>
                </a:solidFill>
              </a:rPr>
              <a:t> pacientů s DM2T má nadváhu nebo obezitu</a:t>
            </a:r>
          </a:p>
          <a:p>
            <a:pPr eaLnBrk="0" hangingPunct="0">
              <a:defRPr/>
            </a:pPr>
            <a:r>
              <a:rPr lang="cs-CZ" sz="1800" dirty="0">
                <a:solidFill>
                  <a:srgbClr val="FF0000"/>
                </a:solidFill>
              </a:rPr>
              <a:t>83 %</a:t>
            </a:r>
            <a:r>
              <a:rPr lang="cs-CZ" sz="1800" dirty="0">
                <a:solidFill>
                  <a:srgbClr val="001965"/>
                </a:solidFill>
              </a:rPr>
              <a:t> pacientů s DM2T má arteriální hypertenzi</a:t>
            </a:r>
          </a:p>
          <a:p>
            <a:pPr eaLnBrk="0" hangingPunct="0">
              <a:defRPr/>
            </a:pPr>
            <a:r>
              <a:rPr lang="cs-CZ" sz="1800" dirty="0">
                <a:solidFill>
                  <a:srgbClr val="FF0000"/>
                </a:solidFill>
              </a:rPr>
              <a:t>80 %</a:t>
            </a:r>
            <a:r>
              <a:rPr lang="cs-CZ" sz="1800" dirty="0">
                <a:solidFill>
                  <a:srgbClr val="001965"/>
                </a:solidFill>
              </a:rPr>
              <a:t> pacientů s DM2T má </a:t>
            </a:r>
            <a:r>
              <a:rPr lang="cs-CZ" sz="1800" dirty="0" err="1">
                <a:solidFill>
                  <a:srgbClr val="001965"/>
                </a:solidFill>
              </a:rPr>
              <a:t>dyslipidémii</a:t>
            </a:r>
            <a:endParaRPr lang="cs-CZ" sz="1800" b="0" dirty="0">
              <a:solidFill>
                <a:srgbClr val="001965"/>
              </a:solidFill>
            </a:endParaRPr>
          </a:p>
        </p:txBody>
      </p:sp>
    </p:spTree>
    <p:extLst>
      <p:ext uri="{BB962C8B-B14F-4D97-AF65-F5344CB8AC3E}">
        <p14:creationId xmlns:p14="http://schemas.microsoft.com/office/powerpoint/2010/main" val="804416030"/>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Nadpis 1"/>
          <p:cNvSpPr>
            <a:spLocks noGrp="1"/>
          </p:cNvSpPr>
          <p:nvPr>
            <p:ph type="title"/>
          </p:nvPr>
        </p:nvSpPr>
        <p:spPr>
          <a:xfrm>
            <a:off x="430215" y="-27996"/>
            <a:ext cx="8229600" cy="1143000"/>
          </a:xfrm>
        </p:spPr>
        <p:txBody>
          <a:bodyPr/>
          <a:lstStyle/>
          <a:p>
            <a:r>
              <a:rPr lang="cs-CZ" altLang="cs-CZ" sz="4000" dirty="0">
                <a:solidFill>
                  <a:schemeClr val="tx1"/>
                </a:solidFill>
              </a:rPr>
              <a:t>Nová vs. klasická </a:t>
            </a:r>
            <a:r>
              <a:rPr lang="cs-CZ" altLang="cs-CZ" sz="4000" dirty="0" err="1">
                <a:solidFill>
                  <a:schemeClr val="tx1"/>
                </a:solidFill>
              </a:rPr>
              <a:t>antidiabetika</a:t>
            </a:r>
            <a:endParaRPr lang="cs-CZ" altLang="cs-CZ" sz="4000" dirty="0">
              <a:solidFill>
                <a:schemeClr val="tx1"/>
              </a:solidFill>
            </a:endParaRPr>
          </a:p>
        </p:txBody>
      </p:sp>
      <p:sp>
        <p:nvSpPr>
          <p:cNvPr id="115715" name="Zástupný symbol pro text 3"/>
          <p:cNvSpPr>
            <a:spLocks noGrp="1"/>
          </p:cNvSpPr>
          <p:nvPr>
            <p:ph type="body" idx="1"/>
          </p:nvPr>
        </p:nvSpPr>
        <p:spPr>
          <a:xfrm>
            <a:off x="457201" y="1005176"/>
            <a:ext cx="4040187" cy="639763"/>
          </a:xfrm>
        </p:spPr>
        <p:txBody>
          <a:bodyPr/>
          <a:lstStyle/>
          <a:p>
            <a:r>
              <a:rPr lang="cs-CZ" altLang="cs-CZ" sz="2800" dirty="0"/>
              <a:t>Klasická </a:t>
            </a:r>
            <a:r>
              <a:rPr lang="cs-CZ" altLang="cs-CZ" sz="2800" dirty="0" err="1"/>
              <a:t>antidiabetika</a:t>
            </a:r>
            <a:endParaRPr lang="cs-CZ" altLang="cs-CZ" sz="2800" dirty="0"/>
          </a:p>
        </p:txBody>
      </p:sp>
      <p:sp>
        <p:nvSpPr>
          <p:cNvPr id="115716" name="Zástupný symbol pro obsah 4"/>
          <p:cNvSpPr>
            <a:spLocks noGrp="1"/>
          </p:cNvSpPr>
          <p:nvPr>
            <p:ph sz="half" idx="2"/>
          </p:nvPr>
        </p:nvSpPr>
        <p:spPr>
          <a:xfrm>
            <a:off x="430215" y="1922128"/>
            <a:ext cx="4040188" cy="3951288"/>
          </a:xfrm>
        </p:spPr>
        <p:txBody>
          <a:bodyPr/>
          <a:lstStyle/>
          <a:p>
            <a:r>
              <a:rPr lang="cs-CZ" altLang="cs-CZ" dirty="0" err="1"/>
              <a:t>Metformin</a:t>
            </a:r>
            <a:endParaRPr lang="cs-CZ" altLang="cs-CZ" dirty="0"/>
          </a:p>
          <a:p>
            <a:r>
              <a:rPr lang="cs-CZ" altLang="cs-CZ" dirty="0" err="1"/>
              <a:t>Pioglitazon</a:t>
            </a:r>
            <a:endParaRPr lang="cs-CZ" altLang="cs-CZ" dirty="0"/>
          </a:p>
          <a:p>
            <a:r>
              <a:rPr lang="cs-CZ" altLang="cs-CZ" dirty="0">
                <a:sym typeface="Symbol" pitchFamily="18" charset="2"/>
              </a:rPr>
              <a:t>Inhibitory -glukosidázy</a:t>
            </a:r>
            <a:endParaRPr lang="cs-CZ" altLang="cs-CZ" dirty="0"/>
          </a:p>
          <a:p>
            <a:r>
              <a:rPr lang="cs-CZ" altLang="cs-CZ" dirty="0" err="1"/>
              <a:t>Glinidy</a:t>
            </a:r>
            <a:endParaRPr lang="cs-CZ" altLang="cs-CZ" dirty="0"/>
          </a:p>
          <a:p>
            <a:r>
              <a:rPr lang="cs-CZ" altLang="cs-CZ" dirty="0"/>
              <a:t>Deriváty </a:t>
            </a:r>
            <a:r>
              <a:rPr lang="cs-CZ" altLang="cs-CZ" dirty="0" err="1"/>
              <a:t>sulfonylurey</a:t>
            </a:r>
            <a:endParaRPr lang="cs-CZ" altLang="cs-CZ" dirty="0"/>
          </a:p>
          <a:p>
            <a:r>
              <a:rPr lang="cs-CZ" altLang="cs-CZ" dirty="0"/>
              <a:t>Lidské inzulíny</a:t>
            </a:r>
          </a:p>
          <a:p>
            <a:r>
              <a:rPr lang="cs-CZ" altLang="cs-CZ" dirty="0"/>
              <a:t>Inzulínová analoga 1. generace</a:t>
            </a:r>
          </a:p>
        </p:txBody>
      </p:sp>
      <p:sp>
        <p:nvSpPr>
          <p:cNvPr id="115717" name="Zástupný symbol pro text 5"/>
          <p:cNvSpPr>
            <a:spLocks noGrp="1"/>
          </p:cNvSpPr>
          <p:nvPr>
            <p:ph type="body" sz="quarter" idx="3"/>
          </p:nvPr>
        </p:nvSpPr>
        <p:spPr>
          <a:xfrm>
            <a:off x="4618040" y="1060090"/>
            <a:ext cx="4041775" cy="639763"/>
          </a:xfrm>
        </p:spPr>
        <p:txBody>
          <a:bodyPr/>
          <a:lstStyle/>
          <a:p>
            <a:r>
              <a:rPr lang="cs-CZ" altLang="cs-CZ" sz="2800" dirty="0"/>
              <a:t>Nová </a:t>
            </a:r>
            <a:r>
              <a:rPr lang="cs-CZ" altLang="cs-CZ" sz="2800" dirty="0" err="1"/>
              <a:t>antidiabetika</a:t>
            </a:r>
            <a:endParaRPr lang="cs-CZ" altLang="cs-CZ" sz="2800" dirty="0"/>
          </a:p>
        </p:txBody>
      </p:sp>
      <p:sp>
        <p:nvSpPr>
          <p:cNvPr id="115718" name="Zástupný symbol pro obsah 6"/>
          <p:cNvSpPr>
            <a:spLocks noGrp="1"/>
          </p:cNvSpPr>
          <p:nvPr>
            <p:ph sz="quarter" idx="4"/>
          </p:nvPr>
        </p:nvSpPr>
        <p:spPr>
          <a:xfrm>
            <a:off x="4618040" y="1940283"/>
            <a:ext cx="4041775" cy="3951288"/>
          </a:xfrm>
        </p:spPr>
        <p:txBody>
          <a:bodyPr/>
          <a:lstStyle/>
          <a:p>
            <a:r>
              <a:rPr lang="cs-CZ" altLang="cs-CZ" dirty="0"/>
              <a:t>DPP-4 inhibitory (</a:t>
            </a:r>
            <a:r>
              <a:rPr lang="cs-CZ" altLang="cs-CZ" dirty="0" err="1"/>
              <a:t>gliptiny</a:t>
            </a:r>
            <a:r>
              <a:rPr lang="cs-CZ" altLang="cs-CZ" dirty="0"/>
              <a:t>)</a:t>
            </a:r>
          </a:p>
          <a:p>
            <a:r>
              <a:rPr lang="cs-CZ" altLang="cs-CZ" dirty="0"/>
              <a:t>Agonisté GLP-1 receptoru</a:t>
            </a:r>
          </a:p>
          <a:p>
            <a:r>
              <a:rPr lang="cs-CZ" altLang="cs-CZ" dirty="0"/>
              <a:t>SGLT-2 inhibitory</a:t>
            </a:r>
          </a:p>
          <a:p>
            <a:r>
              <a:rPr lang="cs-CZ" altLang="cs-CZ" dirty="0"/>
              <a:t>Nová inzulínová analoga</a:t>
            </a:r>
          </a:p>
        </p:txBody>
      </p:sp>
      <p:sp>
        <p:nvSpPr>
          <p:cNvPr id="3" name="Obdélník 2"/>
          <p:cNvSpPr/>
          <p:nvPr/>
        </p:nvSpPr>
        <p:spPr>
          <a:xfrm>
            <a:off x="457201" y="3647975"/>
            <a:ext cx="3450657" cy="1309035"/>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 name="Obdélník 8"/>
          <p:cNvSpPr/>
          <p:nvPr/>
        </p:nvSpPr>
        <p:spPr>
          <a:xfrm>
            <a:off x="4672013" y="2377439"/>
            <a:ext cx="4162437" cy="1280160"/>
          </a:xfrm>
          <a:prstGeom prst="rect">
            <a:avLst/>
          </a:prstGeom>
          <a:noFill/>
          <a:ln w="508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4" name="TextovéPole 3"/>
          <p:cNvSpPr txBox="1"/>
          <p:nvPr/>
        </p:nvSpPr>
        <p:spPr>
          <a:xfrm>
            <a:off x="430215" y="5668317"/>
            <a:ext cx="3332964" cy="1200329"/>
          </a:xfrm>
          <a:prstGeom prst="rect">
            <a:avLst/>
          </a:prstGeom>
          <a:noFill/>
          <a:ln w="44450">
            <a:solidFill>
              <a:srgbClr val="FF0000"/>
            </a:solidFill>
          </a:ln>
        </p:spPr>
        <p:txBody>
          <a:bodyPr wrap="none" rtlCol="0">
            <a:spAutoFit/>
          </a:bodyPr>
          <a:lstStyle/>
          <a:p>
            <a:r>
              <a:rPr lang="cs-CZ" dirty="0"/>
              <a:t>Nežádoucí účinky </a:t>
            </a:r>
          </a:p>
          <a:p>
            <a:pPr marL="342900" indent="-342900">
              <a:buFontTx/>
              <a:buChar char="-"/>
            </a:pPr>
            <a:r>
              <a:rPr lang="cs-CZ" dirty="0"/>
              <a:t>Zvýšení hmotnosti </a:t>
            </a:r>
          </a:p>
          <a:p>
            <a:pPr marL="342900" indent="-342900">
              <a:buFontTx/>
              <a:buChar char="-"/>
            </a:pPr>
            <a:r>
              <a:rPr lang="cs-CZ" dirty="0"/>
              <a:t>Hypoglykémie</a:t>
            </a:r>
          </a:p>
        </p:txBody>
      </p:sp>
      <p:sp>
        <p:nvSpPr>
          <p:cNvPr id="5" name="TextovéPole 4"/>
          <p:cNvSpPr txBox="1"/>
          <p:nvPr/>
        </p:nvSpPr>
        <p:spPr>
          <a:xfrm>
            <a:off x="4672013" y="4572636"/>
            <a:ext cx="3378467" cy="1938992"/>
          </a:xfrm>
          <a:prstGeom prst="rect">
            <a:avLst/>
          </a:prstGeom>
          <a:noFill/>
          <a:ln w="50800">
            <a:solidFill>
              <a:srgbClr val="00B050"/>
            </a:solidFill>
          </a:ln>
        </p:spPr>
        <p:txBody>
          <a:bodyPr wrap="square" rtlCol="0">
            <a:spAutoFit/>
          </a:bodyPr>
          <a:lstStyle/>
          <a:p>
            <a:r>
              <a:rPr lang="cs-CZ" dirty="0"/>
              <a:t>Účinky nad rámec </a:t>
            </a:r>
            <a:r>
              <a:rPr lang="cs-CZ" dirty="0" err="1"/>
              <a:t>antidiabetických</a:t>
            </a:r>
            <a:r>
              <a:rPr lang="cs-CZ" dirty="0"/>
              <a:t>:</a:t>
            </a:r>
          </a:p>
          <a:p>
            <a:r>
              <a:rPr lang="cs-CZ" dirty="0">
                <a:sym typeface="Symbol" panose="05050102010706020507" pitchFamily="18" charset="2"/>
              </a:rPr>
              <a:t>TK, hmotnosti</a:t>
            </a:r>
          </a:p>
          <a:p>
            <a:r>
              <a:rPr lang="cs-CZ" dirty="0" err="1">
                <a:sym typeface="Symbol" panose="05050102010706020507" pitchFamily="18" charset="2"/>
              </a:rPr>
              <a:t>Kardioprotektivita</a:t>
            </a:r>
            <a:endParaRPr lang="cs-CZ" dirty="0">
              <a:sym typeface="Symbol" panose="05050102010706020507" pitchFamily="18" charset="2"/>
            </a:endParaRPr>
          </a:p>
          <a:p>
            <a:r>
              <a:rPr lang="cs-CZ" dirty="0" err="1">
                <a:sym typeface="Symbol" panose="05050102010706020507" pitchFamily="18" charset="2"/>
              </a:rPr>
              <a:t>nefroprotektivita</a:t>
            </a:r>
            <a:endParaRPr lang="cs-CZ" dirty="0"/>
          </a:p>
        </p:txBody>
      </p:sp>
      <p:cxnSp>
        <p:nvCxnSpPr>
          <p:cNvPr id="7" name="Přímá spojnice se šipkou 6"/>
          <p:cNvCxnSpPr>
            <a:stCxn id="3" idx="2"/>
          </p:cNvCxnSpPr>
          <p:nvPr/>
        </p:nvCxnSpPr>
        <p:spPr>
          <a:xfrm flipH="1">
            <a:off x="2182529" y="4957010"/>
            <a:ext cx="1" cy="711307"/>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Přímá spojnice se šipkou 13"/>
          <p:cNvCxnSpPr/>
          <p:nvPr/>
        </p:nvCxnSpPr>
        <p:spPr>
          <a:xfrm flipH="1">
            <a:off x="5784783" y="3675244"/>
            <a:ext cx="5622" cy="897392"/>
          </a:xfrm>
          <a:prstGeom prst="straightConnector1">
            <a:avLst/>
          </a:prstGeom>
          <a:ln w="508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967558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arn(inVertical)">
                                      <p:cBhvr>
                                        <p:cTn id="10" dur="500"/>
                                        <p:tgtEl>
                                          <p:spTgt spid="4"/>
                                        </p:tgtEl>
                                      </p:cBhvr>
                                    </p:animEffect>
                                  </p:childTnLst>
                                </p:cTn>
                              </p:par>
                              <p:par>
                                <p:cTn id="11" presetID="16" presetClass="entr" presetSubtype="21"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barn(inVertical)">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arn(inVertical)">
                                      <p:cBhvr>
                                        <p:cTn id="18" dur="500"/>
                                        <p:tgtEl>
                                          <p:spTgt spid="9"/>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barn(inVertical)">
                                      <p:cBhvr>
                                        <p:cTn id="21" dur="500"/>
                                        <p:tgtEl>
                                          <p:spTgt spid="5"/>
                                        </p:tgtEl>
                                      </p:cBhvr>
                                    </p:animEffect>
                                  </p:childTnLst>
                                </p:cTn>
                              </p:par>
                              <p:par>
                                <p:cTn id="22" presetID="16" presetClass="entr" presetSubtype="21" fill="hold"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barn(inVertical)">
                                      <p:cBhvr>
                                        <p:cTn id="2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4" grpId="0" animBg="1"/>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82213" y="0"/>
            <a:ext cx="8816763" cy="672000"/>
          </a:xfrm>
        </p:spPr>
        <p:txBody>
          <a:bodyPr/>
          <a:lstStyle/>
          <a:p>
            <a:r>
              <a:rPr lang="cs-CZ" sz="2800" noProof="0" dirty="0">
                <a:solidFill>
                  <a:schemeClr val="bg2">
                    <a:lumMod val="10000"/>
                  </a:schemeClr>
                </a:solidFill>
              </a:rPr>
              <a:t>Starší </a:t>
            </a:r>
            <a:r>
              <a:rPr lang="cs-CZ" sz="2800" noProof="0" dirty="0" err="1">
                <a:solidFill>
                  <a:schemeClr val="bg2">
                    <a:lumMod val="10000"/>
                  </a:schemeClr>
                </a:solidFill>
              </a:rPr>
              <a:t>antidiabetika</a:t>
            </a:r>
            <a:r>
              <a:rPr lang="cs-CZ" sz="2800" noProof="0" dirty="0">
                <a:solidFill>
                  <a:schemeClr val="bg2">
                    <a:lumMod val="10000"/>
                  </a:schemeClr>
                </a:solidFill>
              </a:rPr>
              <a:t> (inzulín, deriváty SU) zlepšují </a:t>
            </a:r>
            <a:r>
              <a:rPr lang="cs-CZ" sz="2800" noProof="0" dirty="0" err="1">
                <a:solidFill>
                  <a:schemeClr val="bg2">
                    <a:lumMod val="10000"/>
                  </a:schemeClr>
                </a:solidFill>
              </a:rPr>
              <a:t>mikrovaskulární</a:t>
            </a:r>
            <a:r>
              <a:rPr lang="cs-CZ" sz="2800" noProof="0" dirty="0">
                <a:solidFill>
                  <a:schemeClr val="bg2">
                    <a:lumMod val="10000"/>
                  </a:schemeClr>
                </a:solidFill>
              </a:rPr>
              <a:t> komplikace, ale jejich vliv na KV komplikace je spíše neutrální</a:t>
            </a:r>
            <a:endParaRPr lang="en-US" sz="2800" noProof="0" dirty="0">
              <a:solidFill>
                <a:schemeClr val="bg2">
                  <a:lumMod val="10000"/>
                </a:schemeClr>
              </a:solidFill>
            </a:endParaRPr>
          </a:p>
        </p:txBody>
      </p:sp>
      <p:sp>
        <p:nvSpPr>
          <p:cNvPr id="4" name="Text Placeholder 3"/>
          <p:cNvSpPr>
            <a:spLocks noGrp="1"/>
          </p:cNvSpPr>
          <p:nvPr>
            <p:ph type="body" sz="quarter" idx="17"/>
          </p:nvPr>
        </p:nvSpPr>
        <p:spPr>
          <a:xfrm>
            <a:off x="221953" y="6388103"/>
            <a:ext cx="8813192" cy="469900"/>
          </a:xfrm>
        </p:spPr>
        <p:txBody>
          <a:bodyPr/>
          <a:lstStyle/>
          <a:p>
            <a:r>
              <a:rPr lang="en-US" noProof="0" dirty="0"/>
              <a:t>CI, confidence interval; CV, cardiovascular; GLIM, glimepiride; HR, hazard ratio; MACE, major adverse cardiovascular event; </a:t>
            </a:r>
            <a:r>
              <a:rPr lang="en-US" noProof="0" dirty="0" err="1"/>
              <a:t>hHF</a:t>
            </a:r>
            <a:r>
              <a:rPr lang="en-US" noProof="0" dirty="0"/>
              <a:t>, hospitalization for heart failure; </a:t>
            </a:r>
            <a:br>
              <a:rPr lang="en-US" noProof="0" dirty="0"/>
            </a:br>
            <a:r>
              <a:rPr lang="en-US" noProof="0" dirty="0"/>
              <a:t>HF, heart failure; </a:t>
            </a:r>
            <a:r>
              <a:rPr lang="en-US" noProof="0" dirty="0" err="1"/>
              <a:t>hUA</a:t>
            </a:r>
            <a:r>
              <a:rPr lang="en-US" noProof="0" dirty="0"/>
              <a:t>, hospitalization for unstable angina; MET, metformin; NF, non-fatal; PIO, pioglitazone; ROSI, rosiglitazone; SU, sulfonylurea; TZD, thiazolidinedione</a:t>
            </a:r>
          </a:p>
          <a:p>
            <a:r>
              <a:rPr lang="en-US" dirty="0"/>
              <a:t>1. Holman RR, et al. </a:t>
            </a:r>
            <a:r>
              <a:rPr lang="en-US" i="1" dirty="0"/>
              <a:t>Lancet Diabetes </a:t>
            </a:r>
            <a:r>
              <a:rPr lang="en-US" i="1" dirty="0" err="1"/>
              <a:t>Endocrinol</a:t>
            </a:r>
            <a:r>
              <a:rPr lang="en-US" i="1" dirty="0"/>
              <a:t> </a:t>
            </a:r>
            <a:r>
              <a:rPr lang="en-US" dirty="0"/>
              <a:t>2017; </a:t>
            </a:r>
            <a:r>
              <a:rPr lang="en-US" dirty="0" err="1"/>
              <a:t>doi</a:t>
            </a:r>
            <a:r>
              <a:rPr lang="en-US" dirty="0"/>
              <a:t>: 10.1016/S2213-8587(17)30318-2; 2. Vaccaro O, et al. </a:t>
            </a:r>
            <a:r>
              <a:rPr lang="en-US" i="1" dirty="0"/>
              <a:t>Lancet Diabetes </a:t>
            </a:r>
            <a:r>
              <a:rPr lang="en-US" i="1" dirty="0" err="1"/>
              <a:t>Endocrinol</a:t>
            </a:r>
            <a:r>
              <a:rPr lang="en-US" dirty="0"/>
              <a:t> 2017;5:887–897;</a:t>
            </a:r>
            <a:br>
              <a:rPr lang="en-US" dirty="0"/>
            </a:br>
            <a:r>
              <a:rPr lang="en-US" noProof="0" dirty="0"/>
              <a:t>3. ADVANCE Collaborative Group. </a:t>
            </a:r>
            <a:r>
              <a:rPr lang="en-US" i="1" noProof="0" dirty="0"/>
              <a:t>N Engl J Med</a:t>
            </a:r>
            <a:r>
              <a:rPr lang="en-US" noProof="0" dirty="0"/>
              <a:t> 2008;358:2560–2572; 4. The ACCORD Study Group. </a:t>
            </a:r>
            <a:r>
              <a:rPr lang="en-US" i="1" noProof="0" dirty="0"/>
              <a:t>N Engl J Med</a:t>
            </a:r>
            <a:r>
              <a:rPr lang="en-US" noProof="0" dirty="0"/>
              <a:t> 2008;358:2545–2559;</a:t>
            </a:r>
            <a:br>
              <a:rPr lang="en-US" noProof="0" dirty="0"/>
            </a:br>
            <a:r>
              <a:rPr lang="en-US" dirty="0"/>
              <a:t>5. Duckworth W, et al. </a:t>
            </a:r>
            <a:r>
              <a:rPr lang="en-US" i="1" dirty="0"/>
              <a:t>N Engl J Med</a:t>
            </a:r>
            <a:r>
              <a:rPr lang="en-US" dirty="0"/>
              <a:t> 2009;360:129–139; 6</a:t>
            </a:r>
            <a:r>
              <a:rPr lang="en-US" noProof="0" dirty="0"/>
              <a:t>. </a:t>
            </a:r>
            <a:r>
              <a:rPr lang="en-US" noProof="0" dirty="0" err="1"/>
              <a:t>Marso</a:t>
            </a:r>
            <a:r>
              <a:rPr lang="en-US" noProof="0" dirty="0"/>
              <a:t> SP, et al. </a:t>
            </a:r>
            <a:r>
              <a:rPr lang="en-US" i="1" noProof="0" dirty="0"/>
              <a:t>N Engl J Med </a:t>
            </a:r>
            <a:r>
              <a:rPr lang="en-US" noProof="0" dirty="0"/>
              <a:t>2017;377:723–732</a:t>
            </a:r>
          </a:p>
        </p:txBody>
      </p:sp>
      <p:sp>
        <p:nvSpPr>
          <p:cNvPr id="6" name="Rectangle 5"/>
          <p:cNvSpPr/>
          <p:nvPr/>
        </p:nvSpPr>
        <p:spPr>
          <a:xfrm>
            <a:off x="3620593" y="1536246"/>
            <a:ext cx="355931" cy="207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r" defTabSz="685800" fontAlgn="auto">
              <a:spcBef>
                <a:spcPts val="0"/>
              </a:spcBef>
              <a:spcAft>
                <a:spcPts val="0"/>
              </a:spcAft>
              <a:defRPr/>
            </a:pPr>
            <a:r>
              <a:rPr lang="en-US" sz="1350" dirty="0">
                <a:solidFill>
                  <a:srgbClr val="000000"/>
                </a:solidFill>
              </a:rPr>
              <a:t>Trial</a:t>
            </a:r>
          </a:p>
        </p:txBody>
      </p:sp>
      <p:sp>
        <p:nvSpPr>
          <p:cNvPr id="7" name="Rectangle 6"/>
          <p:cNvSpPr/>
          <p:nvPr/>
        </p:nvSpPr>
        <p:spPr>
          <a:xfrm>
            <a:off x="7810786" y="1536246"/>
            <a:ext cx="981038" cy="207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defTabSz="685800" fontAlgn="auto">
              <a:spcBef>
                <a:spcPts val="0"/>
              </a:spcBef>
              <a:spcAft>
                <a:spcPts val="0"/>
              </a:spcAft>
              <a:defRPr/>
            </a:pPr>
            <a:r>
              <a:rPr lang="en-US" sz="1350" dirty="0">
                <a:solidFill>
                  <a:srgbClr val="000000"/>
                </a:solidFill>
              </a:rPr>
              <a:t>HR (95% CI)</a:t>
            </a:r>
          </a:p>
        </p:txBody>
      </p:sp>
      <p:sp>
        <p:nvSpPr>
          <p:cNvPr id="9" name="Rectangle 8"/>
          <p:cNvSpPr/>
          <p:nvPr/>
        </p:nvSpPr>
        <p:spPr>
          <a:xfrm>
            <a:off x="1445383" y="4209863"/>
            <a:ext cx="2531142" cy="5078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r" defTabSz="685800" fontAlgn="auto">
              <a:spcBef>
                <a:spcPts val="0"/>
              </a:spcBef>
              <a:spcAft>
                <a:spcPts val="0"/>
              </a:spcAft>
              <a:defRPr/>
            </a:pPr>
            <a:r>
              <a:rPr lang="en-US" sz="1200" b="0" dirty="0">
                <a:solidFill>
                  <a:srgbClr val="000000"/>
                </a:solidFill>
              </a:rPr>
              <a:t>VADT (N=1791)</a:t>
            </a:r>
            <a:r>
              <a:rPr lang="en-US" sz="1200" b="0" baseline="30000" dirty="0">
                <a:solidFill>
                  <a:srgbClr val="000000"/>
                </a:solidFill>
              </a:rPr>
              <a:t>5</a:t>
            </a:r>
            <a:br>
              <a:rPr lang="en-US" sz="1200" b="0" baseline="30000" dirty="0">
                <a:solidFill>
                  <a:srgbClr val="000000"/>
                </a:solidFill>
              </a:rPr>
            </a:br>
            <a:r>
              <a:rPr lang="en-US" sz="1050" dirty="0">
                <a:solidFill>
                  <a:srgbClr val="000000"/>
                </a:solidFill>
              </a:rPr>
              <a:t>HbA</a:t>
            </a:r>
            <a:r>
              <a:rPr lang="en-US" sz="1050" baseline="-25000" dirty="0">
                <a:solidFill>
                  <a:srgbClr val="000000"/>
                </a:solidFill>
              </a:rPr>
              <a:t>1c</a:t>
            </a:r>
            <a:r>
              <a:rPr lang="en-US" sz="1050" dirty="0">
                <a:solidFill>
                  <a:srgbClr val="000000"/>
                </a:solidFill>
              </a:rPr>
              <a:t> –1.5% versus the standard group</a:t>
            </a:r>
            <a:br>
              <a:rPr lang="en-US" sz="1050" dirty="0">
                <a:solidFill>
                  <a:srgbClr val="000000"/>
                </a:solidFill>
              </a:rPr>
            </a:br>
            <a:r>
              <a:rPr lang="en-US" sz="1050" dirty="0">
                <a:solidFill>
                  <a:srgbClr val="000000"/>
                </a:solidFill>
              </a:rPr>
              <a:t>(MET or GLIM, ROSI, insulin)</a:t>
            </a:r>
          </a:p>
        </p:txBody>
      </p:sp>
      <p:sp>
        <p:nvSpPr>
          <p:cNvPr id="11" name="Rectangle 10"/>
          <p:cNvSpPr/>
          <p:nvPr/>
        </p:nvSpPr>
        <p:spPr>
          <a:xfrm>
            <a:off x="2599547" y="4902850"/>
            <a:ext cx="1376980" cy="346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r" defTabSz="685800" fontAlgn="auto">
              <a:spcBef>
                <a:spcPts val="0"/>
              </a:spcBef>
              <a:spcAft>
                <a:spcPts val="0"/>
              </a:spcAft>
              <a:defRPr/>
            </a:pPr>
            <a:r>
              <a:rPr lang="en-US" sz="1200" b="0" dirty="0">
                <a:solidFill>
                  <a:srgbClr val="000000"/>
                </a:solidFill>
              </a:rPr>
              <a:t>DEVOTE (N=7367)</a:t>
            </a:r>
            <a:r>
              <a:rPr lang="en-US" sz="1200" b="0" baseline="30000" dirty="0">
                <a:solidFill>
                  <a:srgbClr val="000000"/>
                </a:solidFill>
              </a:rPr>
              <a:t>6</a:t>
            </a:r>
            <a:br>
              <a:rPr lang="en-US" sz="1200" b="0" dirty="0">
                <a:solidFill>
                  <a:srgbClr val="000000"/>
                </a:solidFill>
              </a:rPr>
            </a:br>
            <a:r>
              <a:rPr lang="en-US" sz="1050" dirty="0" err="1">
                <a:solidFill>
                  <a:srgbClr val="000000"/>
                </a:solidFill>
              </a:rPr>
              <a:t>IGlar</a:t>
            </a:r>
            <a:r>
              <a:rPr lang="en-US" sz="1050" dirty="0">
                <a:solidFill>
                  <a:srgbClr val="000000"/>
                </a:solidFill>
              </a:rPr>
              <a:t> versus </a:t>
            </a:r>
            <a:r>
              <a:rPr lang="en-US" sz="1050" dirty="0" err="1">
                <a:solidFill>
                  <a:srgbClr val="000000"/>
                </a:solidFill>
              </a:rPr>
              <a:t>IDeg</a:t>
            </a:r>
            <a:endParaRPr lang="en-US" sz="1050" dirty="0">
              <a:solidFill>
                <a:srgbClr val="000000"/>
              </a:solidFill>
            </a:endParaRPr>
          </a:p>
        </p:txBody>
      </p:sp>
      <p:sp>
        <p:nvSpPr>
          <p:cNvPr id="12" name="Rectangle 11"/>
          <p:cNvSpPr/>
          <p:nvPr/>
        </p:nvSpPr>
        <p:spPr>
          <a:xfrm>
            <a:off x="182213" y="3673926"/>
            <a:ext cx="3794308" cy="346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r" defTabSz="685800" fontAlgn="auto">
              <a:spcBef>
                <a:spcPts val="0"/>
              </a:spcBef>
              <a:spcAft>
                <a:spcPts val="0"/>
              </a:spcAft>
              <a:defRPr/>
            </a:pPr>
            <a:r>
              <a:rPr lang="en-US" sz="1200" b="0" dirty="0">
                <a:solidFill>
                  <a:srgbClr val="000000"/>
                </a:solidFill>
              </a:rPr>
              <a:t>ACCORD (N=10,251)</a:t>
            </a:r>
            <a:r>
              <a:rPr lang="en-US" sz="1200" b="0" baseline="30000" dirty="0">
                <a:solidFill>
                  <a:srgbClr val="000000"/>
                </a:solidFill>
              </a:rPr>
              <a:t>4</a:t>
            </a:r>
            <a:br>
              <a:rPr lang="en-US" sz="1200" b="0" dirty="0">
                <a:solidFill>
                  <a:srgbClr val="000000"/>
                </a:solidFill>
              </a:rPr>
            </a:br>
            <a:r>
              <a:rPr lang="en-US" sz="1050" dirty="0">
                <a:solidFill>
                  <a:srgbClr val="000000"/>
                </a:solidFill>
              </a:rPr>
              <a:t>HbA</a:t>
            </a:r>
            <a:r>
              <a:rPr lang="en-US" sz="1050" baseline="-25000" dirty="0">
                <a:solidFill>
                  <a:srgbClr val="000000"/>
                </a:solidFill>
              </a:rPr>
              <a:t>1c </a:t>
            </a:r>
            <a:r>
              <a:rPr lang="en-US" sz="1050" dirty="0">
                <a:solidFill>
                  <a:srgbClr val="000000"/>
                </a:solidFill>
              </a:rPr>
              <a:t>&lt;6.0% versus HbA</a:t>
            </a:r>
            <a:r>
              <a:rPr lang="en-US" sz="1050" baseline="-25000" dirty="0">
                <a:solidFill>
                  <a:srgbClr val="000000"/>
                </a:solidFill>
              </a:rPr>
              <a:t>1c</a:t>
            </a:r>
            <a:r>
              <a:rPr lang="en-US" sz="1050" dirty="0">
                <a:solidFill>
                  <a:srgbClr val="000000"/>
                </a:solidFill>
              </a:rPr>
              <a:t> 7.0–7.9% (MET, SU, TZD, insulin)</a:t>
            </a:r>
          </a:p>
        </p:txBody>
      </p:sp>
      <p:sp>
        <p:nvSpPr>
          <p:cNvPr id="8" name="Rectangle 7"/>
          <p:cNvSpPr/>
          <p:nvPr/>
        </p:nvSpPr>
        <p:spPr>
          <a:xfrm>
            <a:off x="29915" y="3115550"/>
            <a:ext cx="3978653" cy="346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r" defTabSz="685800" fontAlgn="auto">
              <a:spcBef>
                <a:spcPts val="0"/>
              </a:spcBef>
              <a:spcAft>
                <a:spcPts val="0"/>
              </a:spcAft>
              <a:defRPr/>
            </a:pPr>
            <a:r>
              <a:rPr lang="en-US" sz="1200" b="0" dirty="0">
                <a:solidFill>
                  <a:srgbClr val="000000"/>
                </a:solidFill>
              </a:rPr>
              <a:t>ADVANCE (N=11,140)</a:t>
            </a:r>
            <a:r>
              <a:rPr lang="en-US" sz="1200" b="0" baseline="30000" dirty="0">
                <a:solidFill>
                  <a:srgbClr val="000000"/>
                </a:solidFill>
              </a:rPr>
              <a:t>3</a:t>
            </a:r>
            <a:br>
              <a:rPr lang="en-US" sz="1200" b="0" baseline="30000" dirty="0">
                <a:solidFill>
                  <a:srgbClr val="000000"/>
                </a:solidFill>
              </a:rPr>
            </a:br>
            <a:r>
              <a:rPr lang="en-US" sz="1050" dirty="0">
                <a:solidFill>
                  <a:srgbClr val="000000"/>
                </a:solidFill>
              </a:rPr>
              <a:t>HbA</a:t>
            </a:r>
            <a:r>
              <a:rPr lang="en-US" sz="1050" baseline="-25000" dirty="0">
                <a:solidFill>
                  <a:srgbClr val="000000"/>
                </a:solidFill>
              </a:rPr>
              <a:t>1c </a:t>
            </a:r>
            <a:r>
              <a:rPr lang="en-US" sz="1050" dirty="0">
                <a:solidFill>
                  <a:srgbClr val="000000"/>
                </a:solidFill>
              </a:rPr>
              <a:t>≤6.5% versus HbA</a:t>
            </a:r>
            <a:r>
              <a:rPr lang="en-US" sz="1050" baseline="-25000" dirty="0">
                <a:solidFill>
                  <a:srgbClr val="000000"/>
                </a:solidFill>
              </a:rPr>
              <a:t>1c</a:t>
            </a:r>
            <a:r>
              <a:rPr lang="en-US" sz="1050" dirty="0">
                <a:solidFill>
                  <a:srgbClr val="000000"/>
                </a:solidFill>
              </a:rPr>
              <a:t> &gt;6.5% (gliclazide + any other agent)</a:t>
            </a:r>
          </a:p>
        </p:txBody>
      </p:sp>
      <p:sp>
        <p:nvSpPr>
          <p:cNvPr id="14" name="Rectangle 13"/>
          <p:cNvSpPr/>
          <p:nvPr/>
        </p:nvSpPr>
        <p:spPr>
          <a:xfrm>
            <a:off x="7740508" y="3258669"/>
            <a:ext cx="112691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ctr" defTabSz="685800" fontAlgn="auto">
              <a:spcBef>
                <a:spcPts val="0"/>
              </a:spcBef>
              <a:spcAft>
                <a:spcPts val="0"/>
              </a:spcAft>
              <a:defRPr/>
            </a:pPr>
            <a:r>
              <a:rPr lang="en-US" sz="1200" b="0" dirty="0">
                <a:solidFill>
                  <a:srgbClr val="000000"/>
                </a:solidFill>
              </a:rPr>
              <a:t>0.94 (0.84, 1.06)</a:t>
            </a:r>
          </a:p>
        </p:txBody>
      </p:sp>
      <p:sp>
        <p:nvSpPr>
          <p:cNvPr id="15" name="Rectangle 14"/>
          <p:cNvSpPr/>
          <p:nvPr/>
        </p:nvSpPr>
        <p:spPr>
          <a:xfrm>
            <a:off x="7737856" y="4376533"/>
            <a:ext cx="112691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ctr" defTabSz="685800" fontAlgn="auto">
              <a:spcBef>
                <a:spcPts val="0"/>
              </a:spcBef>
              <a:spcAft>
                <a:spcPts val="0"/>
              </a:spcAft>
              <a:defRPr/>
            </a:pPr>
            <a:r>
              <a:rPr lang="en-US" sz="1200" b="0" dirty="0">
                <a:solidFill>
                  <a:srgbClr val="000000"/>
                </a:solidFill>
              </a:rPr>
              <a:t>0.88 (0.74, 1.05)</a:t>
            </a:r>
          </a:p>
        </p:txBody>
      </p:sp>
      <p:sp>
        <p:nvSpPr>
          <p:cNvPr id="16" name="Rectangle 15"/>
          <p:cNvSpPr/>
          <p:nvPr/>
        </p:nvSpPr>
        <p:spPr>
          <a:xfrm>
            <a:off x="7737856" y="3810945"/>
            <a:ext cx="112691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ctr" defTabSz="685800" fontAlgn="auto">
              <a:spcBef>
                <a:spcPts val="0"/>
              </a:spcBef>
              <a:spcAft>
                <a:spcPts val="0"/>
              </a:spcAft>
              <a:defRPr/>
            </a:pPr>
            <a:r>
              <a:rPr lang="en-US" sz="1200" b="0" dirty="0">
                <a:solidFill>
                  <a:srgbClr val="000000"/>
                </a:solidFill>
              </a:rPr>
              <a:t>0.90 (0.78, 1.04)</a:t>
            </a:r>
          </a:p>
        </p:txBody>
      </p:sp>
      <p:sp>
        <p:nvSpPr>
          <p:cNvPr id="10" name="Rectangle 9"/>
          <p:cNvSpPr/>
          <p:nvPr/>
        </p:nvSpPr>
        <p:spPr>
          <a:xfrm>
            <a:off x="1892616" y="2509408"/>
            <a:ext cx="2083904" cy="346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r" defTabSz="685800" fontAlgn="auto">
              <a:spcBef>
                <a:spcPts val="0"/>
              </a:spcBef>
              <a:spcAft>
                <a:spcPts val="0"/>
              </a:spcAft>
              <a:defRPr/>
            </a:pPr>
            <a:r>
              <a:rPr lang="en-US" sz="1200" b="0" dirty="0">
                <a:solidFill>
                  <a:srgbClr val="000000"/>
                </a:solidFill>
              </a:rPr>
              <a:t>TOSCA.IT (N=3,028)</a:t>
            </a:r>
            <a:r>
              <a:rPr lang="en-US" sz="1200" b="0" baseline="30000" dirty="0">
                <a:solidFill>
                  <a:srgbClr val="000000"/>
                </a:solidFill>
              </a:rPr>
              <a:t>2</a:t>
            </a:r>
            <a:endParaRPr lang="en-US" sz="1200" b="0" dirty="0">
              <a:solidFill>
                <a:srgbClr val="000000"/>
              </a:solidFill>
            </a:endParaRPr>
          </a:p>
          <a:p>
            <a:pPr algn="r" defTabSz="685800" fontAlgn="auto">
              <a:spcBef>
                <a:spcPts val="0"/>
              </a:spcBef>
              <a:spcAft>
                <a:spcPts val="0"/>
              </a:spcAft>
              <a:defRPr/>
            </a:pPr>
            <a:r>
              <a:rPr lang="en-US" sz="1050" dirty="0">
                <a:solidFill>
                  <a:srgbClr val="000000"/>
                </a:solidFill>
              </a:rPr>
              <a:t>PIO versus SU as add-on to MET</a:t>
            </a:r>
          </a:p>
        </p:txBody>
      </p:sp>
      <p:sp>
        <p:nvSpPr>
          <p:cNvPr id="17" name="Rectangle 16"/>
          <p:cNvSpPr/>
          <p:nvPr/>
        </p:nvSpPr>
        <p:spPr>
          <a:xfrm>
            <a:off x="7737856" y="2604477"/>
            <a:ext cx="112691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ctr" defTabSz="685800" fontAlgn="auto">
              <a:spcBef>
                <a:spcPts val="0"/>
              </a:spcBef>
              <a:spcAft>
                <a:spcPts val="0"/>
              </a:spcAft>
              <a:defRPr/>
            </a:pPr>
            <a:r>
              <a:rPr lang="en-US" sz="1200" b="0" dirty="0">
                <a:solidFill>
                  <a:srgbClr val="000000"/>
                </a:solidFill>
              </a:rPr>
              <a:t>0.96 (0.74, 1.26)</a:t>
            </a:r>
          </a:p>
        </p:txBody>
      </p:sp>
      <p:sp>
        <p:nvSpPr>
          <p:cNvPr id="19" name="Rectangle 18"/>
          <p:cNvSpPr/>
          <p:nvPr/>
        </p:nvSpPr>
        <p:spPr>
          <a:xfrm>
            <a:off x="7737856" y="5008856"/>
            <a:ext cx="1126912"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ctr" defTabSz="685800" fontAlgn="auto">
              <a:spcBef>
                <a:spcPts val="0"/>
              </a:spcBef>
              <a:spcAft>
                <a:spcPts val="0"/>
              </a:spcAft>
              <a:defRPr/>
            </a:pPr>
            <a:r>
              <a:rPr lang="en-US" sz="1200" b="0" dirty="0">
                <a:solidFill>
                  <a:srgbClr val="000000"/>
                </a:solidFill>
              </a:rPr>
              <a:t>0.91 (0.78, 1.06)</a:t>
            </a:r>
          </a:p>
        </p:txBody>
      </p:sp>
      <p:graphicFrame>
        <p:nvGraphicFramePr>
          <p:cNvPr id="20" name="Chart 19"/>
          <p:cNvGraphicFramePr/>
          <p:nvPr>
            <p:extLst/>
          </p:nvPr>
        </p:nvGraphicFramePr>
        <p:xfrm>
          <a:off x="6403760" y="1671641"/>
          <a:ext cx="1407035" cy="4026667"/>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tangle 17">
            <a:extLst>
              <a:ext uri="{FF2B5EF4-FFF2-40B4-BE49-F238E27FC236}">
                <a16:creationId xmlns:a16="http://schemas.microsoft.com/office/drawing/2014/main" id="{97D641E7-5A0C-4494-9B3D-C905A7CB971C}"/>
              </a:ext>
            </a:extLst>
          </p:cNvPr>
          <p:cNvSpPr/>
          <p:nvPr/>
        </p:nvSpPr>
        <p:spPr>
          <a:xfrm>
            <a:off x="802574" y="1938895"/>
            <a:ext cx="3222036" cy="3462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r" defTabSz="685800" fontAlgn="auto">
              <a:spcBef>
                <a:spcPts val="0"/>
              </a:spcBef>
              <a:spcAft>
                <a:spcPts val="0"/>
              </a:spcAft>
              <a:defRPr/>
            </a:pPr>
            <a:r>
              <a:rPr lang="en-US" sz="1200" b="0" dirty="0">
                <a:solidFill>
                  <a:srgbClr val="000000"/>
                </a:solidFill>
              </a:rPr>
              <a:t>ACE (N=6522)</a:t>
            </a:r>
            <a:r>
              <a:rPr lang="en-US" sz="1200" b="0" baseline="30000" dirty="0">
                <a:solidFill>
                  <a:srgbClr val="000000"/>
                </a:solidFill>
              </a:rPr>
              <a:t>1</a:t>
            </a:r>
            <a:br>
              <a:rPr lang="en-US" sz="1200" b="0" dirty="0">
                <a:solidFill>
                  <a:srgbClr val="000000"/>
                </a:solidFill>
              </a:rPr>
            </a:br>
            <a:r>
              <a:rPr lang="en-US" sz="1050" dirty="0">
                <a:solidFill>
                  <a:srgbClr val="000000"/>
                </a:solidFill>
              </a:rPr>
              <a:t>Acarbose versus placebo + CV prevention therapy</a:t>
            </a:r>
          </a:p>
        </p:txBody>
      </p:sp>
      <p:sp>
        <p:nvSpPr>
          <p:cNvPr id="22" name="Rectangle 21">
            <a:extLst>
              <a:ext uri="{FF2B5EF4-FFF2-40B4-BE49-F238E27FC236}">
                <a16:creationId xmlns:a16="http://schemas.microsoft.com/office/drawing/2014/main" id="{21801E93-9484-469D-BFEB-883E3985192A}"/>
              </a:ext>
            </a:extLst>
          </p:cNvPr>
          <p:cNvSpPr/>
          <p:nvPr/>
        </p:nvSpPr>
        <p:spPr>
          <a:xfrm>
            <a:off x="7743560" y="2010844"/>
            <a:ext cx="1115498"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ctr" defTabSz="685800" fontAlgn="auto">
              <a:spcBef>
                <a:spcPts val="0"/>
              </a:spcBef>
              <a:spcAft>
                <a:spcPts val="0"/>
              </a:spcAft>
              <a:defRPr/>
            </a:pPr>
            <a:r>
              <a:rPr lang="en-US" sz="1200" b="0" dirty="0">
                <a:solidFill>
                  <a:srgbClr val="000000"/>
                </a:solidFill>
              </a:rPr>
              <a:t>0.98 (0.86, 1.11)</a:t>
            </a:r>
          </a:p>
        </p:txBody>
      </p:sp>
      <p:sp>
        <p:nvSpPr>
          <p:cNvPr id="23" name="Rectangle 22">
            <a:extLst>
              <a:ext uri="{FF2B5EF4-FFF2-40B4-BE49-F238E27FC236}">
                <a16:creationId xmlns:a16="http://schemas.microsoft.com/office/drawing/2014/main" id="{97D641E7-5A0C-4494-9B3D-C905A7CB971C}"/>
              </a:ext>
            </a:extLst>
          </p:cNvPr>
          <p:cNvSpPr/>
          <p:nvPr/>
        </p:nvSpPr>
        <p:spPr>
          <a:xfrm>
            <a:off x="4194554" y="1938797"/>
            <a:ext cx="2182146" cy="3231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defTabSz="685800" fontAlgn="auto">
              <a:spcBef>
                <a:spcPts val="0"/>
              </a:spcBef>
              <a:spcAft>
                <a:spcPts val="0"/>
              </a:spcAft>
              <a:defRPr/>
            </a:pPr>
            <a:r>
              <a:rPr lang="en-US" sz="1050" b="0" dirty="0">
                <a:solidFill>
                  <a:srgbClr val="000000"/>
                </a:solidFill>
              </a:rPr>
              <a:t>5P-MACE: CV death, NF-MI, </a:t>
            </a:r>
            <a:br>
              <a:rPr lang="en-US" sz="1050" b="0" dirty="0">
                <a:solidFill>
                  <a:srgbClr val="000000"/>
                </a:solidFill>
              </a:rPr>
            </a:br>
            <a:r>
              <a:rPr lang="en-US" sz="1050" b="0" dirty="0">
                <a:solidFill>
                  <a:srgbClr val="000000"/>
                </a:solidFill>
              </a:rPr>
              <a:t>NF-stroke, </a:t>
            </a:r>
            <a:r>
              <a:rPr lang="en-US" sz="1050" b="0" dirty="0" err="1">
                <a:solidFill>
                  <a:srgbClr val="000000"/>
                </a:solidFill>
              </a:rPr>
              <a:t>hUA</a:t>
            </a:r>
            <a:r>
              <a:rPr lang="en-US" sz="1050" b="0" dirty="0">
                <a:solidFill>
                  <a:srgbClr val="000000"/>
                </a:solidFill>
              </a:rPr>
              <a:t>, </a:t>
            </a:r>
            <a:r>
              <a:rPr lang="en-US" sz="1050" b="0" dirty="0" err="1">
                <a:solidFill>
                  <a:srgbClr val="000000"/>
                </a:solidFill>
              </a:rPr>
              <a:t>hHF</a:t>
            </a:r>
            <a:endParaRPr lang="en-US" sz="900" dirty="0">
              <a:solidFill>
                <a:srgbClr val="000000"/>
              </a:solidFill>
            </a:endParaRPr>
          </a:p>
        </p:txBody>
      </p:sp>
      <p:sp>
        <p:nvSpPr>
          <p:cNvPr id="24" name="Rectangle 23"/>
          <p:cNvSpPr/>
          <p:nvPr/>
        </p:nvSpPr>
        <p:spPr>
          <a:xfrm>
            <a:off x="4567806" y="1534318"/>
            <a:ext cx="750205" cy="2077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spAutoFit/>
          </a:bodyPr>
          <a:lstStyle/>
          <a:p>
            <a:pPr algn="r" defTabSz="685800" fontAlgn="auto">
              <a:spcBef>
                <a:spcPts val="0"/>
              </a:spcBef>
              <a:spcAft>
                <a:spcPts val="0"/>
              </a:spcAft>
              <a:defRPr/>
            </a:pPr>
            <a:r>
              <a:rPr lang="en-US" sz="1350" dirty="0">
                <a:solidFill>
                  <a:srgbClr val="000000"/>
                </a:solidFill>
              </a:rPr>
              <a:t>Outcome</a:t>
            </a:r>
          </a:p>
        </p:txBody>
      </p:sp>
      <p:sp>
        <p:nvSpPr>
          <p:cNvPr id="26" name="Rectangle 25">
            <a:extLst>
              <a:ext uri="{FF2B5EF4-FFF2-40B4-BE49-F238E27FC236}">
                <a16:creationId xmlns:a16="http://schemas.microsoft.com/office/drawing/2014/main" id="{97D641E7-5A0C-4494-9B3D-C905A7CB971C}"/>
              </a:ext>
            </a:extLst>
          </p:cNvPr>
          <p:cNvSpPr/>
          <p:nvPr/>
        </p:nvSpPr>
        <p:spPr>
          <a:xfrm>
            <a:off x="4194561" y="3139878"/>
            <a:ext cx="2314531" cy="3231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defTabSz="685800" fontAlgn="auto">
              <a:spcBef>
                <a:spcPts val="0"/>
              </a:spcBef>
              <a:spcAft>
                <a:spcPts val="0"/>
              </a:spcAft>
              <a:defRPr/>
            </a:pPr>
            <a:r>
              <a:rPr lang="en-US" sz="1050" b="0" dirty="0">
                <a:solidFill>
                  <a:srgbClr val="000000"/>
                </a:solidFill>
              </a:rPr>
              <a:t>3P-MACE: CV death, NF-MI, </a:t>
            </a:r>
            <a:br>
              <a:rPr lang="en-US" sz="1050" b="0" dirty="0">
                <a:solidFill>
                  <a:srgbClr val="000000"/>
                </a:solidFill>
              </a:rPr>
            </a:br>
            <a:r>
              <a:rPr lang="en-US" sz="1050" b="0" dirty="0">
                <a:solidFill>
                  <a:srgbClr val="000000"/>
                </a:solidFill>
              </a:rPr>
              <a:t>NF-stroke</a:t>
            </a:r>
            <a:endParaRPr lang="en-US" sz="900" dirty="0">
              <a:solidFill>
                <a:srgbClr val="000000"/>
              </a:solidFill>
            </a:endParaRPr>
          </a:p>
        </p:txBody>
      </p:sp>
      <p:sp>
        <p:nvSpPr>
          <p:cNvPr id="27" name="Rectangle 26">
            <a:extLst>
              <a:ext uri="{FF2B5EF4-FFF2-40B4-BE49-F238E27FC236}">
                <a16:creationId xmlns:a16="http://schemas.microsoft.com/office/drawing/2014/main" id="{97D641E7-5A0C-4494-9B3D-C905A7CB971C}"/>
              </a:ext>
            </a:extLst>
          </p:cNvPr>
          <p:cNvSpPr/>
          <p:nvPr/>
        </p:nvSpPr>
        <p:spPr>
          <a:xfrm>
            <a:off x="4194554" y="3709881"/>
            <a:ext cx="2314530" cy="3231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defTabSz="685800" fontAlgn="auto">
              <a:spcBef>
                <a:spcPts val="0"/>
              </a:spcBef>
              <a:spcAft>
                <a:spcPts val="0"/>
              </a:spcAft>
              <a:defRPr/>
            </a:pPr>
            <a:r>
              <a:rPr lang="en-US" sz="1050" b="0" dirty="0">
                <a:solidFill>
                  <a:srgbClr val="000000"/>
                </a:solidFill>
              </a:rPr>
              <a:t>3P-MACE: CV death, NF-MI, </a:t>
            </a:r>
            <a:br>
              <a:rPr lang="en-US" sz="1050" b="0" dirty="0">
                <a:solidFill>
                  <a:srgbClr val="000000"/>
                </a:solidFill>
              </a:rPr>
            </a:br>
            <a:r>
              <a:rPr lang="en-US" sz="1050" b="0" dirty="0">
                <a:solidFill>
                  <a:srgbClr val="000000"/>
                </a:solidFill>
              </a:rPr>
              <a:t>NF-stroke</a:t>
            </a:r>
            <a:endParaRPr lang="en-US" sz="900" dirty="0">
              <a:solidFill>
                <a:srgbClr val="000000"/>
              </a:solidFill>
            </a:endParaRPr>
          </a:p>
        </p:txBody>
      </p:sp>
      <p:sp>
        <p:nvSpPr>
          <p:cNvPr id="28" name="Rectangle 27">
            <a:extLst>
              <a:ext uri="{FF2B5EF4-FFF2-40B4-BE49-F238E27FC236}">
                <a16:creationId xmlns:a16="http://schemas.microsoft.com/office/drawing/2014/main" id="{97D641E7-5A0C-4494-9B3D-C905A7CB971C}"/>
              </a:ext>
            </a:extLst>
          </p:cNvPr>
          <p:cNvSpPr/>
          <p:nvPr/>
        </p:nvSpPr>
        <p:spPr>
          <a:xfrm>
            <a:off x="4170536" y="4237724"/>
            <a:ext cx="3156697" cy="484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defTabSz="685800" fontAlgn="auto">
              <a:spcBef>
                <a:spcPts val="0"/>
              </a:spcBef>
              <a:spcAft>
                <a:spcPts val="0"/>
              </a:spcAft>
              <a:defRPr/>
            </a:pPr>
            <a:r>
              <a:rPr lang="en-US" sz="1050" b="0" dirty="0">
                <a:solidFill>
                  <a:srgbClr val="000000"/>
                </a:solidFill>
              </a:rPr>
              <a:t>7P-MACE: CV death, MI, stroke, HF, </a:t>
            </a:r>
            <a:br>
              <a:rPr lang="en-US" sz="1050" b="0" dirty="0">
                <a:solidFill>
                  <a:srgbClr val="000000"/>
                </a:solidFill>
              </a:rPr>
            </a:br>
            <a:r>
              <a:rPr lang="en-US" sz="1050" b="0" dirty="0">
                <a:solidFill>
                  <a:srgbClr val="000000"/>
                </a:solidFill>
              </a:rPr>
              <a:t>surgery for vascular disease, inoperable </a:t>
            </a:r>
            <a:br>
              <a:rPr lang="en-US" sz="1050" b="0" dirty="0">
                <a:solidFill>
                  <a:srgbClr val="000000"/>
                </a:solidFill>
              </a:rPr>
            </a:br>
            <a:r>
              <a:rPr lang="en-US" sz="1050" b="0" dirty="0">
                <a:solidFill>
                  <a:srgbClr val="000000"/>
                </a:solidFill>
              </a:rPr>
              <a:t>CHD, amputation for ischemic gangrene</a:t>
            </a:r>
            <a:endParaRPr lang="en-US" sz="900" dirty="0">
              <a:solidFill>
                <a:srgbClr val="000000"/>
              </a:solidFill>
            </a:endParaRPr>
          </a:p>
        </p:txBody>
      </p:sp>
      <p:sp>
        <p:nvSpPr>
          <p:cNvPr id="29" name="Rectangle 28">
            <a:extLst>
              <a:ext uri="{FF2B5EF4-FFF2-40B4-BE49-F238E27FC236}">
                <a16:creationId xmlns:a16="http://schemas.microsoft.com/office/drawing/2014/main" id="{97D641E7-5A0C-4494-9B3D-C905A7CB971C}"/>
              </a:ext>
            </a:extLst>
          </p:cNvPr>
          <p:cNvSpPr/>
          <p:nvPr/>
        </p:nvSpPr>
        <p:spPr>
          <a:xfrm>
            <a:off x="4170536" y="4914392"/>
            <a:ext cx="3156697" cy="3231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defTabSz="685800" fontAlgn="auto">
              <a:spcBef>
                <a:spcPts val="0"/>
              </a:spcBef>
              <a:spcAft>
                <a:spcPts val="0"/>
              </a:spcAft>
              <a:defRPr/>
            </a:pPr>
            <a:r>
              <a:rPr lang="en-US" sz="1050" b="0" dirty="0">
                <a:solidFill>
                  <a:srgbClr val="000000"/>
                </a:solidFill>
              </a:rPr>
              <a:t>3P-MACE: CV death, NF-MI, </a:t>
            </a:r>
            <a:br>
              <a:rPr lang="en-US" sz="1050" b="0" dirty="0">
                <a:solidFill>
                  <a:srgbClr val="000000"/>
                </a:solidFill>
              </a:rPr>
            </a:br>
            <a:r>
              <a:rPr lang="en-US" sz="1050" b="0" dirty="0">
                <a:solidFill>
                  <a:srgbClr val="000000"/>
                </a:solidFill>
              </a:rPr>
              <a:t>NF-stroke</a:t>
            </a:r>
            <a:endParaRPr lang="en-US" sz="900" dirty="0">
              <a:solidFill>
                <a:srgbClr val="000000"/>
              </a:solidFill>
            </a:endParaRPr>
          </a:p>
        </p:txBody>
      </p:sp>
      <p:sp>
        <p:nvSpPr>
          <p:cNvPr id="25" name="Rectangle 24">
            <a:extLst>
              <a:ext uri="{FF2B5EF4-FFF2-40B4-BE49-F238E27FC236}">
                <a16:creationId xmlns:a16="http://schemas.microsoft.com/office/drawing/2014/main" id="{97D641E7-5A0C-4494-9B3D-C905A7CB971C}"/>
              </a:ext>
            </a:extLst>
          </p:cNvPr>
          <p:cNvSpPr/>
          <p:nvPr/>
        </p:nvSpPr>
        <p:spPr>
          <a:xfrm>
            <a:off x="4170533" y="2454806"/>
            <a:ext cx="2182146" cy="484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defTabSz="685800" fontAlgn="auto">
              <a:spcBef>
                <a:spcPts val="0"/>
              </a:spcBef>
              <a:spcAft>
                <a:spcPts val="0"/>
              </a:spcAft>
              <a:defRPr/>
            </a:pPr>
            <a:r>
              <a:rPr lang="en-US" sz="1050" b="0" dirty="0">
                <a:solidFill>
                  <a:srgbClr val="000000"/>
                </a:solidFill>
              </a:rPr>
              <a:t>All-cause death, NF-MI, silent MI,</a:t>
            </a:r>
            <a:br>
              <a:rPr lang="en-US" sz="1050" b="0" dirty="0">
                <a:solidFill>
                  <a:srgbClr val="000000"/>
                </a:solidFill>
              </a:rPr>
            </a:br>
            <a:r>
              <a:rPr lang="en-US" sz="1050" b="0" dirty="0">
                <a:solidFill>
                  <a:srgbClr val="000000"/>
                </a:solidFill>
              </a:rPr>
              <a:t>NF-stroke, urgent coronary revascularization</a:t>
            </a:r>
            <a:endParaRPr lang="en-US" sz="900" dirty="0">
              <a:solidFill>
                <a:srgbClr val="000000"/>
              </a:solidFill>
            </a:endParaRPr>
          </a:p>
        </p:txBody>
      </p:sp>
    </p:spTree>
    <p:extLst>
      <p:ext uri="{BB962C8B-B14F-4D97-AF65-F5344CB8AC3E}">
        <p14:creationId xmlns:p14="http://schemas.microsoft.com/office/powerpoint/2010/main" val="1174431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TextBox 6"/>
          <p:cNvSpPr txBox="1">
            <a:spLocks noChangeArrowheads="1"/>
          </p:cNvSpPr>
          <p:nvPr/>
        </p:nvSpPr>
        <p:spPr bwMode="auto">
          <a:xfrm>
            <a:off x="230194" y="6339419"/>
            <a:ext cx="64293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altLang="en-US" sz="800" b="0" i="0" u="none" strike="noStrike" kern="1200" cap="none" spc="0" normalizeH="0" baseline="0" noProof="0" dirty="0">
              <a:ln>
                <a:noFill/>
              </a:ln>
              <a:solidFill>
                <a:srgbClr val="8B7D70"/>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en-US" sz="800" b="0" i="0" u="none" strike="noStrike" kern="1200" cap="none" spc="0" normalizeH="0" baseline="0" noProof="0" dirty="0">
                <a:ln>
                  <a:noFill/>
                </a:ln>
                <a:solidFill>
                  <a:srgbClr val="8B7D70"/>
                </a:solidFill>
                <a:effectLst/>
                <a:uLnTx/>
                <a:uFillTx/>
                <a:latin typeface="Verdana" panose="020B0604030504040204" pitchFamily="34" charset="0"/>
                <a:ea typeface="+mn-ea"/>
                <a:cs typeface="+mn-cs"/>
              </a:rPr>
              <a:t>Nissen SE et al. </a:t>
            </a:r>
            <a:r>
              <a:rPr kumimoji="0" lang="en-GB" altLang="en-US" sz="800" b="0" i="1" u="none" strike="noStrike" kern="1200" cap="none" spc="0" normalizeH="0" baseline="0" noProof="0" dirty="0">
                <a:ln>
                  <a:noFill/>
                </a:ln>
                <a:solidFill>
                  <a:srgbClr val="8B7D70"/>
                </a:solidFill>
                <a:effectLst/>
                <a:uLnTx/>
                <a:uFillTx/>
                <a:latin typeface="Verdana" panose="020B0604030504040204" pitchFamily="34" charset="0"/>
                <a:ea typeface="+mn-ea"/>
                <a:cs typeface="+mn-cs"/>
              </a:rPr>
              <a:t>N Engl J Med </a:t>
            </a:r>
            <a:r>
              <a:rPr kumimoji="0" lang="en-GB" altLang="en-US" sz="800" b="0" i="0" u="none" strike="noStrike" kern="1200" cap="none" spc="0" normalizeH="0" baseline="0" noProof="0" dirty="0">
                <a:ln>
                  <a:noFill/>
                </a:ln>
                <a:solidFill>
                  <a:srgbClr val="8B7D70"/>
                </a:solidFill>
                <a:effectLst/>
                <a:uLnTx/>
                <a:uFillTx/>
                <a:latin typeface="Verdana" panose="020B0604030504040204" pitchFamily="34" charset="0"/>
                <a:ea typeface="+mn-ea"/>
                <a:cs typeface="+mn-cs"/>
              </a:rPr>
              <a:t>2007;156:2457–2471.</a:t>
            </a:r>
            <a:r>
              <a:rPr kumimoji="0" lang="en-GB" altLang="en-US" sz="800" b="0" i="1" u="none" strike="noStrike" kern="1200" cap="none" spc="0" normalizeH="0" baseline="0" noProof="0" dirty="0">
                <a:ln>
                  <a:noFill/>
                </a:ln>
                <a:solidFill>
                  <a:srgbClr val="8B7D70"/>
                </a:solidFill>
                <a:effectLst/>
                <a:uLnTx/>
                <a:uFillTx/>
                <a:latin typeface="Verdana" panose="020B0604030504040204" pitchFamily="34" charset="0"/>
                <a:ea typeface="+mn-ea"/>
                <a:cs typeface="+mn-cs"/>
              </a:rPr>
              <a:t> </a:t>
            </a:r>
            <a:endParaRPr kumimoji="0" lang="en-US" altLang="en-US" sz="800" b="0" i="1" u="none" strike="noStrike" kern="1200" cap="none" spc="0" normalizeH="0" baseline="0" noProof="0" dirty="0">
              <a:ln>
                <a:noFill/>
              </a:ln>
              <a:solidFill>
                <a:srgbClr val="8B7D70"/>
              </a:solidFill>
              <a:effectLst/>
              <a:uLnTx/>
              <a:uFillTx/>
              <a:latin typeface="Verdana" panose="020B0604030504040204" pitchFamily="34" charset="0"/>
              <a:ea typeface="+mn-ea"/>
              <a:cs typeface="+mn-cs"/>
            </a:endParaRPr>
          </a:p>
        </p:txBody>
      </p:sp>
      <p:pic>
        <p:nvPicPr>
          <p:cNvPr id="10" name="Picture 4"/>
          <p:cNvPicPr>
            <a:picLocks noGrp="1" noChangeArrowheads="1"/>
          </p:cNvPicPr>
          <p:nvPr>
            <p:ph idx="1"/>
          </p:nvPr>
        </p:nvPicPr>
        <p:blipFill>
          <a:blip r:embed="rId3"/>
          <a:srcRect/>
          <a:stretch>
            <a:fillRect/>
          </a:stretch>
        </p:blipFill>
        <p:spPr>
          <a:xfrm>
            <a:off x="633444" y="1481672"/>
            <a:ext cx="2560637" cy="4792133"/>
          </a:xfrm>
          <a:effectLst>
            <a:outerShdw blurRad="292100" dist="139700" dir="2700000" algn="tl" rotWithShape="0">
              <a:srgbClr val="333333">
                <a:alpha val="65000"/>
              </a:srgbClr>
            </a:outerShdw>
          </a:effectLst>
          <a:extLst>
            <a:ext uri="{91240B29-F687-4F45-9708-019B960494DF}">
              <a14:hiddenLine xmlns:a14="http://schemas.microsoft.com/office/drawing/2010/main" w="34925">
                <a:solidFill>
                  <a:srgbClr val="000000"/>
                </a:solidFill>
                <a:miter lim="800000"/>
                <a:headEnd/>
                <a:tailEnd/>
              </a14:hiddenLine>
            </a:ext>
          </a:extLst>
        </p:spPr>
      </p:pic>
      <p:sp>
        <p:nvSpPr>
          <p:cNvPr id="65541" name="Rectangle 5"/>
          <p:cNvSpPr>
            <a:spLocks noChangeArrowheads="1"/>
          </p:cNvSpPr>
          <p:nvPr/>
        </p:nvSpPr>
        <p:spPr bwMode="auto">
          <a:xfrm>
            <a:off x="4530726" y="1940987"/>
            <a:ext cx="4127500" cy="3695700"/>
          </a:xfrm>
          <a:prstGeom prst="roundRect">
            <a:avLst>
              <a:gd name="adj" fmla="val 16667"/>
            </a:avLst>
          </a:prstGeom>
          <a:solidFill>
            <a:srgbClr val="E0DED8"/>
          </a:solidFill>
          <a:ln w="12700">
            <a:solidFill>
              <a:schemeClr val="tx1"/>
            </a:solidFill>
            <a:round/>
            <a:headEnd/>
            <a:tailEnd/>
          </a:ln>
        </p:spPr>
        <p:txBody>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altLang="en-US" sz="2000" b="0" i="1" u="none" strike="noStrike" kern="1200" cap="none" spc="0" normalizeH="0" baseline="0" noProof="0" dirty="0">
                <a:ln>
                  <a:noFill/>
                </a:ln>
                <a:solidFill>
                  <a:srgbClr val="001965"/>
                </a:solidFill>
                <a:effectLst/>
                <a:uLnTx/>
                <a:uFillTx/>
                <a:latin typeface="Verdana" panose="020B0604030504040204" pitchFamily="34" charset="0"/>
                <a:ea typeface="+mn-ea"/>
                <a:cs typeface="+mn-cs"/>
              </a:rPr>
              <a:t>“Rosiglitazone was associated with a significant increase in the risk of myocardial infarction and with an increase in the risk of death from cardiovascular causes that had borderline significance.”</a:t>
            </a:r>
          </a:p>
        </p:txBody>
      </p:sp>
      <p:sp>
        <p:nvSpPr>
          <p:cNvPr id="12" name="Rectangle 6"/>
          <p:cNvSpPr>
            <a:spLocks noChangeArrowheads="1"/>
          </p:cNvSpPr>
          <p:nvPr/>
        </p:nvSpPr>
        <p:spPr bwMode="auto">
          <a:xfrm>
            <a:off x="619130" y="5005987"/>
            <a:ext cx="2574925" cy="404283"/>
          </a:xfrm>
          <a:prstGeom prst="roundRect">
            <a:avLst/>
          </a:prstGeom>
          <a:noFill/>
          <a:ln>
            <a:solidFill>
              <a:schemeClr val="tx2"/>
            </a:solidFill>
            <a:headEnd/>
            <a:tailEnd/>
          </a:ln>
          <a:extLst/>
        </p:spPr>
        <p:style>
          <a:lnRef idx="2">
            <a:schemeClr val="accent2"/>
          </a:lnRef>
          <a:fillRef idx="1">
            <a:schemeClr val="lt1"/>
          </a:fillRef>
          <a:effectRef idx="0">
            <a:schemeClr val="accent2"/>
          </a:effectRef>
          <a:fontRef idx="minor">
            <a:schemeClr val="dk1"/>
          </a:fontRef>
        </p:style>
        <p:txBody>
          <a:bodyPr wrap="none" anchor="ct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a:ea typeface="+mn-ea"/>
              <a:cs typeface="+mn-cs"/>
            </a:endParaRPr>
          </a:p>
        </p:txBody>
      </p:sp>
      <p:cxnSp>
        <p:nvCxnSpPr>
          <p:cNvPr id="13" name="AutoShape 10"/>
          <p:cNvCxnSpPr>
            <a:cxnSpLocks noChangeShapeType="1"/>
          </p:cNvCxnSpPr>
          <p:nvPr/>
        </p:nvCxnSpPr>
        <p:spPr bwMode="auto">
          <a:xfrm flipV="1">
            <a:off x="3194092" y="4030140"/>
            <a:ext cx="1336675" cy="1149351"/>
          </a:xfrm>
          <a:prstGeom prst="straightConnector1">
            <a:avLst/>
          </a:prstGeom>
          <a:ln>
            <a:solidFill>
              <a:schemeClr val="tx2"/>
            </a:solidFill>
            <a:headEnd/>
            <a:tailEnd/>
          </a:ln>
          <a:extLst/>
        </p:spPr>
        <p:style>
          <a:lnRef idx="2">
            <a:schemeClr val="dk1"/>
          </a:lnRef>
          <a:fillRef idx="0">
            <a:schemeClr val="dk1"/>
          </a:fillRef>
          <a:effectRef idx="1">
            <a:schemeClr val="dk1"/>
          </a:effectRef>
          <a:fontRef idx="minor">
            <a:schemeClr val="tx1"/>
          </a:fontRef>
        </p:style>
      </p:cxnSp>
      <p:sp>
        <p:nvSpPr>
          <p:cNvPr id="8" name="Nadpis 2"/>
          <p:cNvSpPr txBox="1">
            <a:spLocks/>
          </p:cNvSpPr>
          <p:nvPr/>
        </p:nvSpPr>
        <p:spPr bwMode="auto">
          <a:xfrm>
            <a:off x="275526" y="471865"/>
            <a:ext cx="8510400" cy="521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400" b="1" kern="1200">
                <a:solidFill>
                  <a:schemeClr val="accent2"/>
                </a:solidFill>
                <a:latin typeface="+mj-lt"/>
                <a:ea typeface="+mj-ea"/>
                <a:cs typeface="+mj-cs"/>
              </a:defRPr>
            </a:lvl1pPr>
            <a:lvl2pPr algn="l" rtl="0" eaLnBrk="0" fontAlgn="base" hangingPunct="0">
              <a:spcBef>
                <a:spcPct val="0"/>
              </a:spcBef>
              <a:spcAft>
                <a:spcPct val="0"/>
              </a:spcAft>
              <a:defRPr sz="2400" b="1">
                <a:solidFill>
                  <a:schemeClr val="accent2"/>
                </a:solidFill>
                <a:latin typeface="Verdana" pitchFamily="34" charset="0"/>
              </a:defRPr>
            </a:lvl2pPr>
            <a:lvl3pPr algn="l" rtl="0" eaLnBrk="0" fontAlgn="base" hangingPunct="0">
              <a:spcBef>
                <a:spcPct val="0"/>
              </a:spcBef>
              <a:spcAft>
                <a:spcPct val="0"/>
              </a:spcAft>
              <a:defRPr sz="2400" b="1">
                <a:solidFill>
                  <a:schemeClr val="accent2"/>
                </a:solidFill>
                <a:latin typeface="Verdana" pitchFamily="34" charset="0"/>
              </a:defRPr>
            </a:lvl3pPr>
            <a:lvl4pPr algn="l" rtl="0" eaLnBrk="0" fontAlgn="base" hangingPunct="0">
              <a:spcBef>
                <a:spcPct val="0"/>
              </a:spcBef>
              <a:spcAft>
                <a:spcPct val="0"/>
              </a:spcAft>
              <a:defRPr sz="2400" b="1">
                <a:solidFill>
                  <a:schemeClr val="accent2"/>
                </a:solidFill>
                <a:latin typeface="Verdana" pitchFamily="34" charset="0"/>
              </a:defRPr>
            </a:lvl4pPr>
            <a:lvl5pPr algn="l" rtl="0" eaLnBrk="0" fontAlgn="base" hangingPunct="0">
              <a:spcBef>
                <a:spcPct val="0"/>
              </a:spcBef>
              <a:spcAft>
                <a:spcPct val="0"/>
              </a:spcAft>
              <a:defRPr sz="2400" b="1">
                <a:solidFill>
                  <a:schemeClr val="accent2"/>
                </a:solidFill>
                <a:latin typeface="Verdana" pitchFamily="34" charset="0"/>
              </a:defRPr>
            </a:lvl5pPr>
            <a:lvl6pPr marL="457200" algn="l" rtl="0" fontAlgn="base">
              <a:spcBef>
                <a:spcPct val="0"/>
              </a:spcBef>
              <a:spcAft>
                <a:spcPct val="0"/>
              </a:spcAft>
              <a:defRPr sz="2400" b="1">
                <a:solidFill>
                  <a:schemeClr val="accent2"/>
                </a:solidFill>
                <a:latin typeface="Verdana" pitchFamily="34" charset="0"/>
              </a:defRPr>
            </a:lvl6pPr>
            <a:lvl7pPr marL="914400" algn="l" rtl="0" fontAlgn="base">
              <a:spcBef>
                <a:spcPct val="0"/>
              </a:spcBef>
              <a:spcAft>
                <a:spcPct val="0"/>
              </a:spcAft>
              <a:defRPr sz="2400" b="1">
                <a:solidFill>
                  <a:schemeClr val="accent2"/>
                </a:solidFill>
                <a:latin typeface="Verdana" pitchFamily="34" charset="0"/>
              </a:defRPr>
            </a:lvl7pPr>
            <a:lvl8pPr marL="1371600" algn="l" rtl="0" fontAlgn="base">
              <a:spcBef>
                <a:spcPct val="0"/>
              </a:spcBef>
              <a:spcAft>
                <a:spcPct val="0"/>
              </a:spcAft>
              <a:defRPr sz="2400" b="1">
                <a:solidFill>
                  <a:schemeClr val="accent2"/>
                </a:solidFill>
                <a:latin typeface="Verdana" pitchFamily="34" charset="0"/>
              </a:defRPr>
            </a:lvl8pPr>
            <a:lvl9pPr marL="1828800" algn="l" rtl="0" fontAlgn="base">
              <a:spcBef>
                <a:spcPct val="0"/>
              </a:spcBef>
              <a:spcAft>
                <a:spcPct val="0"/>
              </a:spcAft>
              <a:defRPr sz="2400" b="1">
                <a:solidFill>
                  <a:schemeClr val="accent2"/>
                </a:solidFill>
                <a:latin typeface="Verdan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2800" b="1" i="0" u="none" strike="noStrike" kern="1200" cap="none" spc="0" normalizeH="0" baseline="0" noProof="0" dirty="0">
                <a:ln>
                  <a:noFill/>
                </a:ln>
                <a:solidFill>
                  <a:srgbClr val="001423"/>
                </a:solidFill>
                <a:effectLst/>
                <a:uLnTx/>
                <a:uFillTx/>
                <a:latin typeface="Verdana"/>
                <a:ea typeface="+mj-ea"/>
                <a:cs typeface="+mj-cs"/>
              </a:rPr>
              <a:t>Proč mají všechny nové léky v diabetologii studie zaměřené na KV bezpečnost?</a:t>
            </a:r>
          </a:p>
        </p:txBody>
      </p:sp>
      <p:pic>
        <p:nvPicPr>
          <p:cNvPr id="11" name="Picture 4" descr="http://img.timeinc.net/time/time100/2007/images/steven_nissen.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7545" y="1553815"/>
            <a:ext cx="3528392" cy="4470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879595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a:xfrm>
            <a:off x="264848" y="5695798"/>
            <a:ext cx="1800225" cy="911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685783"/>
            <a:endParaRPr lang="en-GB" sz="1800" b="0" dirty="0">
              <a:solidFill>
                <a:srgbClr val="FFFFFF"/>
              </a:solidFill>
            </a:endParaRPr>
          </a:p>
        </p:txBody>
      </p:sp>
      <p:sp>
        <p:nvSpPr>
          <p:cNvPr id="3" name="Title 2"/>
          <p:cNvSpPr>
            <a:spLocks noGrp="1"/>
          </p:cNvSpPr>
          <p:nvPr>
            <p:ph type="title"/>
          </p:nvPr>
        </p:nvSpPr>
        <p:spPr>
          <a:xfrm>
            <a:off x="198191" y="371501"/>
            <a:ext cx="8840327" cy="521883"/>
          </a:xfrm>
        </p:spPr>
        <p:txBody>
          <a:bodyPr/>
          <a:lstStyle/>
          <a:p>
            <a:r>
              <a:rPr lang="cs-CZ" sz="2400" dirty="0">
                <a:solidFill>
                  <a:srgbClr val="001423"/>
                </a:solidFill>
              </a:rPr>
              <a:t>Dle nového nařízení regulačních agentur musejí mít všechna nová </a:t>
            </a:r>
            <a:r>
              <a:rPr lang="cs-CZ" sz="2400" dirty="0" err="1">
                <a:solidFill>
                  <a:srgbClr val="001423"/>
                </a:solidFill>
              </a:rPr>
              <a:t>antidiabetika</a:t>
            </a:r>
            <a:r>
              <a:rPr lang="cs-CZ" sz="2400" dirty="0">
                <a:solidFill>
                  <a:srgbClr val="001423"/>
                </a:solidFill>
              </a:rPr>
              <a:t> </a:t>
            </a:r>
            <a:r>
              <a:rPr lang="cs-CZ" sz="2400" dirty="0" err="1">
                <a:solidFill>
                  <a:srgbClr val="001423"/>
                </a:solidFill>
              </a:rPr>
              <a:t>prokázánou</a:t>
            </a:r>
            <a:r>
              <a:rPr lang="cs-CZ" sz="2400" dirty="0">
                <a:solidFill>
                  <a:srgbClr val="001423"/>
                </a:solidFill>
              </a:rPr>
              <a:t> KV bezpečnost</a:t>
            </a:r>
            <a:endParaRPr lang="en-GB" sz="2400" dirty="0">
              <a:solidFill>
                <a:srgbClr val="001423"/>
              </a:solidFill>
            </a:endParaRPr>
          </a:p>
        </p:txBody>
      </p:sp>
      <p:sp>
        <p:nvSpPr>
          <p:cNvPr id="5" name="Text Placeholder 4"/>
          <p:cNvSpPr>
            <a:spLocks noGrp="1"/>
          </p:cNvSpPr>
          <p:nvPr>
            <p:ph sz="quarter" idx="10"/>
          </p:nvPr>
        </p:nvSpPr>
        <p:spPr>
          <a:xfrm>
            <a:off x="316800" y="5654052"/>
            <a:ext cx="8510400" cy="1027200"/>
          </a:xfrm>
        </p:spPr>
        <p:txBody>
          <a:bodyPr/>
          <a:lstStyle/>
          <a:p>
            <a:r>
              <a:rPr lang="en-GB" dirty="0"/>
              <a:t>*Estimated enrolment. ClinicalTrials.gov. Accessed September 2017</a:t>
            </a:r>
            <a:br>
              <a:rPr lang="en-GB" dirty="0"/>
            </a:br>
            <a:r>
              <a:rPr lang="en-GB" dirty="0"/>
              <a:t>CVOT, cardiovascular outcomes trial; DPP-4i, dipeptidyl peptidase-4 inhibitor; ER, extended release; GLP-1RA, glucagon-like peptide-1 receptor agonist; </a:t>
            </a:r>
            <a:br>
              <a:rPr lang="en-GB" dirty="0"/>
            </a:br>
            <a:r>
              <a:rPr lang="en-GB" dirty="0"/>
              <a:t>ITCA 650, continuous subcutaneous delivery of exenatide; PPAR receptors-αγ, peroxisome proliferator‐activated receptors-α and γ; QW, once weekly; </a:t>
            </a:r>
            <a:br>
              <a:rPr lang="en-GB" dirty="0"/>
            </a:br>
            <a:r>
              <a:rPr lang="en-GB" dirty="0"/>
              <a:t>SGLT-2i, sodium–glucose cotransporter-2 inhibitor; SU, sulphonylurea</a:t>
            </a:r>
          </a:p>
        </p:txBody>
      </p:sp>
      <p:cxnSp>
        <p:nvCxnSpPr>
          <p:cNvPr id="233" name="Straight Arrow Connector 6"/>
          <p:cNvCxnSpPr>
            <a:cxnSpLocks noChangeShapeType="1"/>
          </p:cNvCxnSpPr>
          <p:nvPr/>
        </p:nvCxnSpPr>
        <p:spPr bwMode="auto">
          <a:xfrm>
            <a:off x="213503" y="5360520"/>
            <a:ext cx="8447709" cy="0"/>
          </a:xfrm>
          <a:prstGeom prst="straightConnector1">
            <a:avLst/>
          </a:prstGeom>
          <a:noFill/>
          <a:ln w="25400" algn="ctr">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4" name="TextBox 81"/>
          <p:cNvSpPr txBox="1">
            <a:spLocks noChangeArrowheads="1"/>
          </p:cNvSpPr>
          <p:nvPr/>
        </p:nvSpPr>
        <p:spPr bwMode="auto">
          <a:xfrm>
            <a:off x="6196210" y="5359561"/>
            <a:ext cx="441082" cy="200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hangingPunct="1"/>
            <a:r>
              <a:rPr lang="en-GB" sz="700" dirty="0">
                <a:solidFill>
                  <a:srgbClr val="001965"/>
                </a:solidFill>
                <a:latin typeface="Verdana"/>
              </a:rPr>
              <a:t>2019</a:t>
            </a:r>
          </a:p>
        </p:txBody>
      </p:sp>
      <p:sp>
        <p:nvSpPr>
          <p:cNvPr id="235" name="TextBox 7"/>
          <p:cNvSpPr txBox="1">
            <a:spLocks noChangeArrowheads="1"/>
          </p:cNvSpPr>
          <p:nvPr/>
        </p:nvSpPr>
        <p:spPr bwMode="auto">
          <a:xfrm>
            <a:off x="2420209" y="5359561"/>
            <a:ext cx="441082" cy="200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hangingPunct="1"/>
            <a:r>
              <a:rPr lang="en-GB" sz="700" dirty="0">
                <a:solidFill>
                  <a:srgbClr val="001965"/>
                </a:solidFill>
                <a:latin typeface="Verdana"/>
              </a:rPr>
              <a:t>2015</a:t>
            </a:r>
          </a:p>
        </p:txBody>
      </p:sp>
      <p:cxnSp>
        <p:nvCxnSpPr>
          <p:cNvPr id="236" name="Straight Connector 235"/>
          <p:cNvCxnSpPr/>
          <p:nvPr/>
        </p:nvCxnSpPr>
        <p:spPr>
          <a:xfrm>
            <a:off x="1453762" y="5328047"/>
            <a:ext cx="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flipH="1" flipV="1">
            <a:off x="300037" y="5262560"/>
            <a:ext cx="1" cy="17974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flipH="1" flipV="1">
            <a:off x="5020038" y="5262560"/>
            <a:ext cx="1" cy="17974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flipH="1" flipV="1">
            <a:off x="1248345" y="5262560"/>
            <a:ext cx="1" cy="17974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H="1" flipV="1">
            <a:off x="3132037" y="5262560"/>
            <a:ext cx="1" cy="17974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flipH="1" flipV="1">
            <a:off x="4076038" y="5262560"/>
            <a:ext cx="1" cy="17974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flipH="1" flipV="1">
            <a:off x="2188038" y="5262560"/>
            <a:ext cx="1" cy="17974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flipH="1" flipV="1">
            <a:off x="5964037" y="5262560"/>
            <a:ext cx="1" cy="17974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44" name="TextBox 7"/>
          <p:cNvSpPr txBox="1">
            <a:spLocks noChangeArrowheads="1"/>
          </p:cNvSpPr>
          <p:nvPr/>
        </p:nvSpPr>
        <p:spPr bwMode="auto">
          <a:xfrm>
            <a:off x="7147249" y="5359561"/>
            <a:ext cx="441082" cy="200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hangingPunct="1"/>
            <a:r>
              <a:rPr lang="en-GB" sz="700" dirty="0">
                <a:solidFill>
                  <a:srgbClr val="001965"/>
                </a:solidFill>
                <a:latin typeface="Verdana"/>
              </a:rPr>
              <a:t>2020</a:t>
            </a:r>
          </a:p>
        </p:txBody>
      </p:sp>
      <p:sp>
        <p:nvSpPr>
          <p:cNvPr id="245" name="TextBox 7"/>
          <p:cNvSpPr txBox="1">
            <a:spLocks noChangeArrowheads="1"/>
          </p:cNvSpPr>
          <p:nvPr/>
        </p:nvSpPr>
        <p:spPr bwMode="auto">
          <a:xfrm>
            <a:off x="532210" y="5359561"/>
            <a:ext cx="441082" cy="200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hangingPunct="1"/>
            <a:r>
              <a:rPr lang="en-GB" sz="700" dirty="0">
                <a:solidFill>
                  <a:srgbClr val="001965"/>
                </a:solidFill>
                <a:latin typeface="Verdana"/>
              </a:rPr>
              <a:t>2013</a:t>
            </a:r>
          </a:p>
        </p:txBody>
      </p:sp>
      <p:sp>
        <p:nvSpPr>
          <p:cNvPr id="246" name="TextBox 7"/>
          <p:cNvSpPr txBox="1">
            <a:spLocks noChangeArrowheads="1"/>
          </p:cNvSpPr>
          <p:nvPr/>
        </p:nvSpPr>
        <p:spPr bwMode="auto">
          <a:xfrm>
            <a:off x="1476208" y="5359561"/>
            <a:ext cx="441082" cy="200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hangingPunct="1"/>
            <a:r>
              <a:rPr lang="en-GB" sz="700" dirty="0">
                <a:solidFill>
                  <a:srgbClr val="001965"/>
                </a:solidFill>
                <a:latin typeface="Verdana"/>
              </a:rPr>
              <a:t>2014</a:t>
            </a:r>
          </a:p>
        </p:txBody>
      </p:sp>
      <p:sp>
        <p:nvSpPr>
          <p:cNvPr id="247" name="TextBox 7"/>
          <p:cNvSpPr txBox="1">
            <a:spLocks noChangeArrowheads="1"/>
          </p:cNvSpPr>
          <p:nvPr/>
        </p:nvSpPr>
        <p:spPr bwMode="auto">
          <a:xfrm>
            <a:off x="3364210" y="5359561"/>
            <a:ext cx="441082" cy="200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hangingPunct="1"/>
            <a:r>
              <a:rPr lang="en-GB" sz="700" dirty="0">
                <a:solidFill>
                  <a:srgbClr val="001965"/>
                </a:solidFill>
                <a:latin typeface="Verdana"/>
              </a:rPr>
              <a:t>2016</a:t>
            </a:r>
          </a:p>
        </p:txBody>
      </p:sp>
      <p:sp>
        <p:nvSpPr>
          <p:cNvPr id="248" name="TextBox 7"/>
          <p:cNvSpPr txBox="1">
            <a:spLocks noChangeArrowheads="1"/>
          </p:cNvSpPr>
          <p:nvPr/>
        </p:nvSpPr>
        <p:spPr bwMode="auto">
          <a:xfrm>
            <a:off x="4308208" y="5359561"/>
            <a:ext cx="441082" cy="200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hangingPunct="1"/>
            <a:r>
              <a:rPr lang="en-GB" sz="700" dirty="0">
                <a:solidFill>
                  <a:srgbClr val="001965"/>
                </a:solidFill>
                <a:latin typeface="Verdana"/>
              </a:rPr>
              <a:t>2017</a:t>
            </a:r>
          </a:p>
        </p:txBody>
      </p:sp>
      <p:sp>
        <p:nvSpPr>
          <p:cNvPr id="249" name="TextBox 7"/>
          <p:cNvSpPr txBox="1">
            <a:spLocks noChangeArrowheads="1"/>
          </p:cNvSpPr>
          <p:nvPr/>
        </p:nvSpPr>
        <p:spPr bwMode="auto">
          <a:xfrm>
            <a:off x="5252209" y="5359561"/>
            <a:ext cx="441082" cy="200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hangingPunct="1"/>
            <a:r>
              <a:rPr lang="en-GB" sz="700" dirty="0">
                <a:solidFill>
                  <a:srgbClr val="001965"/>
                </a:solidFill>
                <a:latin typeface="Verdana"/>
              </a:rPr>
              <a:t>2018</a:t>
            </a:r>
          </a:p>
        </p:txBody>
      </p:sp>
      <p:cxnSp>
        <p:nvCxnSpPr>
          <p:cNvPr id="250" name="Straight Connector 249"/>
          <p:cNvCxnSpPr/>
          <p:nvPr/>
        </p:nvCxnSpPr>
        <p:spPr>
          <a:xfrm flipH="1" flipV="1">
            <a:off x="6911529" y="5246304"/>
            <a:ext cx="1" cy="17974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flipH="1" flipV="1">
            <a:off x="7851222" y="5246304"/>
            <a:ext cx="1" cy="17974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52" name="TextBox 7"/>
          <p:cNvSpPr txBox="1">
            <a:spLocks noChangeArrowheads="1"/>
          </p:cNvSpPr>
          <p:nvPr/>
        </p:nvSpPr>
        <p:spPr bwMode="auto">
          <a:xfrm>
            <a:off x="8123167" y="5359561"/>
            <a:ext cx="441082" cy="200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hangingPunct="1"/>
            <a:r>
              <a:rPr lang="en-GB" sz="700" dirty="0">
                <a:solidFill>
                  <a:srgbClr val="001965"/>
                </a:solidFill>
                <a:latin typeface="Verdana"/>
              </a:rPr>
              <a:t>2021</a:t>
            </a:r>
          </a:p>
        </p:txBody>
      </p:sp>
      <p:grpSp>
        <p:nvGrpSpPr>
          <p:cNvPr id="253" name="Group 252"/>
          <p:cNvGrpSpPr/>
          <p:nvPr/>
        </p:nvGrpSpPr>
        <p:grpSpPr>
          <a:xfrm>
            <a:off x="2744221" y="4482873"/>
            <a:ext cx="2989959" cy="1448831"/>
            <a:chOff x="3846525" y="4413194"/>
            <a:chExt cx="3986612" cy="1448831"/>
          </a:xfrm>
        </p:grpSpPr>
        <p:sp>
          <p:nvSpPr>
            <p:cNvPr id="254" name="AutoShape 18"/>
            <p:cNvSpPr>
              <a:spLocks noChangeArrowheads="1"/>
            </p:cNvSpPr>
            <p:nvPr>
              <p:custDataLst>
                <p:tags r:id="rId26"/>
              </p:custDataLst>
            </p:nvPr>
          </p:nvSpPr>
          <p:spPr bwMode="auto">
            <a:xfrm>
              <a:off x="6432150" y="5574025"/>
              <a:ext cx="1400987" cy="288000"/>
            </a:xfrm>
            <a:prstGeom prst="roundRect">
              <a:avLst>
                <a:gd name="adj" fmla="val 9375"/>
              </a:avLst>
            </a:prstGeom>
            <a:noFill/>
            <a:ln w="19050">
              <a:solidFill>
                <a:schemeClr val="accent1">
                  <a:lumMod val="40000"/>
                  <a:lumOff val="60000"/>
                </a:schemeClr>
              </a:solidFill>
              <a:round/>
              <a:headEnd/>
              <a:tailEnd/>
            </a:ln>
          </p:spPr>
          <p:txBody>
            <a:bodyPr wrap="none" lIns="71976" tIns="71976" rIns="71976" bIns="71976" anchor="ctr"/>
            <a:lstStyle/>
            <a:p>
              <a:pPr algn="ctr" defTabSz="685528"/>
              <a:r>
                <a:rPr lang="en-GB" sz="825" b="0" dirty="0">
                  <a:solidFill>
                    <a:srgbClr val="001965"/>
                  </a:solidFill>
                  <a:latin typeface="Verdana"/>
                </a:rPr>
                <a:t>Insulin</a:t>
              </a:r>
            </a:p>
          </p:txBody>
        </p:sp>
        <p:cxnSp>
          <p:nvCxnSpPr>
            <p:cNvPr id="255" name="Straight Connector 254"/>
            <p:cNvCxnSpPr/>
            <p:nvPr/>
          </p:nvCxnSpPr>
          <p:spPr>
            <a:xfrm>
              <a:off x="5924766" y="5067912"/>
              <a:ext cx="0" cy="88777"/>
            </a:xfrm>
            <a:prstGeom prst="line">
              <a:avLst/>
            </a:prstGeom>
            <a:ln w="381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56" name="AutoShape 15"/>
            <p:cNvSpPr>
              <a:spLocks noChangeArrowheads="1"/>
            </p:cNvSpPr>
            <p:nvPr>
              <p:custDataLst>
                <p:tags r:id="rId27"/>
              </p:custDataLst>
            </p:nvPr>
          </p:nvSpPr>
          <p:spPr bwMode="auto">
            <a:xfrm>
              <a:off x="3846525" y="4413194"/>
              <a:ext cx="2160000" cy="660338"/>
            </a:xfrm>
            <a:prstGeom prst="roundRect">
              <a:avLst>
                <a:gd name="adj" fmla="val 9375"/>
              </a:avLst>
            </a:prstGeom>
            <a:solidFill>
              <a:schemeClr val="accent1">
                <a:lumMod val="40000"/>
                <a:lumOff val="60000"/>
              </a:schemeClr>
            </a:solidFill>
            <a:ln w="19050">
              <a:solidFill>
                <a:schemeClr val="accent1">
                  <a:lumMod val="40000"/>
                  <a:lumOff val="60000"/>
                </a:schemeClr>
              </a:solidFill>
              <a:round/>
              <a:headEnd/>
              <a:tailEnd/>
            </a:ln>
          </p:spPr>
          <p:txBody>
            <a:bodyPr wrap="square" lIns="36000" tIns="36000" rIns="36000" bIns="36000" anchor="ctr">
              <a:noAutofit/>
            </a:bodyPr>
            <a:lstStyle/>
            <a:p>
              <a:pPr algn="ctr" defTabSz="457106" fontAlgn="auto">
                <a:spcBef>
                  <a:spcPct val="30000"/>
                </a:spcBef>
                <a:spcAft>
                  <a:spcPts val="0"/>
                </a:spcAft>
              </a:pPr>
              <a:r>
                <a:rPr lang="en-GB" sz="675" dirty="0">
                  <a:solidFill>
                    <a:srgbClr val="001965"/>
                  </a:solidFill>
                  <a:latin typeface="Verdana"/>
                </a:rPr>
                <a:t>DEVOTE</a:t>
              </a:r>
              <a:br>
                <a:rPr lang="en-GB" sz="675" b="0" dirty="0">
                  <a:solidFill>
                    <a:srgbClr val="001965"/>
                  </a:solidFill>
                  <a:latin typeface="Verdana"/>
                </a:rPr>
              </a:br>
              <a:r>
                <a:rPr lang="en-GB" sz="675" b="0" dirty="0">
                  <a:solidFill>
                    <a:srgbClr val="001965"/>
                  </a:solidFill>
                  <a:latin typeface="Verdana"/>
                </a:rPr>
                <a:t>(Insulin degludec, insulin)</a:t>
              </a:r>
              <a:br>
                <a:rPr lang="en-GB" sz="675" b="0" dirty="0">
                  <a:solidFill>
                    <a:srgbClr val="001965"/>
                  </a:solidFill>
                  <a:latin typeface="Verdana"/>
                </a:rPr>
              </a:br>
              <a:r>
                <a:rPr lang="en-GB" sz="675" b="0" dirty="0">
                  <a:solidFill>
                    <a:srgbClr val="001965"/>
                  </a:solidFill>
                  <a:latin typeface="Verdana"/>
                </a:rPr>
                <a:t>n=7637; duration ~2 years</a:t>
              </a:r>
              <a:br>
                <a:rPr lang="en-GB" sz="675" b="0" dirty="0">
                  <a:solidFill>
                    <a:srgbClr val="001965"/>
                  </a:solidFill>
                  <a:latin typeface="Verdana"/>
                </a:rPr>
              </a:br>
              <a:r>
                <a:rPr lang="en-GB" sz="675" b="0" dirty="0">
                  <a:solidFill>
                    <a:srgbClr val="001965"/>
                  </a:solidFill>
                  <a:latin typeface="Verdana"/>
                </a:rPr>
                <a:t>Q2 2017 </a:t>
              </a:r>
              <a:r>
                <a:rPr lang="en-GB" sz="675" b="0" dirty="0">
                  <a:solidFill>
                    <a:srgbClr val="001965"/>
                  </a:solidFill>
                  <a:latin typeface="Verdana"/>
                  <a:ea typeface="Verdana" panose="020B0604030504040204" pitchFamily="34" charset="0"/>
                  <a:cs typeface="Verdana" panose="020B0604030504040204" pitchFamily="34" charset="0"/>
                </a:rPr>
                <a:t>–</a:t>
              </a:r>
              <a:r>
                <a:rPr lang="en-GB" sz="675" b="0" dirty="0">
                  <a:solidFill>
                    <a:srgbClr val="001965"/>
                  </a:solidFill>
                  <a:latin typeface="Verdana"/>
                </a:rPr>
                <a:t> </a:t>
              </a:r>
              <a:r>
                <a:rPr lang="en-GB" sz="675" dirty="0">
                  <a:solidFill>
                    <a:srgbClr val="001965"/>
                  </a:solidFill>
                  <a:latin typeface="Verdana"/>
                </a:rPr>
                <a:t>RESULTS</a:t>
              </a:r>
            </a:p>
          </p:txBody>
        </p:sp>
      </p:grpSp>
      <p:grpSp>
        <p:nvGrpSpPr>
          <p:cNvPr id="257" name="Group 256"/>
          <p:cNvGrpSpPr/>
          <p:nvPr/>
        </p:nvGrpSpPr>
        <p:grpSpPr>
          <a:xfrm>
            <a:off x="1544529" y="1350868"/>
            <a:ext cx="7077280" cy="4580839"/>
            <a:chOff x="2246944" y="1281196"/>
            <a:chExt cx="9436366" cy="4580838"/>
          </a:xfrm>
        </p:grpSpPr>
        <p:sp>
          <p:nvSpPr>
            <p:cNvPr id="258" name="AutoShape 18"/>
            <p:cNvSpPr>
              <a:spLocks noChangeArrowheads="1"/>
            </p:cNvSpPr>
            <p:nvPr>
              <p:custDataLst>
                <p:tags r:id="rId19"/>
              </p:custDataLst>
            </p:nvPr>
          </p:nvSpPr>
          <p:spPr bwMode="auto">
            <a:xfrm>
              <a:off x="4941808" y="5574034"/>
              <a:ext cx="1403567" cy="288000"/>
            </a:xfrm>
            <a:prstGeom prst="roundRect">
              <a:avLst>
                <a:gd name="adj" fmla="val 9375"/>
              </a:avLst>
            </a:prstGeom>
            <a:noFill/>
            <a:ln w="19050">
              <a:solidFill>
                <a:schemeClr val="accent1"/>
              </a:solidFill>
              <a:round/>
              <a:headEnd/>
              <a:tailEnd/>
            </a:ln>
          </p:spPr>
          <p:txBody>
            <a:bodyPr wrap="none" lIns="71985" tIns="71985" rIns="71985" bIns="71985" anchor="ctr"/>
            <a:lstStyle/>
            <a:p>
              <a:pPr algn="ctr" defTabSz="685528"/>
              <a:r>
                <a:rPr lang="en-GB" sz="825" b="0" dirty="0">
                  <a:solidFill>
                    <a:srgbClr val="001965"/>
                  </a:solidFill>
                  <a:latin typeface="Verdana"/>
                </a:rPr>
                <a:t>SGLT-2i</a:t>
              </a:r>
            </a:p>
          </p:txBody>
        </p:sp>
        <p:sp>
          <p:nvSpPr>
            <p:cNvPr id="259" name="AutoShape 39"/>
            <p:cNvSpPr>
              <a:spLocks noChangeArrowheads="1"/>
            </p:cNvSpPr>
            <p:nvPr>
              <p:custDataLst>
                <p:tags r:id="rId20"/>
              </p:custDataLst>
            </p:nvPr>
          </p:nvSpPr>
          <p:spPr bwMode="auto">
            <a:xfrm>
              <a:off x="2246944" y="1281196"/>
              <a:ext cx="2160000" cy="660337"/>
            </a:xfrm>
            <a:prstGeom prst="roundRect">
              <a:avLst>
                <a:gd name="adj" fmla="val 9375"/>
              </a:avLst>
            </a:prstGeom>
            <a:solidFill>
              <a:schemeClr val="accent1"/>
            </a:solidFill>
            <a:ln w="19050" algn="ctr">
              <a:solidFill>
                <a:schemeClr val="accent1"/>
              </a:solidFill>
              <a:prstDash val="solid"/>
              <a:round/>
              <a:headEnd/>
              <a:tailEnd/>
            </a:ln>
          </p:spPr>
          <p:txBody>
            <a:bodyPr wrap="square" lIns="35990" tIns="35990" rIns="35990" bIns="35990" anchor="ctr">
              <a:noAutofit/>
            </a:bodyPr>
            <a:lstStyle/>
            <a:p>
              <a:pPr algn="ctr" defTabSz="685528"/>
              <a:r>
                <a:rPr lang="en-GB" sz="675" dirty="0">
                  <a:solidFill>
                    <a:srgbClr val="FFFFFF"/>
                  </a:solidFill>
                  <a:latin typeface="Verdana"/>
                </a:rPr>
                <a:t>EMPA-REG OUTCOME</a:t>
              </a:r>
              <a:br>
                <a:rPr lang="en-GB" sz="675" dirty="0">
                  <a:solidFill>
                    <a:srgbClr val="FFFFFF"/>
                  </a:solidFill>
                  <a:latin typeface="Verdana"/>
                </a:rPr>
              </a:br>
              <a:r>
                <a:rPr lang="en-GB" sz="675" b="0" dirty="0">
                  <a:solidFill>
                    <a:srgbClr val="FFFFFF"/>
                  </a:solidFill>
                  <a:latin typeface="Verdana"/>
                </a:rPr>
                <a:t>(Empagliflozin, SGLT-2i)</a:t>
              </a:r>
              <a:br>
                <a:rPr lang="en-GB" sz="675" b="0" dirty="0">
                  <a:solidFill>
                    <a:srgbClr val="FFFFFF"/>
                  </a:solidFill>
                  <a:latin typeface="Verdana"/>
                </a:rPr>
              </a:br>
              <a:r>
                <a:rPr lang="en-GB" sz="675" b="0" dirty="0">
                  <a:solidFill>
                    <a:srgbClr val="FFFFFF"/>
                  </a:solidFill>
                  <a:latin typeface="Verdana"/>
                </a:rPr>
                <a:t>n=7000; duration up to 5 years Q3 2015 </a:t>
              </a:r>
              <a:r>
                <a:rPr lang="en-GB" sz="675" b="0" dirty="0">
                  <a:solidFill>
                    <a:srgbClr val="FFFFFF"/>
                  </a:solidFill>
                  <a:latin typeface="Verdana"/>
                  <a:ea typeface="Verdana" panose="020B0604030504040204" pitchFamily="34" charset="0"/>
                  <a:cs typeface="Verdana" panose="020B0604030504040204" pitchFamily="34" charset="0"/>
                </a:rPr>
                <a:t>–</a:t>
              </a:r>
              <a:r>
                <a:rPr lang="en-GB" sz="675" b="0" dirty="0">
                  <a:solidFill>
                    <a:srgbClr val="FFFFFF"/>
                  </a:solidFill>
                  <a:latin typeface="Verdana"/>
                </a:rPr>
                <a:t> </a:t>
              </a:r>
              <a:r>
                <a:rPr lang="en-GB" sz="675" dirty="0">
                  <a:solidFill>
                    <a:srgbClr val="FFFFFF"/>
                  </a:solidFill>
                  <a:latin typeface="Verdana"/>
                </a:rPr>
                <a:t>RESULTS</a:t>
              </a:r>
            </a:p>
          </p:txBody>
        </p:sp>
        <p:cxnSp>
          <p:nvCxnSpPr>
            <p:cNvPr id="260" name="Straight Connector 259"/>
            <p:cNvCxnSpPr/>
            <p:nvPr/>
          </p:nvCxnSpPr>
          <p:spPr>
            <a:xfrm>
              <a:off x="3728305" y="1938127"/>
              <a:ext cx="0" cy="8877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1" name="AutoShape 15"/>
            <p:cNvSpPr>
              <a:spLocks noChangeArrowheads="1"/>
            </p:cNvSpPr>
            <p:nvPr>
              <p:custDataLst>
                <p:tags r:id="rId21"/>
              </p:custDataLst>
            </p:nvPr>
          </p:nvSpPr>
          <p:spPr bwMode="auto">
            <a:xfrm>
              <a:off x="5408725" y="2069689"/>
              <a:ext cx="2076254" cy="660337"/>
            </a:xfrm>
            <a:prstGeom prst="roundRect">
              <a:avLst>
                <a:gd name="adj" fmla="val 9375"/>
              </a:avLst>
            </a:prstGeom>
            <a:solidFill>
              <a:schemeClr val="accent1"/>
            </a:solidFill>
            <a:ln w="19050" algn="ctr">
              <a:solidFill>
                <a:schemeClr val="accent1"/>
              </a:solidFill>
              <a:prstDash val="solid"/>
              <a:round/>
              <a:headEnd/>
              <a:tailEnd/>
            </a:ln>
          </p:spPr>
          <p:txBody>
            <a:bodyPr wrap="square" lIns="35990" tIns="35990" rIns="35990" bIns="35990" anchor="ctr">
              <a:noAutofit/>
            </a:bodyPr>
            <a:lstStyle/>
            <a:p>
              <a:pPr algn="ctr" defTabSz="685528"/>
              <a:r>
                <a:rPr lang="en-GB" sz="675" dirty="0">
                  <a:solidFill>
                    <a:srgbClr val="FFFFFF"/>
                  </a:solidFill>
                  <a:latin typeface="Verdana"/>
                </a:rPr>
                <a:t>CANVAS</a:t>
              </a:r>
              <a:br>
                <a:rPr lang="en-GB" sz="675" dirty="0">
                  <a:solidFill>
                    <a:srgbClr val="FFFFFF"/>
                  </a:solidFill>
                  <a:latin typeface="Verdana"/>
                </a:rPr>
              </a:br>
              <a:r>
                <a:rPr lang="en-GB" sz="675" b="0" dirty="0">
                  <a:solidFill>
                    <a:srgbClr val="FFFFFF"/>
                  </a:solidFill>
                  <a:latin typeface="Verdana"/>
                </a:rPr>
                <a:t>(Canagliflozin, SGLT-2i)</a:t>
              </a:r>
              <a:br>
                <a:rPr lang="en-GB" sz="675" b="0" dirty="0">
                  <a:solidFill>
                    <a:srgbClr val="FFFFFF"/>
                  </a:solidFill>
                  <a:latin typeface="Verdana"/>
                </a:rPr>
              </a:br>
              <a:r>
                <a:rPr lang="en-GB" sz="675" b="0" dirty="0">
                  <a:solidFill>
                    <a:srgbClr val="FFFFFF"/>
                  </a:solidFill>
                  <a:latin typeface="Verdana"/>
                </a:rPr>
                <a:t>n=4418; duration 4+ years</a:t>
              </a:r>
              <a:br>
                <a:rPr lang="en-GB" sz="675" b="0" dirty="0">
                  <a:solidFill>
                    <a:srgbClr val="FFFFFF"/>
                  </a:solidFill>
                  <a:latin typeface="Verdana"/>
                </a:rPr>
              </a:br>
              <a:r>
                <a:rPr lang="en-GB" sz="675" b="0" dirty="0">
                  <a:solidFill>
                    <a:srgbClr val="FFFFFF"/>
                  </a:solidFill>
                  <a:latin typeface="Verdana"/>
                </a:rPr>
                <a:t>Q2 2017 </a:t>
              </a:r>
              <a:r>
                <a:rPr lang="en-GB" sz="675" b="0" dirty="0">
                  <a:solidFill>
                    <a:srgbClr val="FFFFFF"/>
                  </a:solidFill>
                  <a:latin typeface="Verdana"/>
                  <a:ea typeface="Verdana" panose="020B0604030504040204" pitchFamily="34" charset="0"/>
                  <a:cs typeface="Verdana" panose="020B0604030504040204" pitchFamily="34" charset="0"/>
                </a:rPr>
                <a:t>–</a:t>
              </a:r>
              <a:r>
                <a:rPr lang="en-GB" sz="675" b="0" dirty="0">
                  <a:solidFill>
                    <a:srgbClr val="FFFFFF"/>
                  </a:solidFill>
                  <a:latin typeface="Verdana"/>
                </a:rPr>
                <a:t> </a:t>
              </a:r>
              <a:r>
                <a:rPr lang="en-GB" sz="675" dirty="0">
                  <a:solidFill>
                    <a:srgbClr val="FFFFFF"/>
                  </a:solidFill>
                  <a:latin typeface="Verdana"/>
                </a:rPr>
                <a:t>RESULTS</a:t>
              </a:r>
            </a:p>
          </p:txBody>
        </p:sp>
        <p:sp>
          <p:nvSpPr>
            <p:cNvPr id="262" name="AutoShape 14"/>
            <p:cNvSpPr>
              <a:spLocks noChangeArrowheads="1"/>
            </p:cNvSpPr>
            <p:nvPr>
              <p:custDataLst>
                <p:tags r:id="rId22"/>
              </p:custDataLst>
            </p:nvPr>
          </p:nvSpPr>
          <p:spPr bwMode="auto">
            <a:xfrm>
              <a:off x="6709818" y="1287648"/>
              <a:ext cx="1799725" cy="660337"/>
            </a:xfrm>
            <a:prstGeom prst="roundRect">
              <a:avLst>
                <a:gd name="adj" fmla="val 9375"/>
              </a:avLst>
            </a:prstGeom>
            <a:solidFill>
              <a:schemeClr val="bg1"/>
            </a:solidFill>
            <a:ln w="19050">
              <a:solidFill>
                <a:schemeClr val="accent1"/>
              </a:solidFill>
              <a:round/>
              <a:headEnd/>
              <a:tailEnd/>
            </a:ln>
          </p:spPr>
          <p:txBody>
            <a:bodyPr wrap="square" lIns="0" tIns="35990" rIns="0" bIns="35990" anchor="ctr">
              <a:noAutofit/>
            </a:bodyPr>
            <a:lstStyle/>
            <a:p>
              <a:pPr algn="ctr" defTabSz="685528">
                <a:defRPr/>
              </a:pPr>
              <a:r>
                <a:rPr lang="en-GB" sz="675" dirty="0">
                  <a:solidFill>
                    <a:srgbClr val="001965"/>
                  </a:solidFill>
                  <a:latin typeface="Verdana"/>
                </a:rPr>
                <a:t>DECLARE-TIMI-58</a:t>
              </a:r>
              <a:br>
                <a:rPr lang="en-GB" sz="675" b="0" dirty="0">
                  <a:solidFill>
                    <a:srgbClr val="001965"/>
                  </a:solidFill>
                  <a:latin typeface="Verdana"/>
                </a:rPr>
              </a:br>
              <a:r>
                <a:rPr lang="en-GB" sz="675" b="0" dirty="0">
                  <a:solidFill>
                    <a:srgbClr val="001965"/>
                  </a:solidFill>
                  <a:latin typeface="Verdana"/>
                </a:rPr>
                <a:t>(Dapagliflozin, SGLT-2i)</a:t>
              </a:r>
            </a:p>
            <a:p>
              <a:pPr algn="ctr" defTabSz="685528">
                <a:defRPr/>
              </a:pPr>
              <a:r>
                <a:rPr lang="en-GB" sz="675" b="0" dirty="0">
                  <a:solidFill>
                    <a:srgbClr val="001965"/>
                  </a:solidFill>
                  <a:latin typeface="Verdana"/>
                </a:rPr>
                <a:t>n=17,276; duration ~6 years</a:t>
              </a:r>
              <a:br>
                <a:rPr lang="en-GB" sz="675" b="0" dirty="0">
                  <a:solidFill>
                    <a:srgbClr val="001965"/>
                  </a:solidFill>
                  <a:latin typeface="Verdana"/>
                </a:rPr>
              </a:br>
              <a:r>
                <a:rPr lang="en-GB" sz="675" b="0" dirty="0">
                  <a:solidFill>
                    <a:srgbClr val="001965"/>
                  </a:solidFill>
                  <a:latin typeface="Verdana"/>
                </a:rPr>
                <a:t>Completion Q3 2018</a:t>
              </a:r>
            </a:p>
          </p:txBody>
        </p:sp>
        <p:cxnSp>
          <p:nvCxnSpPr>
            <p:cNvPr id="263" name="Straight Connector 262"/>
            <p:cNvCxnSpPr/>
            <p:nvPr/>
          </p:nvCxnSpPr>
          <p:spPr>
            <a:xfrm>
              <a:off x="6298431" y="2725140"/>
              <a:ext cx="0" cy="8877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8014821" y="1938127"/>
              <a:ext cx="0" cy="8877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5" name="AutoShape 15"/>
            <p:cNvSpPr>
              <a:spLocks noChangeArrowheads="1"/>
            </p:cNvSpPr>
            <p:nvPr>
              <p:custDataLst>
                <p:tags r:id="rId23"/>
              </p:custDataLst>
            </p:nvPr>
          </p:nvSpPr>
          <p:spPr bwMode="auto">
            <a:xfrm>
              <a:off x="4561413" y="1289735"/>
              <a:ext cx="2040821" cy="660337"/>
            </a:xfrm>
            <a:prstGeom prst="roundRect">
              <a:avLst>
                <a:gd name="adj" fmla="val 9375"/>
              </a:avLst>
            </a:prstGeom>
            <a:solidFill>
              <a:schemeClr val="accent1"/>
            </a:solidFill>
            <a:ln w="19050" algn="ctr">
              <a:solidFill>
                <a:schemeClr val="accent1"/>
              </a:solidFill>
              <a:prstDash val="solid"/>
              <a:round/>
              <a:headEnd/>
              <a:tailEnd/>
            </a:ln>
          </p:spPr>
          <p:txBody>
            <a:bodyPr wrap="square" lIns="35990" tIns="35990" rIns="35990" bIns="35990" anchor="ctr">
              <a:noAutofit/>
            </a:bodyPr>
            <a:lstStyle/>
            <a:p>
              <a:pPr algn="ctr" defTabSz="685528"/>
              <a:r>
                <a:rPr lang="en-GB" sz="675" dirty="0">
                  <a:solidFill>
                    <a:srgbClr val="FFFFFF"/>
                  </a:solidFill>
                  <a:latin typeface="Verdana"/>
                </a:rPr>
                <a:t>CANVAS-R</a:t>
              </a:r>
              <a:br>
                <a:rPr lang="en-GB" sz="675" dirty="0">
                  <a:solidFill>
                    <a:srgbClr val="FFFFFF"/>
                  </a:solidFill>
                  <a:latin typeface="Verdana"/>
                </a:rPr>
              </a:br>
              <a:r>
                <a:rPr lang="en-GB" sz="675" b="0" dirty="0">
                  <a:solidFill>
                    <a:srgbClr val="FFFFFF"/>
                  </a:solidFill>
                  <a:latin typeface="Verdana"/>
                </a:rPr>
                <a:t>(Canagliflozin, SGLT-2i)</a:t>
              </a:r>
              <a:br>
                <a:rPr lang="en-GB" sz="675" b="0" dirty="0">
                  <a:solidFill>
                    <a:srgbClr val="FFFFFF"/>
                  </a:solidFill>
                  <a:latin typeface="Verdana"/>
                </a:rPr>
              </a:br>
              <a:r>
                <a:rPr lang="en-GB" sz="675" b="0" dirty="0">
                  <a:solidFill>
                    <a:srgbClr val="FFFFFF"/>
                  </a:solidFill>
                  <a:latin typeface="Verdana"/>
                </a:rPr>
                <a:t>n=5826; duration ~3 years</a:t>
              </a:r>
              <a:br>
                <a:rPr lang="en-GB" sz="675" b="0" dirty="0">
                  <a:solidFill>
                    <a:srgbClr val="FFFFFF"/>
                  </a:solidFill>
                  <a:latin typeface="Verdana"/>
                </a:rPr>
              </a:br>
              <a:r>
                <a:rPr lang="en-GB" sz="675" b="0" dirty="0">
                  <a:solidFill>
                    <a:srgbClr val="FFFFFF"/>
                  </a:solidFill>
                  <a:latin typeface="Verdana"/>
                </a:rPr>
                <a:t>Q2 2017 </a:t>
              </a:r>
              <a:r>
                <a:rPr lang="en-GB" sz="675" b="0" dirty="0">
                  <a:solidFill>
                    <a:srgbClr val="FFFFFF"/>
                  </a:solidFill>
                  <a:latin typeface="Verdana"/>
                  <a:ea typeface="Verdana" panose="020B0604030504040204" pitchFamily="34" charset="0"/>
                  <a:cs typeface="Verdana" panose="020B0604030504040204" pitchFamily="34" charset="0"/>
                </a:rPr>
                <a:t>–</a:t>
              </a:r>
              <a:r>
                <a:rPr lang="en-GB" sz="675" b="0" dirty="0">
                  <a:solidFill>
                    <a:srgbClr val="FFFFFF"/>
                  </a:solidFill>
                  <a:latin typeface="Verdana"/>
                </a:rPr>
                <a:t> </a:t>
              </a:r>
              <a:r>
                <a:rPr lang="en-GB" sz="675" dirty="0">
                  <a:solidFill>
                    <a:srgbClr val="FFFFFF"/>
                  </a:solidFill>
                  <a:latin typeface="Verdana"/>
                </a:rPr>
                <a:t>RESULTS</a:t>
              </a:r>
            </a:p>
          </p:txBody>
        </p:sp>
        <p:cxnSp>
          <p:nvCxnSpPr>
            <p:cNvPr id="266" name="Straight Connector 265"/>
            <p:cNvCxnSpPr/>
            <p:nvPr/>
          </p:nvCxnSpPr>
          <p:spPr>
            <a:xfrm>
              <a:off x="6262127" y="1947277"/>
              <a:ext cx="0" cy="8877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7" name="AutoShape 14"/>
            <p:cNvSpPr>
              <a:spLocks noChangeArrowheads="1"/>
            </p:cNvSpPr>
            <p:nvPr>
              <p:custDataLst>
                <p:tags r:id="rId24"/>
              </p:custDataLst>
            </p:nvPr>
          </p:nvSpPr>
          <p:spPr bwMode="auto">
            <a:xfrm>
              <a:off x="8586362" y="1284599"/>
              <a:ext cx="2085488" cy="660945"/>
            </a:xfrm>
            <a:prstGeom prst="roundRect">
              <a:avLst>
                <a:gd name="adj" fmla="val 9375"/>
              </a:avLst>
            </a:prstGeom>
            <a:solidFill>
              <a:schemeClr val="bg1"/>
            </a:solidFill>
            <a:ln w="19050" algn="ctr">
              <a:solidFill>
                <a:schemeClr val="accent1"/>
              </a:solidFill>
              <a:round/>
              <a:headEnd/>
              <a:tailEnd/>
            </a:ln>
          </p:spPr>
          <p:txBody>
            <a:bodyPr wrap="square" lIns="35990" tIns="35990" rIns="35990" bIns="35990" anchor="ctr">
              <a:noAutofit/>
            </a:bodyPr>
            <a:lstStyle/>
            <a:p>
              <a:pPr algn="ctr" defTabSz="685528"/>
              <a:r>
                <a:rPr lang="en-GB" sz="675" dirty="0">
                  <a:solidFill>
                    <a:srgbClr val="001965"/>
                  </a:solidFill>
                  <a:latin typeface="Verdana"/>
                </a:rPr>
                <a:t>CREDENCE (cardio-renal)</a:t>
              </a:r>
              <a:br>
                <a:rPr lang="en-GB" sz="675" b="0" dirty="0">
                  <a:solidFill>
                    <a:srgbClr val="001965"/>
                  </a:solidFill>
                  <a:latin typeface="Verdana"/>
                </a:rPr>
              </a:br>
              <a:r>
                <a:rPr lang="en-GB" sz="675" b="0" dirty="0">
                  <a:solidFill>
                    <a:srgbClr val="001965"/>
                  </a:solidFill>
                  <a:latin typeface="Verdana"/>
                </a:rPr>
                <a:t>(Canagliflozin, SGLT-2i)</a:t>
              </a:r>
              <a:br>
                <a:rPr lang="en-GB" sz="675" b="0" dirty="0">
                  <a:solidFill>
                    <a:srgbClr val="001965"/>
                  </a:solidFill>
                  <a:latin typeface="Verdana"/>
                </a:rPr>
              </a:br>
              <a:r>
                <a:rPr lang="en-GB" sz="675" b="0" dirty="0">
                  <a:solidFill>
                    <a:srgbClr val="001965"/>
                  </a:solidFill>
                  <a:latin typeface="Verdana"/>
                </a:rPr>
                <a:t>n=4462; duration ~5.5 years </a:t>
              </a:r>
              <a:br>
                <a:rPr lang="en-GB" sz="675" b="0" dirty="0">
                  <a:solidFill>
                    <a:srgbClr val="001965"/>
                  </a:solidFill>
                  <a:latin typeface="Verdana"/>
                </a:rPr>
              </a:br>
              <a:r>
                <a:rPr lang="en-GB" sz="675" b="0" dirty="0">
                  <a:solidFill>
                    <a:srgbClr val="001965"/>
                  </a:solidFill>
                  <a:latin typeface="Verdana"/>
                </a:rPr>
                <a:t>Completion Q2 2019</a:t>
              </a:r>
            </a:p>
          </p:txBody>
        </p:sp>
        <p:cxnSp>
          <p:nvCxnSpPr>
            <p:cNvPr id="268" name="Straight Connector 267"/>
            <p:cNvCxnSpPr/>
            <p:nvPr/>
          </p:nvCxnSpPr>
          <p:spPr>
            <a:xfrm>
              <a:off x="8641780" y="1943651"/>
              <a:ext cx="0" cy="8877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a:xfrm>
              <a:off x="9651768" y="3520116"/>
              <a:ext cx="0" cy="8877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0" name="AutoShape 33"/>
            <p:cNvSpPr>
              <a:spLocks noChangeArrowheads="1"/>
            </p:cNvSpPr>
            <p:nvPr>
              <p:custDataLst>
                <p:tags r:id="rId25"/>
              </p:custDataLst>
            </p:nvPr>
          </p:nvSpPr>
          <p:spPr bwMode="auto">
            <a:xfrm>
              <a:off x="9523309" y="2851852"/>
              <a:ext cx="2160001" cy="660337"/>
            </a:xfrm>
            <a:prstGeom prst="roundRect">
              <a:avLst>
                <a:gd name="adj" fmla="val 9375"/>
              </a:avLst>
            </a:prstGeom>
            <a:solidFill>
              <a:schemeClr val="bg1"/>
            </a:solidFill>
            <a:ln w="19050">
              <a:solidFill>
                <a:schemeClr val="accent1"/>
              </a:solidFill>
              <a:round/>
              <a:headEnd/>
              <a:tailEnd/>
            </a:ln>
          </p:spPr>
          <p:txBody>
            <a:bodyPr wrap="square" lIns="35990" tIns="35990" rIns="35990" bIns="35990" anchor="ctr">
              <a:noAutofit/>
            </a:bodyPr>
            <a:lstStyle/>
            <a:p>
              <a:pPr algn="ctr" defTabSz="685528"/>
              <a:r>
                <a:rPr lang="en-GB" sz="675" dirty="0">
                  <a:solidFill>
                    <a:srgbClr val="001965"/>
                  </a:solidFill>
                  <a:latin typeface="Verdana"/>
                </a:rPr>
                <a:t>VERTIS CV</a:t>
              </a:r>
            </a:p>
            <a:p>
              <a:pPr algn="ctr" defTabSz="685528"/>
              <a:r>
                <a:rPr lang="en-GB" sz="675" b="0" dirty="0">
                  <a:solidFill>
                    <a:srgbClr val="001965"/>
                  </a:solidFill>
                  <a:latin typeface="Verdana"/>
                </a:rPr>
                <a:t>(Ertugliflozin, SGLT-2i)</a:t>
              </a:r>
              <a:br>
                <a:rPr lang="en-GB" sz="675" b="0" dirty="0">
                  <a:solidFill>
                    <a:srgbClr val="001965"/>
                  </a:solidFill>
                  <a:latin typeface="Verdana"/>
                </a:rPr>
              </a:br>
              <a:r>
                <a:rPr lang="en-GB" sz="675" b="0" dirty="0">
                  <a:solidFill>
                    <a:srgbClr val="001965"/>
                  </a:solidFill>
                  <a:latin typeface="Verdana"/>
                </a:rPr>
                <a:t>n=8000; duration ~6.3 years</a:t>
              </a:r>
              <a:br>
                <a:rPr lang="en-GB" sz="675" b="0" dirty="0">
                  <a:solidFill>
                    <a:srgbClr val="001965"/>
                  </a:solidFill>
                  <a:latin typeface="Verdana"/>
                </a:rPr>
              </a:br>
              <a:r>
                <a:rPr lang="en-GB" sz="675" b="0" dirty="0">
                  <a:solidFill>
                    <a:srgbClr val="001965"/>
                  </a:solidFill>
                  <a:latin typeface="Verdana"/>
                </a:rPr>
                <a:t>Completion Q4 2019</a:t>
              </a:r>
            </a:p>
          </p:txBody>
        </p:sp>
      </p:grpSp>
      <p:grpSp>
        <p:nvGrpSpPr>
          <p:cNvPr id="271" name="Group 270"/>
          <p:cNvGrpSpPr/>
          <p:nvPr/>
        </p:nvGrpSpPr>
        <p:grpSpPr>
          <a:xfrm>
            <a:off x="1887786" y="2141257"/>
            <a:ext cx="5286613" cy="3789416"/>
            <a:chOff x="2704606" y="2071588"/>
            <a:chExt cx="7048817" cy="3789416"/>
          </a:xfrm>
        </p:grpSpPr>
        <p:sp>
          <p:nvSpPr>
            <p:cNvPr id="272" name="AutoShape 18"/>
            <p:cNvSpPr>
              <a:spLocks noChangeArrowheads="1"/>
            </p:cNvSpPr>
            <p:nvPr>
              <p:custDataLst>
                <p:tags r:id="rId10"/>
              </p:custDataLst>
            </p:nvPr>
          </p:nvSpPr>
          <p:spPr bwMode="auto">
            <a:xfrm>
              <a:off x="3454045" y="5573005"/>
              <a:ext cx="1400987" cy="287999"/>
            </a:xfrm>
            <a:prstGeom prst="roundRect">
              <a:avLst>
                <a:gd name="adj" fmla="val 9375"/>
              </a:avLst>
            </a:prstGeom>
            <a:noFill/>
            <a:ln w="19050">
              <a:solidFill>
                <a:schemeClr val="tx1"/>
              </a:solidFill>
              <a:round/>
              <a:headEnd/>
              <a:tailEnd/>
            </a:ln>
          </p:spPr>
          <p:txBody>
            <a:bodyPr wrap="none" lIns="71985" tIns="71985" rIns="71985" bIns="71985" anchor="ctr"/>
            <a:lstStyle/>
            <a:p>
              <a:pPr algn="ctr" defTabSz="685528"/>
              <a:r>
                <a:rPr lang="en-GB" sz="825" b="0" dirty="0">
                  <a:solidFill>
                    <a:srgbClr val="001965"/>
                  </a:solidFill>
                  <a:latin typeface="Verdana"/>
                </a:rPr>
                <a:t>GLP-1RA</a:t>
              </a:r>
            </a:p>
          </p:txBody>
        </p:sp>
        <p:sp>
          <p:nvSpPr>
            <p:cNvPr id="273" name="AutoShape 15"/>
            <p:cNvSpPr>
              <a:spLocks noChangeArrowheads="1"/>
            </p:cNvSpPr>
            <p:nvPr>
              <p:custDataLst>
                <p:tags r:id="rId11"/>
              </p:custDataLst>
            </p:nvPr>
          </p:nvSpPr>
          <p:spPr bwMode="auto">
            <a:xfrm>
              <a:off x="2715359" y="2841339"/>
              <a:ext cx="2160001" cy="660336"/>
            </a:xfrm>
            <a:prstGeom prst="roundRect">
              <a:avLst>
                <a:gd name="adj" fmla="val 9375"/>
              </a:avLst>
            </a:prstGeom>
            <a:solidFill>
              <a:schemeClr val="tx1"/>
            </a:solidFill>
            <a:ln w="19050">
              <a:solidFill>
                <a:schemeClr val="tx1"/>
              </a:solidFill>
              <a:prstDash val="solid"/>
              <a:round/>
              <a:headEnd/>
              <a:tailEnd/>
            </a:ln>
          </p:spPr>
          <p:txBody>
            <a:bodyPr wrap="square" lIns="35990" tIns="35990" rIns="35990" bIns="35990" anchor="ctr">
              <a:noAutofit/>
            </a:bodyPr>
            <a:lstStyle/>
            <a:p>
              <a:pPr algn="ctr" defTabSz="685528"/>
              <a:r>
                <a:rPr lang="en-GB" sz="675" dirty="0">
                  <a:solidFill>
                    <a:srgbClr val="FFFFFF"/>
                  </a:solidFill>
                  <a:latin typeface="Verdana"/>
                </a:rPr>
                <a:t>ELIXA</a:t>
              </a:r>
              <a:br>
                <a:rPr lang="en-GB" sz="675" b="0" dirty="0">
                  <a:solidFill>
                    <a:srgbClr val="FFFFFF"/>
                  </a:solidFill>
                  <a:latin typeface="Verdana"/>
                </a:rPr>
              </a:br>
              <a:r>
                <a:rPr lang="en-GB" sz="675" b="0" dirty="0">
                  <a:solidFill>
                    <a:srgbClr val="FFFFFF"/>
                  </a:solidFill>
                  <a:latin typeface="Verdana"/>
                </a:rPr>
                <a:t>(Lixisenatide, GLP-1RA)</a:t>
              </a:r>
              <a:br>
                <a:rPr lang="en-GB" sz="675" b="0" dirty="0">
                  <a:solidFill>
                    <a:srgbClr val="FFFFFF"/>
                  </a:solidFill>
                  <a:latin typeface="Verdana"/>
                </a:rPr>
              </a:br>
              <a:r>
                <a:rPr lang="en-GB" sz="675" b="0" dirty="0">
                  <a:solidFill>
                    <a:srgbClr val="FFFFFF"/>
                  </a:solidFill>
                  <a:latin typeface="Verdana"/>
                </a:rPr>
                <a:t>n=6068; follow-up ~2 years</a:t>
              </a:r>
              <a:br>
                <a:rPr lang="en-GB" sz="675" b="0" dirty="0">
                  <a:solidFill>
                    <a:srgbClr val="FFFFFF"/>
                  </a:solidFill>
                  <a:latin typeface="Verdana"/>
                </a:rPr>
              </a:br>
              <a:r>
                <a:rPr lang="en-GB" sz="675" b="0" dirty="0">
                  <a:solidFill>
                    <a:srgbClr val="FFFFFF"/>
                  </a:solidFill>
                  <a:latin typeface="Verdana"/>
                </a:rPr>
                <a:t>Q1 2015 </a:t>
              </a:r>
              <a:r>
                <a:rPr lang="en-GB" sz="675" b="0" dirty="0">
                  <a:solidFill>
                    <a:srgbClr val="FFFFFF"/>
                  </a:solidFill>
                  <a:latin typeface="Verdana"/>
                  <a:ea typeface="Verdana" panose="020B0604030504040204" pitchFamily="34" charset="0"/>
                  <a:cs typeface="Verdana" panose="020B0604030504040204" pitchFamily="34" charset="0"/>
                </a:rPr>
                <a:t>– </a:t>
              </a:r>
              <a:r>
                <a:rPr lang="en-GB" sz="675" dirty="0">
                  <a:solidFill>
                    <a:srgbClr val="FFFFFF"/>
                  </a:solidFill>
                  <a:latin typeface="Verdana"/>
                </a:rPr>
                <a:t>RESULTS</a:t>
              </a:r>
              <a:endParaRPr lang="en-GB" sz="675" b="0" dirty="0">
                <a:solidFill>
                  <a:srgbClr val="FFFFFF"/>
                </a:solidFill>
                <a:latin typeface="Verdana"/>
              </a:endParaRPr>
            </a:p>
          </p:txBody>
        </p:sp>
        <p:cxnSp>
          <p:nvCxnSpPr>
            <p:cNvPr id="274" name="Straight Connector 273"/>
            <p:cNvCxnSpPr/>
            <p:nvPr/>
          </p:nvCxnSpPr>
          <p:spPr>
            <a:xfrm>
              <a:off x="3181245" y="3508086"/>
              <a:ext cx="0" cy="8877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75" name="AutoShape 39"/>
            <p:cNvSpPr>
              <a:spLocks noChangeArrowheads="1"/>
            </p:cNvSpPr>
            <p:nvPr>
              <p:custDataLst>
                <p:tags r:id="rId12"/>
              </p:custDataLst>
            </p:nvPr>
          </p:nvSpPr>
          <p:spPr bwMode="auto">
            <a:xfrm>
              <a:off x="4972643" y="2853789"/>
              <a:ext cx="2160001" cy="660336"/>
            </a:xfrm>
            <a:prstGeom prst="roundRect">
              <a:avLst>
                <a:gd name="adj" fmla="val 9375"/>
              </a:avLst>
            </a:prstGeom>
            <a:solidFill>
              <a:schemeClr val="tx1"/>
            </a:solidFill>
            <a:ln w="19050" algn="ctr">
              <a:solidFill>
                <a:schemeClr val="tx1"/>
              </a:solidFill>
              <a:round/>
              <a:headEnd/>
              <a:tailEnd/>
            </a:ln>
          </p:spPr>
          <p:txBody>
            <a:bodyPr wrap="square" lIns="35990" tIns="35990" rIns="35990" bIns="35990" anchor="ctr">
              <a:noAutofit/>
            </a:bodyPr>
            <a:lstStyle/>
            <a:p>
              <a:pPr algn="ctr" defTabSz="685528"/>
              <a:r>
                <a:rPr lang="en-GB" sz="675" dirty="0">
                  <a:solidFill>
                    <a:prstClr val="white"/>
                  </a:solidFill>
                  <a:latin typeface="Verdana"/>
                </a:rPr>
                <a:t>FREEDOM </a:t>
              </a:r>
              <a:br>
                <a:rPr lang="en-GB" sz="675" dirty="0">
                  <a:solidFill>
                    <a:prstClr val="white"/>
                  </a:solidFill>
                  <a:latin typeface="Verdana"/>
                </a:rPr>
              </a:br>
              <a:r>
                <a:rPr lang="en-GB" sz="675" b="0" dirty="0">
                  <a:solidFill>
                    <a:prstClr val="white"/>
                  </a:solidFill>
                  <a:latin typeface="Verdana"/>
                </a:rPr>
                <a:t>(ITCA 650, GLP-1RA in DUROS)</a:t>
              </a:r>
              <a:br>
                <a:rPr lang="en-GB" sz="675" b="0" dirty="0">
                  <a:solidFill>
                    <a:prstClr val="white"/>
                  </a:solidFill>
                  <a:latin typeface="Verdana"/>
                </a:rPr>
              </a:br>
              <a:r>
                <a:rPr lang="en-GB" sz="675" b="0" dirty="0">
                  <a:solidFill>
                    <a:prstClr val="white"/>
                  </a:solidFill>
                  <a:latin typeface="Verdana"/>
                </a:rPr>
                <a:t>n=4000; duration ~2 years</a:t>
              </a:r>
              <a:br>
                <a:rPr lang="en-GB" sz="675" b="0" dirty="0">
                  <a:solidFill>
                    <a:prstClr val="white"/>
                  </a:solidFill>
                  <a:latin typeface="Verdana"/>
                </a:rPr>
              </a:br>
              <a:r>
                <a:rPr lang="en-GB" sz="675" b="0" dirty="0">
                  <a:solidFill>
                    <a:prstClr val="white"/>
                  </a:solidFill>
                  <a:latin typeface="Verdana"/>
                </a:rPr>
                <a:t>Q2 2016 </a:t>
              </a:r>
              <a:r>
                <a:rPr lang="en-GB" sz="675" b="0" dirty="0">
                  <a:solidFill>
                    <a:srgbClr val="FFFFFF"/>
                  </a:solidFill>
                  <a:latin typeface="Verdana"/>
                  <a:ea typeface="Verdana" panose="020B0604030504040204" pitchFamily="34" charset="0"/>
                  <a:cs typeface="Verdana" panose="020B0604030504040204" pitchFamily="34" charset="0"/>
                </a:rPr>
                <a:t>–</a:t>
              </a:r>
              <a:r>
                <a:rPr lang="en-GB" sz="675" b="0" dirty="0">
                  <a:solidFill>
                    <a:prstClr val="white"/>
                  </a:solidFill>
                  <a:latin typeface="Verdana"/>
                </a:rPr>
                <a:t> </a:t>
              </a:r>
              <a:r>
                <a:rPr lang="en-GB" sz="675" dirty="0">
                  <a:solidFill>
                    <a:prstClr val="white"/>
                  </a:solidFill>
                  <a:latin typeface="Verdana"/>
                </a:rPr>
                <a:t>COMPLETED</a:t>
              </a:r>
            </a:p>
          </p:txBody>
        </p:sp>
        <p:sp>
          <p:nvSpPr>
            <p:cNvPr id="276" name="AutoShape 14"/>
            <p:cNvSpPr>
              <a:spLocks noChangeArrowheads="1"/>
            </p:cNvSpPr>
            <p:nvPr>
              <p:custDataLst>
                <p:tags r:id="rId13"/>
              </p:custDataLst>
            </p:nvPr>
          </p:nvSpPr>
          <p:spPr bwMode="auto">
            <a:xfrm>
              <a:off x="7248038" y="2852121"/>
              <a:ext cx="2160001" cy="660336"/>
            </a:xfrm>
            <a:prstGeom prst="roundRect">
              <a:avLst>
                <a:gd name="adj" fmla="val 9375"/>
              </a:avLst>
            </a:prstGeom>
            <a:solidFill>
              <a:schemeClr val="bg1"/>
            </a:solidFill>
            <a:ln w="19050" algn="ctr">
              <a:solidFill>
                <a:schemeClr val="tx1"/>
              </a:solidFill>
              <a:round/>
              <a:headEnd/>
              <a:tailEnd/>
            </a:ln>
          </p:spPr>
          <p:txBody>
            <a:bodyPr wrap="square" lIns="35990" tIns="35990" rIns="35990" bIns="35990" anchor="ctr">
              <a:noAutofit/>
            </a:bodyPr>
            <a:lstStyle/>
            <a:p>
              <a:pPr algn="ctr" defTabSz="685528"/>
              <a:r>
                <a:rPr lang="en-GB" sz="675" dirty="0">
                  <a:solidFill>
                    <a:srgbClr val="001965"/>
                  </a:solidFill>
                  <a:latin typeface="Verdana"/>
                </a:rPr>
                <a:t>REWIND</a:t>
              </a:r>
              <a:br>
                <a:rPr lang="en-GB" sz="675" b="0" dirty="0">
                  <a:solidFill>
                    <a:srgbClr val="001965"/>
                  </a:solidFill>
                  <a:latin typeface="Verdana"/>
                </a:rPr>
              </a:br>
              <a:r>
                <a:rPr lang="en-GB" sz="675" b="0" dirty="0">
                  <a:solidFill>
                    <a:srgbClr val="001965"/>
                  </a:solidFill>
                  <a:latin typeface="Verdana"/>
                </a:rPr>
                <a:t>(Dulaglutide, QW GLP-1RA)</a:t>
              </a:r>
              <a:br>
                <a:rPr lang="en-GB" sz="675" b="0" dirty="0">
                  <a:solidFill>
                    <a:srgbClr val="001965"/>
                  </a:solidFill>
                  <a:latin typeface="Verdana"/>
                </a:rPr>
              </a:br>
              <a:r>
                <a:rPr lang="en-GB" sz="675" b="0" dirty="0">
                  <a:solidFill>
                    <a:srgbClr val="001965"/>
                  </a:solidFill>
                  <a:latin typeface="Verdana"/>
                </a:rPr>
                <a:t>n=9622; duration ~6.5 years</a:t>
              </a:r>
              <a:br>
                <a:rPr lang="en-GB" sz="675" b="0" dirty="0">
                  <a:solidFill>
                    <a:srgbClr val="001965"/>
                  </a:solidFill>
                  <a:latin typeface="Verdana"/>
                </a:rPr>
              </a:br>
              <a:r>
                <a:rPr lang="en-GB" sz="675" b="0" dirty="0">
                  <a:solidFill>
                    <a:srgbClr val="001965"/>
                  </a:solidFill>
                  <a:latin typeface="Verdana"/>
                </a:rPr>
                <a:t>Completion Q3 2018</a:t>
              </a:r>
            </a:p>
          </p:txBody>
        </p:sp>
        <p:sp>
          <p:nvSpPr>
            <p:cNvPr id="277" name="AutoShape 14"/>
            <p:cNvSpPr>
              <a:spLocks noChangeArrowheads="1"/>
            </p:cNvSpPr>
            <p:nvPr>
              <p:custDataLst>
                <p:tags r:id="rId14"/>
              </p:custDataLst>
            </p:nvPr>
          </p:nvSpPr>
          <p:spPr bwMode="auto">
            <a:xfrm>
              <a:off x="3165709" y="2071588"/>
              <a:ext cx="2160001" cy="660336"/>
            </a:xfrm>
            <a:prstGeom prst="roundRect">
              <a:avLst>
                <a:gd name="adj" fmla="val 9375"/>
              </a:avLst>
            </a:prstGeom>
            <a:solidFill>
              <a:schemeClr val="tx1"/>
            </a:solidFill>
            <a:ln w="19050">
              <a:solidFill>
                <a:schemeClr val="tx1"/>
              </a:solidFill>
              <a:prstDash val="solid"/>
              <a:round/>
              <a:headEnd/>
              <a:tailEnd/>
            </a:ln>
          </p:spPr>
          <p:txBody>
            <a:bodyPr wrap="square" lIns="35990" tIns="35990" rIns="35990" bIns="35990" anchor="ctr">
              <a:noAutofit/>
            </a:bodyPr>
            <a:lstStyle/>
            <a:p>
              <a:pPr algn="ctr" defTabSz="685528"/>
              <a:r>
                <a:rPr lang="en-GB" sz="675" dirty="0">
                  <a:solidFill>
                    <a:srgbClr val="FFFFFF"/>
                  </a:solidFill>
                  <a:latin typeface="Verdana"/>
                </a:rPr>
                <a:t>SUSTAIN 6</a:t>
              </a:r>
              <a:br>
                <a:rPr lang="en-GB" sz="675" b="0" dirty="0">
                  <a:solidFill>
                    <a:srgbClr val="FFFFFF"/>
                  </a:solidFill>
                  <a:latin typeface="Verdana"/>
                </a:rPr>
              </a:br>
              <a:r>
                <a:rPr lang="en-GB" sz="675" b="0" dirty="0">
                  <a:solidFill>
                    <a:srgbClr val="FFFFFF"/>
                  </a:solidFill>
                  <a:latin typeface="Verdana"/>
                </a:rPr>
                <a:t>(Semaglutide, QW GLP-1RA)</a:t>
              </a:r>
              <a:br>
                <a:rPr lang="en-GB" sz="675" b="0" dirty="0">
                  <a:solidFill>
                    <a:srgbClr val="FFFFFF"/>
                  </a:solidFill>
                  <a:latin typeface="Verdana"/>
                </a:rPr>
              </a:br>
              <a:r>
                <a:rPr lang="en-GB" sz="675" b="0" dirty="0">
                  <a:solidFill>
                    <a:srgbClr val="FFFFFF"/>
                  </a:solidFill>
                  <a:latin typeface="Verdana"/>
                </a:rPr>
                <a:t>n=3297; duration ~2.8 years</a:t>
              </a:r>
              <a:br>
                <a:rPr lang="en-GB" sz="675" b="0" dirty="0">
                  <a:solidFill>
                    <a:srgbClr val="FFFFFF"/>
                  </a:solidFill>
                  <a:latin typeface="Verdana"/>
                </a:rPr>
              </a:br>
              <a:r>
                <a:rPr lang="en-GB" sz="675" b="0" dirty="0">
                  <a:solidFill>
                    <a:srgbClr val="FFFFFF"/>
                  </a:solidFill>
                  <a:latin typeface="Verdana"/>
                </a:rPr>
                <a:t>Q3 2016 </a:t>
              </a:r>
              <a:r>
                <a:rPr lang="en-GB" sz="675" b="0" dirty="0">
                  <a:solidFill>
                    <a:srgbClr val="FFFFFF"/>
                  </a:solidFill>
                  <a:latin typeface="Verdana"/>
                  <a:ea typeface="Verdana" panose="020B0604030504040204" pitchFamily="34" charset="0"/>
                  <a:cs typeface="Verdana" panose="020B0604030504040204" pitchFamily="34" charset="0"/>
                </a:rPr>
                <a:t>–</a:t>
              </a:r>
              <a:r>
                <a:rPr lang="en-GB" sz="675" b="0" dirty="0">
                  <a:solidFill>
                    <a:srgbClr val="FFFFFF"/>
                  </a:solidFill>
                  <a:latin typeface="Verdana"/>
                </a:rPr>
                <a:t> </a:t>
              </a:r>
              <a:r>
                <a:rPr lang="en-GB" sz="675" dirty="0">
                  <a:solidFill>
                    <a:srgbClr val="FFFFFF"/>
                  </a:solidFill>
                  <a:latin typeface="Verdana"/>
                </a:rPr>
                <a:t>RESULTS</a:t>
              </a:r>
            </a:p>
          </p:txBody>
        </p:sp>
        <p:sp>
          <p:nvSpPr>
            <p:cNvPr id="278" name="AutoShape 16"/>
            <p:cNvSpPr>
              <a:spLocks noChangeArrowheads="1"/>
            </p:cNvSpPr>
            <p:nvPr>
              <p:custDataLst>
                <p:tags r:id="rId15"/>
              </p:custDataLst>
            </p:nvPr>
          </p:nvSpPr>
          <p:spPr bwMode="auto">
            <a:xfrm>
              <a:off x="2704606" y="3633411"/>
              <a:ext cx="2160001" cy="660336"/>
            </a:xfrm>
            <a:prstGeom prst="roundRect">
              <a:avLst>
                <a:gd name="adj" fmla="val 9375"/>
              </a:avLst>
            </a:prstGeom>
            <a:solidFill>
              <a:schemeClr val="tx1"/>
            </a:solidFill>
            <a:ln w="19050">
              <a:solidFill>
                <a:schemeClr val="tx1"/>
              </a:solidFill>
              <a:prstDash val="solid"/>
              <a:round/>
              <a:headEnd/>
              <a:tailEnd/>
            </a:ln>
          </p:spPr>
          <p:txBody>
            <a:bodyPr wrap="square" lIns="35990" tIns="35990" rIns="35990" bIns="35990" anchor="ctr">
              <a:noAutofit/>
            </a:bodyPr>
            <a:lstStyle/>
            <a:p>
              <a:pPr algn="ctr" defTabSz="685528"/>
              <a:r>
                <a:rPr lang="en-GB" sz="675" dirty="0">
                  <a:solidFill>
                    <a:srgbClr val="FFFFFF"/>
                  </a:solidFill>
                  <a:latin typeface="Verdana"/>
                </a:rPr>
                <a:t>LEADER</a:t>
              </a:r>
              <a:br>
                <a:rPr lang="en-GB" sz="675" b="0" dirty="0">
                  <a:solidFill>
                    <a:srgbClr val="FFFFFF"/>
                  </a:solidFill>
                  <a:latin typeface="Verdana"/>
                </a:rPr>
              </a:br>
              <a:r>
                <a:rPr lang="en-GB" sz="675" b="0" dirty="0">
                  <a:solidFill>
                    <a:srgbClr val="FFFFFF"/>
                  </a:solidFill>
                  <a:latin typeface="Verdana"/>
                </a:rPr>
                <a:t>(Liraglutide, GLP-1RA)</a:t>
              </a:r>
              <a:br>
                <a:rPr lang="en-GB" sz="675" b="0" dirty="0">
                  <a:solidFill>
                    <a:srgbClr val="FFFFFF"/>
                  </a:solidFill>
                  <a:latin typeface="Verdana"/>
                </a:rPr>
              </a:br>
              <a:r>
                <a:rPr lang="en-GB" sz="675" b="0" dirty="0">
                  <a:solidFill>
                    <a:srgbClr val="FFFFFF"/>
                  </a:solidFill>
                  <a:latin typeface="Verdana"/>
                </a:rPr>
                <a:t>n=9340; duration 3.5–5 years</a:t>
              </a:r>
              <a:br>
                <a:rPr lang="en-GB" sz="675" b="0" dirty="0">
                  <a:solidFill>
                    <a:srgbClr val="FFFFFF"/>
                  </a:solidFill>
                  <a:latin typeface="Verdana"/>
                </a:rPr>
              </a:br>
              <a:r>
                <a:rPr lang="en-GB" sz="675" b="0" dirty="0">
                  <a:solidFill>
                    <a:srgbClr val="FFFFFF"/>
                  </a:solidFill>
                  <a:latin typeface="Verdana"/>
                </a:rPr>
                <a:t>Q2 2016 </a:t>
              </a:r>
              <a:r>
                <a:rPr lang="en-GB" sz="675" b="0" dirty="0">
                  <a:solidFill>
                    <a:srgbClr val="FFFFFF"/>
                  </a:solidFill>
                  <a:latin typeface="Verdana"/>
                  <a:ea typeface="Verdana" panose="020B0604030504040204" pitchFamily="34" charset="0"/>
                  <a:cs typeface="Verdana" panose="020B0604030504040204" pitchFamily="34" charset="0"/>
                </a:rPr>
                <a:t>–</a:t>
              </a:r>
              <a:r>
                <a:rPr lang="en-GB" sz="675" b="0" dirty="0">
                  <a:solidFill>
                    <a:srgbClr val="FFFFFF"/>
                  </a:solidFill>
                  <a:latin typeface="Verdana"/>
                </a:rPr>
                <a:t> </a:t>
              </a:r>
              <a:r>
                <a:rPr lang="en-GB" sz="675" dirty="0">
                  <a:solidFill>
                    <a:srgbClr val="FFFFFF"/>
                  </a:solidFill>
                  <a:latin typeface="Verdana"/>
                </a:rPr>
                <a:t>RESULTS</a:t>
              </a:r>
            </a:p>
          </p:txBody>
        </p:sp>
        <p:cxnSp>
          <p:nvCxnSpPr>
            <p:cNvPr id="279" name="Straight Connector 278"/>
            <p:cNvCxnSpPr/>
            <p:nvPr/>
          </p:nvCxnSpPr>
          <p:spPr>
            <a:xfrm>
              <a:off x="5217891" y="2734563"/>
              <a:ext cx="0" cy="8877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a:xfrm>
              <a:off x="7691788" y="3504317"/>
              <a:ext cx="0" cy="8877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a:off x="4794953" y="4288122"/>
              <a:ext cx="0" cy="8877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82" name="AutoShape 14"/>
            <p:cNvSpPr>
              <a:spLocks noChangeArrowheads="1"/>
            </p:cNvSpPr>
            <p:nvPr>
              <p:custDataLst>
                <p:tags r:id="rId16"/>
              </p:custDataLst>
            </p:nvPr>
          </p:nvSpPr>
          <p:spPr bwMode="auto">
            <a:xfrm>
              <a:off x="4989867" y="3633407"/>
              <a:ext cx="2160001" cy="660336"/>
            </a:xfrm>
            <a:prstGeom prst="roundRect">
              <a:avLst>
                <a:gd name="adj" fmla="val 9375"/>
              </a:avLst>
            </a:prstGeom>
            <a:solidFill>
              <a:schemeClr val="tx1"/>
            </a:solidFill>
            <a:ln w="19050">
              <a:solidFill>
                <a:schemeClr val="tx1"/>
              </a:solidFill>
              <a:round/>
              <a:headEnd/>
              <a:tailEnd/>
            </a:ln>
          </p:spPr>
          <p:txBody>
            <a:bodyPr wrap="square" lIns="0" tIns="35990" rIns="0" bIns="35990" anchor="ctr">
              <a:noAutofit/>
            </a:bodyPr>
            <a:lstStyle/>
            <a:p>
              <a:pPr algn="ctr" defTabSz="685528"/>
              <a:r>
                <a:rPr lang="en-GB" sz="675" dirty="0">
                  <a:solidFill>
                    <a:prstClr val="white"/>
                  </a:solidFill>
                  <a:latin typeface="Verdana"/>
                </a:rPr>
                <a:t>EXSCEL</a:t>
              </a:r>
              <a:br>
                <a:rPr lang="en-GB" sz="675" b="0" dirty="0">
                  <a:solidFill>
                    <a:prstClr val="white"/>
                  </a:solidFill>
                  <a:latin typeface="Verdana"/>
                </a:rPr>
              </a:br>
              <a:r>
                <a:rPr lang="en-GB" sz="675" b="0" dirty="0">
                  <a:solidFill>
                    <a:prstClr val="white"/>
                  </a:solidFill>
                  <a:latin typeface="Verdana"/>
                </a:rPr>
                <a:t>(Exenatide ER, QW GLP-1RA)</a:t>
              </a:r>
              <a:br>
                <a:rPr lang="en-GB" sz="675" b="0" dirty="0">
                  <a:solidFill>
                    <a:prstClr val="white"/>
                  </a:solidFill>
                  <a:latin typeface="Verdana"/>
                </a:rPr>
              </a:br>
              <a:r>
                <a:rPr lang="en-GB" sz="675" b="0" dirty="0">
                  <a:solidFill>
                    <a:prstClr val="white"/>
                  </a:solidFill>
                  <a:latin typeface="Verdana"/>
                </a:rPr>
                <a:t>n=14,752; follow-up ~3 years</a:t>
              </a:r>
              <a:br>
                <a:rPr lang="en-GB" sz="675" b="0" dirty="0">
                  <a:solidFill>
                    <a:prstClr val="white"/>
                  </a:solidFill>
                  <a:latin typeface="Verdana"/>
                </a:rPr>
              </a:br>
              <a:r>
                <a:rPr lang="en-GB" sz="675" b="0" dirty="0">
                  <a:solidFill>
                    <a:prstClr val="white"/>
                  </a:solidFill>
                  <a:latin typeface="Verdana"/>
                </a:rPr>
                <a:t>Q3 2017 </a:t>
              </a:r>
              <a:r>
                <a:rPr lang="en-GB" sz="675" b="0" dirty="0">
                  <a:solidFill>
                    <a:srgbClr val="FFFFFF"/>
                  </a:solidFill>
                  <a:latin typeface="Verdana"/>
                  <a:ea typeface="Verdana" panose="020B0604030504040204" pitchFamily="34" charset="0"/>
                  <a:cs typeface="Verdana" panose="020B0604030504040204" pitchFamily="34" charset="0"/>
                </a:rPr>
                <a:t>–</a:t>
              </a:r>
              <a:r>
                <a:rPr lang="en-GB" sz="675" b="0" dirty="0">
                  <a:solidFill>
                    <a:prstClr val="white"/>
                  </a:solidFill>
                  <a:latin typeface="Verdana"/>
                </a:rPr>
                <a:t> </a:t>
              </a:r>
              <a:r>
                <a:rPr lang="en-GB" sz="675" dirty="0">
                  <a:solidFill>
                    <a:prstClr val="white"/>
                  </a:solidFill>
                  <a:latin typeface="Verdana"/>
                </a:rPr>
                <a:t>RESULTS </a:t>
              </a:r>
            </a:p>
          </p:txBody>
        </p:sp>
        <p:cxnSp>
          <p:nvCxnSpPr>
            <p:cNvPr id="283" name="Straight Connector 282"/>
            <p:cNvCxnSpPr/>
            <p:nvPr/>
          </p:nvCxnSpPr>
          <p:spPr>
            <a:xfrm>
              <a:off x="6156472" y="4288122"/>
              <a:ext cx="0" cy="8877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AutoShape 14"/>
            <p:cNvSpPr>
              <a:spLocks noChangeArrowheads="1"/>
            </p:cNvSpPr>
            <p:nvPr>
              <p:custDataLst>
                <p:tags r:id="rId17"/>
              </p:custDataLst>
            </p:nvPr>
          </p:nvSpPr>
          <p:spPr bwMode="auto">
            <a:xfrm>
              <a:off x="7246815" y="3633407"/>
              <a:ext cx="2160001" cy="660336"/>
            </a:xfrm>
            <a:prstGeom prst="roundRect">
              <a:avLst>
                <a:gd name="adj" fmla="val 9375"/>
              </a:avLst>
            </a:prstGeom>
            <a:solidFill>
              <a:schemeClr val="bg1"/>
            </a:solidFill>
            <a:ln w="19050">
              <a:solidFill>
                <a:schemeClr val="tx1"/>
              </a:solidFill>
              <a:round/>
              <a:headEnd/>
              <a:tailEnd/>
            </a:ln>
          </p:spPr>
          <p:txBody>
            <a:bodyPr wrap="square" lIns="0" tIns="35990" rIns="0" bIns="35990" anchor="ctr">
              <a:noAutofit/>
            </a:bodyPr>
            <a:lstStyle/>
            <a:p>
              <a:pPr algn="ctr" defTabSz="685528"/>
              <a:r>
                <a:rPr lang="en-GB" sz="675" dirty="0">
                  <a:solidFill>
                    <a:srgbClr val="001965"/>
                  </a:solidFill>
                  <a:latin typeface="Verdana"/>
                </a:rPr>
                <a:t>HARMONY OUTCOMES</a:t>
              </a:r>
              <a:br>
                <a:rPr lang="en-GB" sz="675" dirty="0">
                  <a:solidFill>
                    <a:srgbClr val="001965"/>
                  </a:solidFill>
                  <a:latin typeface="Verdana"/>
                </a:rPr>
              </a:br>
              <a:r>
                <a:rPr lang="en-GB" sz="675" b="0" dirty="0">
                  <a:solidFill>
                    <a:srgbClr val="001965"/>
                  </a:solidFill>
                  <a:latin typeface="Verdana"/>
                </a:rPr>
                <a:t>(Albiglutide, QW GLP-1RA)</a:t>
              </a:r>
              <a:br>
                <a:rPr lang="en-GB" sz="675" b="0" dirty="0">
                  <a:solidFill>
                    <a:srgbClr val="001965"/>
                  </a:solidFill>
                  <a:latin typeface="Verdana"/>
                </a:rPr>
              </a:br>
              <a:r>
                <a:rPr lang="en-GB" sz="675" b="0" dirty="0">
                  <a:solidFill>
                    <a:srgbClr val="001965"/>
                  </a:solidFill>
                  <a:latin typeface="Verdana"/>
                </a:rPr>
                <a:t>n~9400; duration ~4 years</a:t>
              </a:r>
              <a:br>
                <a:rPr lang="en-GB" sz="675" b="0" dirty="0">
                  <a:solidFill>
                    <a:srgbClr val="001965"/>
                  </a:solidFill>
                  <a:latin typeface="Verdana"/>
                </a:rPr>
              </a:br>
              <a:r>
                <a:rPr lang="en-GB" sz="675" b="0" dirty="0">
                  <a:solidFill>
                    <a:srgbClr val="001965"/>
                  </a:solidFill>
                  <a:latin typeface="Verdana"/>
                </a:rPr>
                <a:t>Completion Q2 2018</a:t>
              </a:r>
            </a:p>
          </p:txBody>
        </p:sp>
        <p:cxnSp>
          <p:nvCxnSpPr>
            <p:cNvPr id="285" name="Straight Connector 284"/>
            <p:cNvCxnSpPr/>
            <p:nvPr/>
          </p:nvCxnSpPr>
          <p:spPr>
            <a:xfrm>
              <a:off x="5044071" y="3501675"/>
              <a:ext cx="0" cy="8877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a:off x="7392974" y="4287343"/>
              <a:ext cx="0" cy="8877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87" name="AutoShape 14"/>
            <p:cNvSpPr>
              <a:spLocks noChangeArrowheads="1"/>
            </p:cNvSpPr>
            <p:nvPr>
              <p:custDataLst>
                <p:tags r:id="rId18"/>
              </p:custDataLst>
            </p:nvPr>
          </p:nvSpPr>
          <p:spPr bwMode="auto">
            <a:xfrm>
              <a:off x="7593422" y="2074226"/>
              <a:ext cx="2160001" cy="660336"/>
            </a:xfrm>
            <a:prstGeom prst="roundRect">
              <a:avLst>
                <a:gd name="adj" fmla="val 9375"/>
              </a:avLst>
            </a:prstGeom>
            <a:solidFill>
              <a:schemeClr val="bg1"/>
            </a:solidFill>
            <a:ln w="19050" algn="ctr">
              <a:solidFill>
                <a:schemeClr val="tx1"/>
              </a:solidFill>
              <a:round/>
              <a:headEnd/>
              <a:tailEnd/>
            </a:ln>
          </p:spPr>
          <p:txBody>
            <a:bodyPr wrap="square" lIns="35990" tIns="35990" rIns="35990" bIns="35990" anchor="ctr">
              <a:noAutofit/>
            </a:bodyPr>
            <a:lstStyle/>
            <a:p>
              <a:pPr algn="ctr" defTabSz="685528"/>
              <a:r>
                <a:rPr lang="en-GB" sz="675" dirty="0">
                  <a:solidFill>
                    <a:srgbClr val="001965"/>
                  </a:solidFill>
                  <a:latin typeface="Verdana"/>
                </a:rPr>
                <a:t>PIONEER-6</a:t>
              </a:r>
              <a:br>
                <a:rPr lang="en-GB" sz="675" b="0" dirty="0">
                  <a:solidFill>
                    <a:srgbClr val="001965"/>
                  </a:solidFill>
                  <a:latin typeface="Verdana"/>
                </a:rPr>
              </a:br>
              <a:r>
                <a:rPr lang="en-GB" sz="675" b="0" dirty="0">
                  <a:solidFill>
                    <a:srgbClr val="001965"/>
                  </a:solidFill>
                  <a:latin typeface="Verdana"/>
                </a:rPr>
                <a:t>(Semaglutide, oral OD GLP-1RA)</a:t>
              </a:r>
              <a:br>
                <a:rPr lang="en-GB" sz="675" b="0" dirty="0">
                  <a:solidFill>
                    <a:srgbClr val="001965"/>
                  </a:solidFill>
                  <a:latin typeface="Verdana"/>
                </a:rPr>
              </a:br>
              <a:r>
                <a:rPr lang="en-GB" sz="675" b="0" dirty="0">
                  <a:solidFill>
                    <a:srgbClr val="001965"/>
                  </a:solidFill>
                  <a:latin typeface="Verdana"/>
                </a:rPr>
                <a:t>n=3176; duration ~1.5 years</a:t>
              </a:r>
              <a:br>
                <a:rPr lang="en-GB" sz="675" b="0" dirty="0">
                  <a:solidFill>
                    <a:srgbClr val="001965"/>
                  </a:solidFill>
                  <a:latin typeface="Verdana"/>
                </a:rPr>
              </a:br>
              <a:r>
                <a:rPr lang="en-GB" sz="675" b="0" dirty="0">
                  <a:solidFill>
                    <a:srgbClr val="001965"/>
                  </a:solidFill>
                  <a:latin typeface="Verdana"/>
                </a:rPr>
                <a:t>Completion Q4 2018</a:t>
              </a:r>
            </a:p>
          </p:txBody>
        </p:sp>
        <p:cxnSp>
          <p:nvCxnSpPr>
            <p:cNvPr id="288" name="Straight Connector 287"/>
            <p:cNvCxnSpPr/>
            <p:nvPr/>
          </p:nvCxnSpPr>
          <p:spPr>
            <a:xfrm>
              <a:off x="7996588" y="2734058"/>
              <a:ext cx="0" cy="8877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9" name="Group 288"/>
          <p:cNvGrpSpPr/>
          <p:nvPr/>
        </p:nvGrpSpPr>
        <p:grpSpPr>
          <a:xfrm>
            <a:off x="213507" y="2911029"/>
            <a:ext cx="7505507" cy="3020677"/>
            <a:chOff x="472235" y="2841357"/>
            <a:chExt cx="10007343" cy="3020677"/>
          </a:xfrm>
        </p:grpSpPr>
        <p:sp>
          <p:nvSpPr>
            <p:cNvPr id="290" name="AutoShape 18"/>
            <p:cNvSpPr>
              <a:spLocks noChangeArrowheads="1"/>
            </p:cNvSpPr>
            <p:nvPr>
              <p:custDataLst>
                <p:tags r:id="rId4"/>
              </p:custDataLst>
            </p:nvPr>
          </p:nvSpPr>
          <p:spPr bwMode="auto">
            <a:xfrm>
              <a:off x="1966282" y="5574034"/>
              <a:ext cx="1400987" cy="288000"/>
            </a:xfrm>
            <a:prstGeom prst="roundRect">
              <a:avLst>
                <a:gd name="adj" fmla="val 9375"/>
              </a:avLst>
            </a:prstGeom>
            <a:noFill/>
            <a:ln w="19050">
              <a:solidFill>
                <a:schemeClr val="accent5"/>
              </a:solidFill>
              <a:round/>
              <a:headEnd/>
              <a:tailEnd/>
            </a:ln>
          </p:spPr>
          <p:txBody>
            <a:bodyPr wrap="none" lIns="71985" tIns="71985" rIns="71985" bIns="71985" anchor="ctr"/>
            <a:lstStyle/>
            <a:p>
              <a:pPr algn="ctr" defTabSz="685528"/>
              <a:r>
                <a:rPr lang="en-GB" sz="825" b="0" dirty="0">
                  <a:solidFill>
                    <a:srgbClr val="001965"/>
                  </a:solidFill>
                  <a:latin typeface="Verdana"/>
                </a:rPr>
                <a:t>DPP-4i</a:t>
              </a:r>
            </a:p>
          </p:txBody>
        </p:sp>
        <p:sp>
          <p:nvSpPr>
            <p:cNvPr id="291" name="AutoShape 19"/>
            <p:cNvSpPr>
              <a:spLocks noChangeArrowheads="1"/>
            </p:cNvSpPr>
            <p:nvPr>
              <p:custDataLst>
                <p:tags r:id="rId5"/>
              </p:custDataLst>
            </p:nvPr>
          </p:nvSpPr>
          <p:spPr bwMode="auto">
            <a:xfrm>
              <a:off x="1592688" y="4401541"/>
              <a:ext cx="2160000" cy="660337"/>
            </a:xfrm>
            <a:prstGeom prst="roundRect">
              <a:avLst>
                <a:gd name="adj" fmla="val 9375"/>
              </a:avLst>
            </a:prstGeom>
            <a:solidFill>
              <a:schemeClr val="accent5"/>
            </a:solidFill>
            <a:ln w="19050" algn="ctr">
              <a:solidFill>
                <a:schemeClr val="accent5"/>
              </a:solidFill>
              <a:prstDash val="solid"/>
              <a:round/>
              <a:headEnd/>
              <a:tailEnd/>
            </a:ln>
          </p:spPr>
          <p:txBody>
            <a:bodyPr wrap="square" lIns="35990" tIns="35990" rIns="35990" bIns="35990" anchor="ctr">
              <a:noAutofit/>
            </a:bodyPr>
            <a:lstStyle/>
            <a:p>
              <a:pPr algn="ctr" defTabSz="685528"/>
              <a:r>
                <a:rPr lang="en-GB" sz="675" dirty="0">
                  <a:solidFill>
                    <a:srgbClr val="FFFFFF"/>
                  </a:solidFill>
                  <a:latin typeface="Verdana"/>
                </a:rPr>
                <a:t>TECOS</a:t>
              </a:r>
              <a:br>
                <a:rPr lang="en-GB" sz="675" b="0" dirty="0">
                  <a:solidFill>
                    <a:srgbClr val="FFFFFF"/>
                  </a:solidFill>
                  <a:latin typeface="Verdana"/>
                </a:rPr>
              </a:br>
              <a:r>
                <a:rPr lang="en-GB" sz="675" b="0" dirty="0">
                  <a:solidFill>
                    <a:srgbClr val="FFFFFF"/>
                  </a:solidFill>
                  <a:latin typeface="Verdana"/>
                </a:rPr>
                <a:t>(Sitagliptin, DPP-4i)</a:t>
              </a:r>
              <a:br>
                <a:rPr lang="en-GB" sz="675" b="0" dirty="0">
                  <a:solidFill>
                    <a:srgbClr val="FFFFFF"/>
                  </a:solidFill>
                  <a:latin typeface="Verdana"/>
                </a:rPr>
              </a:br>
              <a:r>
                <a:rPr lang="en-GB" sz="675" b="0" dirty="0">
                  <a:solidFill>
                    <a:srgbClr val="FFFFFF"/>
                  </a:solidFill>
                  <a:latin typeface="Verdana"/>
                </a:rPr>
                <a:t>n=14,671; duration ~3 years</a:t>
              </a:r>
              <a:br>
                <a:rPr lang="en-GB" sz="675" b="0" dirty="0">
                  <a:solidFill>
                    <a:srgbClr val="FFFFFF"/>
                  </a:solidFill>
                  <a:latin typeface="Verdana"/>
                </a:rPr>
              </a:br>
              <a:r>
                <a:rPr lang="en-GB" sz="675" b="0" dirty="0">
                  <a:solidFill>
                    <a:srgbClr val="FFFFFF"/>
                  </a:solidFill>
                  <a:latin typeface="Verdana"/>
                </a:rPr>
                <a:t>Q4 2014 </a:t>
              </a:r>
              <a:r>
                <a:rPr lang="en-GB" sz="675" b="0" dirty="0">
                  <a:solidFill>
                    <a:srgbClr val="FFFFFF"/>
                  </a:solidFill>
                  <a:latin typeface="Verdana"/>
                  <a:ea typeface="Verdana" panose="020B0604030504040204" pitchFamily="34" charset="0"/>
                  <a:cs typeface="Verdana" panose="020B0604030504040204" pitchFamily="34" charset="0"/>
                </a:rPr>
                <a:t>–</a:t>
              </a:r>
              <a:r>
                <a:rPr lang="en-GB" sz="675" b="0" dirty="0">
                  <a:solidFill>
                    <a:srgbClr val="FFFFFF"/>
                  </a:solidFill>
                  <a:latin typeface="Verdana"/>
                </a:rPr>
                <a:t> </a:t>
              </a:r>
              <a:r>
                <a:rPr lang="en-GB" sz="675" dirty="0">
                  <a:solidFill>
                    <a:srgbClr val="FFFFFF"/>
                  </a:solidFill>
                  <a:latin typeface="Verdana"/>
                </a:rPr>
                <a:t>RESULTS</a:t>
              </a:r>
              <a:endParaRPr lang="en-GB" sz="675" b="0" dirty="0">
                <a:solidFill>
                  <a:srgbClr val="FFFFFF"/>
                </a:solidFill>
                <a:latin typeface="Verdana"/>
              </a:endParaRPr>
            </a:p>
          </p:txBody>
        </p:sp>
        <p:sp>
          <p:nvSpPr>
            <p:cNvPr id="292" name="AutoShape 18"/>
            <p:cNvSpPr>
              <a:spLocks noChangeArrowheads="1"/>
            </p:cNvSpPr>
            <p:nvPr>
              <p:custDataLst>
                <p:tags r:id="rId6"/>
              </p:custDataLst>
            </p:nvPr>
          </p:nvSpPr>
          <p:spPr bwMode="auto">
            <a:xfrm>
              <a:off x="472235" y="3633429"/>
              <a:ext cx="2160000" cy="660337"/>
            </a:xfrm>
            <a:prstGeom prst="roundRect">
              <a:avLst>
                <a:gd name="adj" fmla="val 9375"/>
              </a:avLst>
            </a:prstGeom>
            <a:solidFill>
              <a:schemeClr val="accent5"/>
            </a:solidFill>
            <a:ln w="19050">
              <a:solidFill>
                <a:schemeClr val="accent5"/>
              </a:solidFill>
              <a:prstDash val="solid"/>
              <a:round/>
              <a:headEnd/>
              <a:tailEnd/>
            </a:ln>
          </p:spPr>
          <p:txBody>
            <a:bodyPr wrap="square" lIns="35990" tIns="35990" rIns="35990" bIns="35990" anchor="ctr">
              <a:noAutofit/>
            </a:bodyPr>
            <a:lstStyle/>
            <a:p>
              <a:pPr algn="ctr" defTabSz="685528"/>
              <a:r>
                <a:rPr lang="en-GB" sz="675" dirty="0">
                  <a:solidFill>
                    <a:srgbClr val="FFFFFF"/>
                  </a:solidFill>
                  <a:latin typeface="Verdana"/>
                </a:rPr>
                <a:t>SAVOR TIMI-53</a:t>
              </a:r>
              <a:br>
                <a:rPr lang="en-GB" sz="675" dirty="0">
                  <a:solidFill>
                    <a:srgbClr val="FFFFFF"/>
                  </a:solidFill>
                  <a:latin typeface="Verdana"/>
                </a:rPr>
              </a:br>
              <a:r>
                <a:rPr lang="en-GB" sz="675" b="0" dirty="0">
                  <a:solidFill>
                    <a:srgbClr val="FFFFFF"/>
                  </a:solidFill>
                  <a:latin typeface="Verdana"/>
                </a:rPr>
                <a:t>(Saxagliptin, DPP-4i)</a:t>
              </a:r>
              <a:br>
                <a:rPr lang="en-GB" sz="675" b="0" dirty="0">
                  <a:solidFill>
                    <a:srgbClr val="FFFFFF"/>
                  </a:solidFill>
                  <a:latin typeface="Verdana"/>
                </a:rPr>
              </a:br>
              <a:r>
                <a:rPr lang="en-GB" sz="675" b="0" dirty="0">
                  <a:solidFill>
                    <a:srgbClr val="FFFFFF"/>
                  </a:solidFill>
                  <a:latin typeface="Verdana"/>
                </a:rPr>
                <a:t>n=16,492; follow-up ~2 years </a:t>
              </a:r>
            </a:p>
            <a:p>
              <a:pPr algn="ctr" defTabSz="685528"/>
              <a:r>
                <a:rPr lang="en-GB" sz="675" b="0" dirty="0">
                  <a:solidFill>
                    <a:srgbClr val="FFFFFF"/>
                  </a:solidFill>
                  <a:latin typeface="Verdana"/>
                </a:rPr>
                <a:t>Q2 2013 </a:t>
              </a:r>
              <a:r>
                <a:rPr lang="en-GB" sz="675" b="0" dirty="0">
                  <a:solidFill>
                    <a:srgbClr val="FFFFFF"/>
                  </a:solidFill>
                  <a:latin typeface="Verdana"/>
                  <a:ea typeface="Verdana" panose="020B0604030504040204" pitchFamily="34" charset="0"/>
                  <a:cs typeface="Verdana" panose="020B0604030504040204" pitchFamily="34" charset="0"/>
                </a:rPr>
                <a:t>– </a:t>
              </a:r>
              <a:r>
                <a:rPr lang="en-GB" sz="675" dirty="0">
                  <a:solidFill>
                    <a:srgbClr val="FFFFFF"/>
                  </a:solidFill>
                  <a:latin typeface="Verdana"/>
                </a:rPr>
                <a:t>RESULTS</a:t>
              </a:r>
            </a:p>
          </p:txBody>
        </p:sp>
        <p:sp>
          <p:nvSpPr>
            <p:cNvPr id="293" name="AutoShape 37"/>
            <p:cNvSpPr>
              <a:spLocks noChangeArrowheads="1"/>
            </p:cNvSpPr>
            <p:nvPr>
              <p:custDataLst>
                <p:tags r:id="rId7"/>
              </p:custDataLst>
            </p:nvPr>
          </p:nvSpPr>
          <p:spPr bwMode="auto">
            <a:xfrm>
              <a:off x="480363" y="2841357"/>
              <a:ext cx="2160000" cy="660337"/>
            </a:xfrm>
            <a:prstGeom prst="roundRect">
              <a:avLst>
                <a:gd name="adj" fmla="val 9375"/>
              </a:avLst>
            </a:prstGeom>
            <a:solidFill>
              <a:schemeClr val="accent5"/>
            </a:solidFill>
            <a:ln w="19050">
              <a:solidFill>
                <a:schemeClr val="accent5"/>
              </a:solidFill>
              <a:prstDash val="solid"/>
              <a:round/>
              <a:headEnd/>
              <a:tailEnd/>
            </a:ln>
          </p:spPr>
          <p:txBody>
            <a:bodyPr wrap="square" lIns="35990" tIns="35990" rIns="35990" bIns="35990" anchor="ctr">
              <a:noAutofit/>
            </a:bodyPr>
            <a:lstStyle/>
            <a:p>
              <a:pPr algn="ctr" defTabSz="685528"/>
              <a:r>
                <a:rPr lang="en-GB" sz="675" dirty="0">
                  <a:solidFill>
                    <a:srgbClr val="FFFFFF"/>
                  </a:solidFill>
                  <a:latin typeface="Verdana"/>
                </a:rPr>
                <a:t>EXAMINE</a:t>
              </a:r>
              <a:br>
                <a:rPr lang="en-GB" sz="675" dirty="0">
                  <a:solidFill>
                    <a:srgbClr val="FFFFFF"/>
                  </a:solidFill>
                  <a:latin typeface="Verdana"/>
                </a:rPr>
              </a:br>
              <a:r>
                <a:rPr lang="en-GB" sz="675" b="0" dirty="0">
                  <a:solidFill>
                    <a:srgbClr val="FFFFFF"/>
                  </a:solidFill>
                  <a:latin typeface="Verdana"/>
                </a:rPr>
                <a:t>(Alogliptin, DPP-4i) n=5380; </a:t>
              </a:r>
              <a:br>
                <a:rPr lang="en-GB" sz="675" b="0" dirty="0">
                  <a:solidFill>
                    <a:srgbClr val="FFFFFF"/>
                  </a:solidFill>
                  <a:latin typeface="Verdana"/>
                </a:rPr>
              </a:br>
              <a:r>
                <a:rPr lang="en-GB" sz="675" b="0" dirty="0">
                  <a:solidFill>
                    <a:srgbClr val="FFFFFF"/>
                  </a:solidFill>
                  <a:latin typeface="Verdana"/>
                </a:rPr>
                <a:t>follow-up ~1.5 years</a:t>
              </a:r>
              <a:br>
                <a:rPr lang="en-GB" sz="675" b="0" dirty="0">
                  <a:solidFill>
                    <a:srgbClr val="FFFFFF"/>
                  </a:solidFill>
                  <a:latin typeface="Verdana"/>
                </a:rPr>
              </a:br>
              <a:r>
                <a:rPr lang="en-GB" sz="675" b="0" dirty="0">
                  <a:solidFill>
                    <a:srgbClr val="FFFFFF"/>
                  </a:solidFill>
                  <a:latin typeface="Verdana"/>
                </a:rPr>
                <a:t> Q3 2013 </a:t>
              </a:r>
              <a:r>
                <a:rPr lang="en-GB" sz="675" b="0" dirty="0">
                  <a:solidFill>
                    <a:srgbClr val="FFFFFF"/>
                  </a:solidFill>
                  <a:latin typeface="Verdana"/>
                  <a:ea typeface="Verdana" panose="020B0604030504040204" pitchFamily="34" charset="0"/>
                  <a:cs typeface="Verdana" panose="020B0604030504040204" pitchFamily="34" charset="0"/>
                </a:rPr>
                <a:t>– </a:t>
              </a:r>
              <a:r>
                <a:rPr lang="en-GB" sz="675" dirty="0">
                  <a:solidFill>
                    <a:srgbClr val="FFFFFF"/>
                  </a:solidFill>
                  <a:latin typeface="Verdana"/>
                </a:rPr>
                <a:t>RESULTS</a:t>
              </a:r>
            </a:p>
          </p:txBody>
        </p:sp>
        <p:cxnSp>
          <p:nvCxnSpPr>
            <p:cNvPr id="294" name="Straight Connector 293"/>
            <p:cNvCxnSpPr/>
            <p:nvPr/>
          </p:nvCxnSpPr>
          <p:spPr>
            <a:xfrm>
              <a:off x="1375500" y="3509289"/>
              <a:ext cx="0" cy="88777"/>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a:off x="1021084" y="4288142"/>
              <a:ext cx="0" cy="88777"/>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a:xfrm>
              <a:off x="2965940" y="5068789"/>
              <a:ext cx="0" cy="88777"/>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97" name="AutoShape 33"/>
            <p:cNvSpPr>
              <a:spLocks noChangeArrowheads="1"/>
            </p:cNvSpPr>
            <p:nvPr>
              <p:custDataLst>
                <p:tags r:id="rId8"/>
              </p:custDataLst>
            </p:nvPr>
          </p:nvSpPr>
          <p:spPr bwMode="auto">
            <a:xfrm>
              <a:off x="8319578" y="4415314"/>
              <a:ext cx="2160000" cy="660337"/>
            </a:xfrm>
            <a:prstGeom prst="roundRect">
              <a:avLst>
                <a:gd name="adj" fmla="val 9375"/>
              </a:avLst>
            </a:prstGeom>
            <a:solidFill>
              <a:schemeClr val="bg1"/>
            </a:solidFill>
            <a:ln w="19050">
              <a:solidFill>
                <a:schemeClr val="accent5"/>
              </a:solidFill>
              <a:round/>
              <a:headEnd/>
              <a:tailEnd/>
            </a:ln>
          </p:spPr>
          <p:txBody>
            <a:bodyPr wrap="square" lIns="35990" tIns="35990" rIns="35990" bIns="35990" anchor="ctr">
              <a:noAutofit/>
            </a:bodyPr>
            <a:lstStyle/>
            <a:p>
              <a:pPr algn="ctr" defTabSz="685528"/>
              <a:r>
                <a:rPr lang="en-GB" sz="675" dirty="0">
                  <a:solidFill>
                    <a:srgbClr val="001965"/>
                  </a:solidFill>
                  <a:latin typeface="Verdana"/>
                </a:rPr>
                <a:t>CAROLINA</a:t>
              </a:r>
              <a:br>
                <a:rPr lang="en-GB" sz="675" b="0" dirty="0">
                  <a:solidFill>
                    <a:srgbClr val="001965"/>
                  </a:solidFill>
                  <a:latin typeface="Verdana"/>
                </a:rPr>
              </a:br>
              <a:r>
                <a:rPr lang="en-GB" sz="675" b="0" dirty="0">
                  <a:solidFill>
                    <a:srgbClr val="001965"/>
                  </a:solidFill>
                  <a:latin typeface="Verdana"/>
                </a:rPr>
                <a:t>(Linagliptin, DPP-4i vs SU)</a:t>
              </a:r>
              <a:br>
                <a:rPr lang="en-GB" sz="675" b="0" dirty="0">
                  <a:solidFill>
                    <a:srgbClr val="001965"/>
                  </a:solidFill>
                  <a:latin typeface="Verdana"/>
                </a:rPr>
              </a:br>
              <a:r>
                <a:rPr lang="en-GB" sz="675" b="0" dirty="0">
                  <a:solidFill>
                    <a:srgbClr val="001965"/>
                  </a:solidFill>
                  <a:latin typeface="Verdana"/>
                </a:rPr>
                <a:t>n=6072; duration ~8 years </a:t>
              </a:r>
              <a:br>
                <a:rPr lang="en-GB" sz="675" b="0" dirty="0">
                  <a:solidFill>
                    <a:srgbClr val="001965"/>
                  </a:solidFill>
                  <a:latin typeface="Verdana"/>
                </a:rPr>
              </a:br>
              <a:r>
                <a:rPr lang="en-GB" sz="675" b="0" dirty="0">
                  <a:solidFill>
                    <a:srgbClr val="001965"/>
                  </a:solidFill>
                  <a:latin typeface="Verdana"/>
                </a:rPr>
                <a:t>Completion Q1 2019</a:t>
              </a:r>
            </a:p>
          </p:txBody>
        </p:sp>
        <p:sp>
          <p:nvSpPr>
            <p:cNvPr id="298" name="AutoShape 14"/>
            <p:cNvSpPr>
              <a:spLocks noChangeArrowheads="1"/>
            </p:cNvSpPr>
            <p:nvPr>
              <p:custDataLst>
                <p:tags r:id="rId9"/>
              </p:custDataLst>
            </p:nvPr>
          </p:nvSpPr>
          <p:spPr bwMode="auto">
            <a:xfrm>
              <a:off x="6090364" y="4415314"/>
              <a:ext cx="2160000" cy="660337"/>
            </a:xfrm>
            <a:prstGeom prst="roundRect">
              <a:avLst>
                <a:gd name="adj" fmla="val 9375"/>
              </a:avLst>
            </a:prstGeom>
            <a:solidFill>
              <a:srgbClr val="E64A0E"/>
            </a:solidFill>
            <a:ln w="19050">
              <a:solidFill>
                <a:schemeClr val="accent5"/>
              </a:solidFill>
              <a:round/>
              <a:headEnd/>
              <a:tailEnd/>
            </a:ln>
          </p:spPr>
          <p:txBody>
            <a:bodyPr wrap="square" lIns="35990" tIns="35990" rIns="35990" bIns="35990" anchor="ctr">
              <a:noAutofit/>
            </a:bodyPr>
            <a:lstStyle/>
            <a:p>
              <a:pPr algn="ctr" defTabSz="685528"/>
              <a:r>
                <a:rPr lang="en-GB" sz="675" dirty="0">
                  <a:solidFill>
                    <a:srgbClr val="FFFFFF"/>
                  </a:solidFill>
                  <a:latin typeface="Verdana"/>
                </a:rPr>
                <a:t>CARMELINA</a:t>
              </a:r>
              <a:br>
                <a:rPr lang="en-GB" sz="675" b="0" dirty="0">
                  <a:solidFill>
                    <a:srgbClr val="FFFFFF"/>
                  </a:solidFill>
                  <a:latin typeface="Verdana"/>
                </a:rPr>
              </a:br>
              <a:r>
                <a:rPr lang="en-GB" sz="675" b="0" dirty="0">
                  <a:solidFill>
                    <a:srgbClr val="FFFFFF"/>
                  </a:solidFill>
                  <a:latin typeface="Verdana"/>
                </a:rPr>
                <a:t>(</a:t>
              </a:r>
              <a:r>
                <a:rPr lang="en-GB" sz="675" b="0" dirty="0" err="1">
                  <a:solidFill>
                    <a:srgbClr val="FFFFFF"/>
                  </a:solidFill>
                  <a:latin typeface="Verdana"/>
                </a:rPr>
                <a:t>Linagliptin</a:t>
              </a:r>
              <a:r>
                <a:rPr lang="en-GB" sz="675" b="0" dirty="0">
                  <a:solidFill>
                    <a:srgbClr val="FFFFFF"/>
                  </a:solidFill>
                  <a:latin typeface="Verdana"/>
                </a:rPr>
                <a:t>, DPP-4i)</a:t>
              </a:r>
              <a:br>
                <a:rPr lang="en-GB" sz="675" b="0" dirty="0">
                  <a:solidFill>
                    <a:srgbClr val="FFFFFF"/>
                  </a:solidFill>
                  <a:latin typeface="Verdana"/>
                </a:rPr>
              </a:br>
              <a:r>
                <a:rPr lang="en-GB" sz="675" b="0" dirty="0">
                  <a:solidFill>
                    <a:srgbClr val="FFFFFF"/>
                  </a:solidFill>
                  <a:latin typeface="Verdana"/>
                </a:rPr>
                <a:t>n=7003; duration ~4 years </a:t>
              </a:r>
              <a:br>
                <a:rPr lang="en-GB" sz="675" b="0" dirty="0">
                  <a:solidFill>
                    <a:srgbClr val="FFFFFF"/>
                  </a:solidFill>
                  <a:latin typeface="Verdana"/>
                </a:rPr>
              </a:br>
              <a:r>
                <a:rPr lang="en-GB" sz="675" b="0" dirty="0">
                  <a:solidFill>
                    <a:srgbClr val="FFFFFF"/>
                  </a:solidFill>
                  <a:latin typeface="Verdana"/>
                </a:rPr>
                <a:t>Q1 2018 – </a:t>
              </a:r>
              <a:r>
                <a:rPr lang="en-GB" sz="675" dirty="0">
                  <a:solidFill>
                    <a:srgbClr val="FFFFFF"/>
                  </a:solidFill>
                  <a:latin typeface="Verdana"/>
                </a:rPr>
                <a:t>COMPLETED</a:t>
              </a:r>
              <a:endParaRPr lang="en-GB" sz="675" b="0" dirty="0">
                <a:solidFill>
                  <a:srgbClr val="FFFFFF"/>
                </a:solidFill>
                <a:latin typeface="Verdana"/>
              </a:endParaRPr>
            </a:p>
          </p:txBody>
        </p:sp>
        <p:cxnSp>
          <p:nvCxnSpPr>
            <p:cNvPr id="299" name="Straight Connector 298"/>
            <p:cNvCxnSpPr/>
            <p:nvPr/>
          </p:nvCxnSpPr>
          <p:spPr>
            <a:xfrm>
              <a:off x="8451102" y="5078701"/>
              <a:ext cx="0" cy="88777"/>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a:off x="6945206" y="5074774"/>
              <a:ext cx="0" cy="88777"/>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01" name="Group 300"/>
          <p:cNvGrpSpPr/>
          <p:nvPr/>
        </p:nvGrpSpPr>
        <p:grpSpPr>
          <a:xfrm>
            <a:off x="217133" y="2127797"/>
            <a:ext cx="1620000" cy="3803905"/>
            <a:chOff x="477079" y="2058120"/>
            <a:chExt cx="2160000" cy="3803905"/>
          </a:xfrm>
        </p:grpSpPr>
        <p:sp>
          <p:nvSpPr>
            <p:cNvPr id="302" name="AutoShape 37"/>
            <p:cNvSpPr>
              <a:spLocks noChangeArrowheads="1"/>
            </p:cNvSpPr>
            <p:nvPr>
              <p:custDataLst>
                <p:tags r:id="rId2"/>
              </p:custDataLst>
            </p:nvPr>
          </p:nvSpPr>
          <p:spPr bwMode="auto">
            <a:xfrm>
              <a:off x="477079" y="2058120"/>
              <a:ext cx="2160000" cy="660337"/>
            </a:xfrm>
            <a:prstGeom prst="roundRect">
              <a:avLst>
                <a:gd name="adj" fmla="val 9375"/>
              </a:avLst>
            </a:prstGeom>
            <a:solidFill>
              <a:schemeClr val="bg1">
                <a:lumMod val="65000"/>
              </a:schemeClr>
            </a:solidFill>
            <a:ln w="19050">
              <a:solidFill>
                <a:schemeClr val="bg1">
                  <a:lumMod val="65000"/>
                </a:schemeClr>
              </a:solidFill>
              <a:prstDash val="solid"/>
              <a:round/>
              <a:headEnd/>
              <a:tailEnd/>
            </a:ln>
          </p:spPr>
          <p:txBody>
            <a:bodyPr wrap="square" lIns="35990" tIns="35990" rIns="35990" bIns="35990" anchor="ctr">
              <a:noAutofit/>
            </a:bodyPr>
            <a:lstStyle/>
            <a:p>
              <a:pPr algn="ctr" defTabSz="685562"/>
              <a:r>
                <a:rPr lang="en-GB" sz="675" dirty="0">
                  <a:solidFill>
                    <a:srgbClr val="FFFFFF"/>
                  </a:solidFill>
                  <a:latin typeface="Verdana"/>
                </a:rPr>
                <a:t>ALECARDIO</a:t>
              </a:r>
              <a:br>
                <a:rPr lang="en-GB" sz="675" dirty="0">
                  <a:solidFill>
                    <a:srgbClr val="FFFFFF"/>
                  </a:solidFill>
                  <a:latin typeface="Verdana"/>
                </a:rPr>
              </a:br>
              <a:r>
                <a:rPr lang="en-GB" sz="675" b="0" dirty="0">
                  <a:solidFill>
                    <a:srgbClr val="FFFFFF"/>
                  </a:solidFill>
                  <a:latin typeface="Verdana"/>
                </a:rPr>
                <a:t>(Aleglitazar, PPAR-αγ) n=7226; follow-up 2 years</a:t>
              </a:r>
              <a:br>
                <a:rPr lang="en-GB" sz="675" b="0" dirty="0">
                  <a:solidFill>
                    <a:srgbClr val="FFFFFF"/>
                  </a:solidFill>
                  <a:latin typeface="Verdana"/>
                </a:rPr>
              </a:br>
              <a:r>
                <a:rPr lang="en-GB" sz="675" b="0" dirty="0">
                  <a:solidFill>
                    <a:srgbClr val="FFFFFF"/>
                  </a:solidFill>
                  <a:latin typeface="Verdana"/>
                </a:rPr>
                <a:t> Terminated Q3 2013 </a:t>
              </a:r>
              <a:r>
                <a:rPr lang="en-GB" sz="675" b="0" dirty="0">
                  <a:solidFill>
                    <a:srgbClr val="FFFFFF"/>
                  </a:solidFill>
                  <a:latin typeface="Verdana"/>
                  <a:ea typeface="Verdana" panose="020B0604030504040204" pitchFamily="34" charset="0"/>
                  <a:cs typeface="Verdana" panose="020B0604030504040204" pitchFamily="34" charset="0"/>
                </a:rPr>
                <a:t>–</a:t>
              </a:r>
              <a:r>
                <a:rPr lang="en-GB" sz="675" b="0" dirty="0">
                  <a:solidFill>
                    <a:srgbClr val="FFFFFF"/>
                  </a:solidFill>
                  <a:latin typeface="Verdana"/>
                </a:rPr>
                <a:t> </a:t>
              </a:r>
              <a:r>
                <a:rPr lang="en-GB" sz="675" dirty="0">
                  <a:solidFill>
                    <a:srgbClr val="FFFFFF"/>
                  </a:solidFill>
                  <a:latin typeface="Verdana"/>
                </a:rPr>
                <a:t>RESULTS</a:t>
              </a:r>
            </a:p>
          </p:txBody>
        </p:sp>
        <p:cxnSp>
          <p:nvCxnSpPr>
            <p:cNvPr id="303" name="Straight Connector 302"/>
            <p:cNvCxnSpPr/>
            <p:nvPr/>
          </p:nvCxnSpPr>
          <p:spPr>
            <a:xfrm>
              <a:off x="1368850" y="2721892"/>
              <a:ext cx="0" cy="88777"/>
            </a:xfrm>
            <a:prstGeom prst="line">
              <a:avLst/>
            </a:prstGeom>
            <a:solidFill>
              <a:srgbClr val="D41E2A"/>
            </a:solidFill>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04" name="AutoShape 18"/>
            <p:cNvSpPr>
              <a:spLocks noChangeArrowheads="1"/>
            </p:cNvSpPr>
            <p:nvPr>
              <p:custDataLst>
                <p:tags r:id="rId3"/>
              </p:custDataLst>
            </p:nvPr>
          </p:nvSpPr>
          <p:spPr bwMode="auto">
            <a:xfrm>
              <a:off x="478519" y="5574025"/>
              <a:ext cx="1400987" cy="288000"/>
            </a:xfrm>
            <a:prstGeom prst="roundRect">
              <a:avLst>
                <a:gd name="adj" fmla="val 9375"/>
              </a:avLst>
            </a:prstGeom>
            <a:noFill/>
            <a:ln w="19050">
              <a:solidFill>
                <a:schemeClr val="bg1">
                  <a:lumMod val="65000"/>
                </a:schemeClr>
              </a:solidFill>
              <a:round/>
              <a:headEnd/>
              <a:tailEnd/>
            </a:ln>
          </p:spPr>
          <p:txBody>
            <a:bodyPr wrap="none" lIns="71979" tIns="71979" rIns="71979" bIns="71979" anchor="ctr"/>
            <a:lstStyle/>
            <a:p>
              <a:pPr algn="ctr" defTabSz="685562"/>
              <a:r>
                <a:rPr lang="en-GB" sz="825" b="0" dirty="0">
                  <a:solidFill>
                    <a:srgbClr val="001965"/>
                  </a:solidFill>
                  <a:latin typeface="Verdana"/>
                </a:rPr>
                <a:t>PPAR-αγ</a:t>
              </a:r>
            </a:p>
          </p:txBody>
        </p:sp>
      </p:grpSp>
      <p:cxnSp>
        <p:nvCxnSpPr>
          <p:cNvPr id="78" name="Straight Connector 77"/>
          <p:cNvCxnSpPr/>
          <p:nvPr/>
        </p:nvCxnSpPr>
        <p:spPr>
          <a:xfrm>
            <a:off x="8102456" y="4357020"/>
            <a:ext cx="0" cy="8877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AutoShape 14">
            <a:extLst>
              <a:ext uri="{FF2B5EF4-FFF2-40B4-BE49-F238E27FC236}">
                <a16:creationId xmlns:a16="http://schemas.microsoft.com/office/drawing/2014/main" id="{401DDF0F-366F-42B1-AC39-D2679B238220}"/>
              </a:ext>
            </a:extLst>
          </p:cNvPr>
          <p:cNvSpPr>
            <a:spLocks noChangeArrowheads="1"/>
          </p:cNvSpPr>
          <p:nvPr>
            <p:custDataLst>
              <p:tags r:id="rId1"/>
            </p:custDataLst>
          </p:nvPr>
        </p:nvSpPr>
        <p:spPr bwMode="auto">
          <a:xfrm>
            <a:off x="7013301" y="3703076"/>
            <a:ext cx="1620001" cy="660336"/>
          </a:xfrm>
          <a:prstGeom prst="roundRect">
            <a:avLst>
              <a:gd name="adj" fmla="val 9375"/>
            </a:avLst>
          </a:prstGeom>
          <a:noFill/>
          <a:ln w="19050">
            <a:solidFill>
              <a:schemeClr val="tx1"/>
            </a:solidFill>
            <a:round/>
            <a:headEnd/>
            <a:tailEnd/>
          </a:ln>
        </p:spPr>
        <p:txBody>
          <a:bodyPr wrap="square" lIns="0" tIns="35990" rIns="0" bIns="35990" anchor="ctr">
            <a:noAutofit/>
          </a:bodyPr>
          <a:lstStyle/>
          <a:p>
            <a:pPr algn="ctr" defTabSz="685528"/>
            <a:r>
              <a:rPr lang="en-GB" sz="675" dirty="0">
                <a:solidFill>
                  <a:srgbClr val="001965"/>
                </a:solidFill>
                <a:latin typeface="Verdana"/>
              </a:rPr>
              <a:t>NCT03496298</a:t>
            </a:r>
          </a:p>
          <a:p>
            <a:pPr algn="ctr" defTabSz="685528"/>
            <a:r>
              <a:rPr lang="en-GB" sz="675" b="0" dirty="0">
                <a:solidFill>
                  <a:srgbClr val="001965"/>
                </a:solidFill>
                <a:latin typeface="Verdana"/>
              </a:rPr>
              <a:t>(</a:t>
            </a:r>
            <a:r>
              <a:rPr lang="en-GB" sz="675" b="0" dirty="0" err="1">
                <a:solidFill>
                  <a:srgbClr val="001965"/>
                </a:solidFill>
                <a:latin typeface="Verdana"/>
              </a:rPr>
              <a:t>Efpeglenatide</a:t>
            </a:r>
            <a:r>
              <a:rPr lang="en-GB" sz="675" b="0" dirty="0">
                <a:solidFill>
                  <a:srgbClr val="001965"/>
                </a:solidFill>
                <a:latin typeface="Verdana"/>
              </a:rPr>
              <a:t>, QW GLP-1RA)</a:t>
            </a:r>
          </a:p>
          <a:p>
            <a:pPr algn="ctr" defTabSz="685528"/>
            <a:r>
              <a:rPr lang="en-GB" sz="675" b="0" dirty="0">
                <a:solidFill>
                  <a:srgbClr val="001965"/>
                </a:solidFill>
                <a:latin typeface="Verdana"/>
              </a:rPr>
              <a:t>n~4000; duration ~3 years</a:t>
            </a:r>
          </a:p>
          <a:p>
            <a:pPr algn="ctr" defTabSz="685528"/>
            <a:r>
              <a:rPr lang="en-GB" sz="675" b="0" dirty="0">
                <a:solidFill>
                  <a:srgbClr val="001965"/>
                </a:solidFill>
                <a:latin typeface="Verdana"/>
              </a:rPr>
              <a:t>Completion Q2 2021</a:t>
            </a:r>
          </a:p>
        </p:txBody>
      </p:sp>
    </p:spTree>
    <p:extLst>
      <p:ext uri="{BB962C8B-B14F-4D97-AF65-F5344CB8AC3E}">
        <p14:creationId xmlns:p14="http://schemas.microsoft.com/office/powerpoint/2010/main" val="5742693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ext Box 3"/>
          <p:cNvSpPr txBox="1">
            <a:spLocks noChangeArrowheads="1"/>
          </p:cNvSpPr>
          <p:nvPr/>
        </p:nvSpPr>
        <p:spPr bwMode="auto">
          <a:xfrm>
            <a:off x="940704" y="6529392"/>
            <a:ext cx="71863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eaLnBrk="1" hangingPunct="1">
              <a:spcBef>
                <a:spcPct val="0"/>
              </a:spcBef>
              <a:buClrTx/>
              <a:buFontTx/>
              <a:buNone/>
            </a:pPr>
            <a:r>
              <a:rPr lang="en-US" altLang="cs-CZ" sz="1400" b="0" dirty="0" err="1">
                <a:solidFill>
                  <a:srgbClr val="001965"/>
                </a:solidFill>
                <a:latin typeface="Arial Narrow" pitchFamily="34" charset="0"/>
                <a:cs typeface="Arial" pitchFamily="34" charset="0"/>
              </a:rPr>
              <a:t>Baggio</a:t>
            </a:r>
            <a:r>
              <a:rPr lang="en-US" altLang="cs-CZ" sz="1400" b="0" dirty="0">
                <a:solidFill>
                  <a:srgbClr val="001965"/>
                </a:solidFill>
                <a:latin typeface="Arial Narrow" pitchFamily="34" charset="0"/>
                <a:cs typeface="Arial" pitchFamily="34" charset="0"/>
              </a:rPr>
              <a:t>, </a:t>
            </a:r>
            <a:r>
              <a:rPr lang="en-US" altLang="cs-CZ" sz="1400" b="0" dirty="0" err="1">
                <a:solidFill>
                  <a:srgbClr val="001965"/>
                </a:solidFill>
                <a:latin typeface="Arial Narrow" pitchFamily="34" charset="0"/>
                <a:cs typeface="Arial" pitchFamily="34" charset="0"/>
              </a:rPr>
              <a:t>Drucker</a:t>
            </a:r>
            <a:r>
              <a:rPr lang="en-US" altLang="cs-CZ" sz="1400" b="0" dirty="0">
                <a:solidFill>
                  <a:srgbClr val="001965"/>
                </a:solidFill>
                <a:latin typeface="Arial Narrow" pitchFamily="34" charset="0"/>
                <a:cs typeface="Arial" pitchFamily="34" charset="0"/>
              </a:rPr>
              <a:t>. </a:t>
            </a:r>
            <a:r>
              <a:rPr lang="en-US" altLang="cs-CZ" sz="1400" b="0" i="1" dirty="0">
                <a:solidFill>
                  <a:srgbClr val="001965"/>
                </a:solidFill>
                <a:latin typeface="Arial Narrow" pitchFamily="34" charset="0"/>
                <a:cs typeface="Arial" pitchFamily="34" charset="0"/>
              </a:rPr>
              <a:t>Gastroenterology </a:t>
            </a:r>
            <a:r>
              <a:rPr lang="en-US" altLang="cs-CZ" sz="1400" b="0" dirty="0">
                <a:solidFill>
                  <a:srgbClr val="001965"/>
                </a:solidFill>
                <a:latin typeface="Arial Narrow" pitchFamily="34" charset="0"/>
                <a:cs typeface="Arial" pitchFamily="34" charset="0"/>
              </a:rPr>
              <a:t>2007;132:2131‒2157. Reprinted with permission from Elsevier© 2007.</a:t>
            </a:r>
          </a:p>
        </p:txBody>
      </p:sp>
      <p:sp>
        <p:nvSpPr>
          <p:cNvPr id="43011" name="Rectangle 4"/>
          <p:cNvSpPr>
            <a:spLocks noChangeArrowheads="1"/>
          </p:cNvSpPr>
          <p:nvPr/>
        </p:nvSpPr>
        <p:spPr bwMode="auto">
          <a:xfrm>
            <a:off x="1560913" y="1636717"/>
            <a:ext cx="107751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eaLnBrk="1" hangingPunct="1">
              <a:spcBef>
                <a:spcPct val="0"/>
              </a:spcBef>
              <a:buClrTx/>
              <a:buFontTx/>
              <a:buNone/>
            </a:pPr>
            <a:endParaRPr lang="en-US" altLang="cs-CZ" sz="1800" b="0">
              <a:solidFill>
                <a:srgbClr val="001965"/>
              </a:solidFill>
              <a:cs typeface="Arial" pitchFamily="34" charset="0"/>
            </a:endParaRPr>
          </a:p>
        </p:txBody>
      </p:sp>
      <p:sp>
        <p:nvSpPr>
          <p:cNvPr id="43012" name="Rectangle 5"/>
          <p:cNvSpPr>
            <a:spLocks noChangeArrowheads="1"/>
          </p:cNvSpPr>
          <p:nvPr/>
        </p:nvSpPr>
        <p:spPr bwMode="auto">
          <a:xfrm>
            <a:off x="4171951" y="4573592"/>
            <a:ext cx="881063" cy="5381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eaLnBrk="1" hangingPunct="1">
              <a:spcBef>
                <a:spcPct val="0"/>
              </a:spcBef>
              <a:buClrTx/>
              <a:buFontTx/>
              <a:buNone/>
            </a:pPr>
            <a:endParaRPr lang="en-US" altLang="cs-CZ" sz="1800" b="0">
              <a:solidFill>
                <a:srgbClr val="001965"/>
              </a:solidFill>
              <a:cs typeface="Arial" pitchFamily="34" charset="0"/>
            </a:endParaRPr>
          </a:p>
        </p:txBody>
      </p:sp>
      <p:grpSp>
        <p:nvGrpSpPr>
          <p:cNvPr id="43013" name="Group 6"/>
          <p:cNvGrpSpPr>
            <a:grpSpLocks/>
          </p:cNvGrpSpPr>
          <p:nvPr/>
        </p:nvGrpSpPr>
        <p:grpSpPr bwMode="auto">
          <a:xfrm>
            <a:off x="3930257" y="2697166"/>
            <a:ext cx="1248965" cy="1808163"/>
            <a:chOff x="1872" y="1340"/>
            <a:chExt cx="583" cy="535"/>
          </a:xfrm>
        </p:grpSpPr>
        <p:grpSp>
          <p:nvGrpSpPr>
            <p:cNvPr id="43101" name="Group 7"/>
            <p:cNvGrpSpPr>
              <a:grpSpLocks/>
            </p:cNvGrpSpPr>
            <p:nvPr/>
          </p:nvGrpSpPr>
          <p:grpSpPr bwMode="auto">
            <a:xfrm>
              <a:off x="1976" y="1462"/>
              <a:ext cx="395" cy="249"/>
              <a:chOff x="1976" y="1462"/>
              <a:chExt cx="395" cy="249"/>
            </a:xfrm>
          </p:grpSpPr>
          <p:sp>
            <p:nvSpPr>
              <p:cNvPr id="43116" name="Freeform 8"/>
              <p:cNvSpPr>
                <a:spLocks/>
              </p:cNvSpPr>
              <p:nvPr/>
            </p:nvSpPr>
            <p:spPr bwMode="auto">
              <a:xfrm>
                <a:off x="2068" y="1529"/>
                <a:ext cx="264" cy="182"/>
              </a:xfrm>
              <a:custGeom>
                <a:avLst/>
                <a:gdLst>
                  <a:gd name="T0" fmla="*/ 0 w 793"/>
                  <a:gd name="T1" fmla="*/ 0 h 726"/>
                  <a:gd name="T2" fmla="*/ 0 w 793"/>
                  <a:gd name="T3" fmla="*/ 0 h 726"/>
                  <a:gd name="T4" fmla="*/ 0 w 793"/>
                  <a:gd name="T5" fmla="*/ 0 h 726"/>
                  <a:gd name="T6" fmla="*/ 0 w 793"/>
                  <a:gd name="T7" fmla="*/ 0 h 726"/>
                  <a:gd name="T8" fmla="*/ 0 w 793"/>
                  <a:gd name="T9" fmla="*/ 0 h 726"/>
                  <a:gd name="T10" fmla="*/ 0 w 793"/>
                  <a:gd name="T11" fmla="*/ 0 h 726"/>
                  <a:gd name="T12" fmla="*/ 0 w 793"/>
                  <a:gd name="T13" fmla="*/ 0 h 726"/>
                  <a:gd name="T14" fmla="*/ 0 w 793"/>
                  <a:gd name="T15" fmla="*/ 0 h 726"/>
                  <a:gd name="T16" fmla="*/ 0 w 793"/>
                  <a:gd name="T17" fmla="*/ 0 h 726"/>
                  <a:gd name="T18" fmla="*/ 0 w 793"/>
                  <a:gd name="T19" fmla="*/ 0 h 726"/>
                  <a:gd name="T20" fmla="*/ 0 w 793"/>
                  <a:gd name="T21" fmla="*/ 0 h 726"/>
                  <a:gd name="T22" fmla="*/ 0 w 793"/>
                  <a:gd name="T23" fmla="*/ 0 h 726"/>
                  <a:gd name="T24" fmla="*/ 0 w 793"/>
                  <a:gd name="T25" fmla="*/ 0 h 726"/>
                  <a:gd name="T26" fmla="*/ 0 w 793"/>
                  <a:gd name="T27" fmla="*/ 0 h 726"/>
                  <a:gd name="T28" fmla="*/ 0 w 793"/>
                  <a:gd name="T29" fmla="*/ 0 h 726"/>
                  <a:gd name="T30" fmla="*/ 0 w 793"/>
                  <a:gd name="T31" fmla="*/ 0 h 726"/>
                  <a:gd name="T32" fmla="*/ 0 w 793"/>
                  <a:gd name="T33" fmla="*/ 0 h 726"/>
                  <a:gd name="T34" fmla="*/ 0 w 793"/>
                  <a:gd name="T35" fmla="*/ 0 h 726"/>
                  <a:gd name="T36" fmla="*/ 0 w 793"/>
                  <a:gd name="T37" fmla="*/ 0 h 726"/>
                  <a:gd name="T38" fmla="*/ 0 w 793"/>
                  <a:gd name="T39" fmla="*/ 0 h 726"/>
                  <a:gd name="T40" fmla="*/ 0 w 793"/>
                  <a:gd name="T41" fmla="*/ 0 h 726"/>
                  <a:gd name="T42" fmla="*/ 0 w 793"/>
                  <a:gd name="T43" fmla="*/ 0 h 726"/>
                  <a:gd name="T44" fmla="*/ 0 w 793"/>
                  <a:gd name="T45" fmla="*/ 0 h 726"/>
                  <a:gd name="T46" fmla="*/ 0 w 793"/>
                  <a:gd name="T47" fmla="*/ 0 h 726"/>
                  <a:gd name="T48" fmla="*/ 0 w 793"/>
                  <a:gd name="T49" fmla="*/ 0 h 726"/>
                  <a:gd name="T50" fmla="*/ 0 w 793"/>
                  <a:gd name="T51" fmla="*/ 0 h 726"/>
                  <a:gd name="T52" fmla="*/ 0 w 793"/>
                  <a:gd name="T53" fmla="*/ 0 h 726"/>
                  <a:gd name="T54" fmla="*/ 0 w 793"/>
                  <a:gd name="T55" fmla="*/ 0 h 726"/>
                  <a:gd name="T56" fmla="*/ 0 w 793"/>
                  <a:gd name="T57" fmla="*/ 0 h 726"/>
                  <a:gd name="T58" fmla="*/ 0 w 793"/>
                  <a:gd name="T59" fmla="*/ 0 h 726"/>
                  <a:gd name="T60" fmla="*/ 0 w 793"/>
                  <a:gd name="T61" fmla="*/ 0 h 726"/>
                  <a:gd name="T62" fmla="*/ 0 w 793"/>
                  <a:gd name="T63" fmla="*/ 0 h 726"/>
                  <a:gd name="T64" fmla="*/ 0 w 793"/>
                  <a:gd name="T65" fmla="*/ 0 h 726"/>
                  <a:gd name="T66" fmla="*/ 0 w 793"/>
                  <a:gd name="T67" fmla="*/ 0 h 726"/>
                  <a:gd name="T68" fmla="*/ 0 w 793"/>
                  <a:gd name="T69" fmla="*/ 0 h 726"/>
                  <a:gd name="T70" fmla="*/ 0 w 793"/>
                  <a:gd name="T71" fmla="*/ 0 h 726"/>
                  <a:gd name="T72" fmla="*/ 0 w 793"/>
                  <a:gd name="T73" fmla="*/ 0 h 726"/>
                  <a:gd name="T74" fmla="*/ 0 w 793"/>
                  <a:gd name="T75" fmla="*/ 0 h 726"/>
                  <a:gd name="T76" fmla="*/ 0 w 793"/>
                  <a:gd name="T77" fmla="*/ 0 h 726"/>
                  <a:gd name="T78" fmla="*/ 0 w 793"/>
                  <a:gd name="T79" fmla="*/ 0 h 726"/>
                  <a:gd name="T80" fmla="*/ 0 w 793"/>
                  <a:gd name="T81" fmla="*/ 0 h 726"/>
                  <a:gd name="T82" fmla="*/ 0 w 793"/>
                  <a:gd name="T83" fmla="*/ 0 h 726"/>
                  <a:gd name="T84" fmla="*/ 0 w 793"/>
                  <a:gd name="T85" fmla="*/ 0 h 726"/>
                  <a:gd name="T86" fmla="*/ 0 w 793"/>
                  <a:gd name="T87" fmla="*/ 0 h 726"/>
                  <a:gd name="T88" fmla="*/ 0 w 793"/>
                  <a:gd name="T89" fmla="*/ 0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93"/>
                  <a:gd name="T136" fmla="*/ 0 h 726"/>
                  <a:gd name="T137" fmla="*/ 793 w 793"/>
                  <a:gd name="T138" fmla="*/ 726 h 7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93" h="726">
                    <a:moveTo>
                      <a:pt x="360" y="638"/>
                    </a:moveTo>
                    <a:lnTo>
                      <a:pt x="326" y="643"/>
                    </a:lnTo>
                    <a:lnTo>
                      <a:pt x="291" y="664"/>
                    </a:lnTo>
                    <a:lnTo>
                      <a:pt x="268" y="693"/>
                    </a:lnTo>
                    <a:lnTo>
                      <a:pt x="258" y="711"/>
                    </a:lnTo>
                    <a:lnTo>
                      <a:pt x="203" y="718"/>
                    </a:lnTo>
                    <a:lnTo>
                      <a:pt x="171" y="724"/>
                    </a:lnTo>
                    <a:lnTo>
                      <a:pt x="143" y="726"/>
                    </a:lnTo>
                    <a:lnTo>
                      <a:pt x="111" y="724"/>
                    </a:lnTo>
                    <a:lnTo>
                      <a:pt x="77" y="713"/>
                    </a:lnTo>
                    <a:lnTo>
                      <a:pt x="51" y="695"/>
                    </a:lnTo>
                    <a:lnTo>
                      <a:pt x="31" y="669"/>
                    </a:lnTo>
                    <a:lnTo>
                      <a:pt x="20" y="631"/>
                    </a:lnTo>
                    <a:lnTo>
                      <a:pt x="14" y="609"/>
                    </a:lnTo>
                    <a:lnTo>
                      <a:pt x="17" y="583"/>
                    </a:lnTo>
                    <a:lnTo>
                      <a:pt x="29" y="564"/>
                    </a:lnTo>
                    <a:lnTo>
                      <a:pt x="57" y="561"/>
                    </a:lnTo>
                    <a:lnTo>
                      <a:pt x="85" y="563"/>
                    </a:lnTo>
                    <a:lnTo>
                      <a:pt x="109" y="570"/>
                    </a:lnTo>
                    <a:lnTo>
                      <a:pt x="131" y="588"/>
                    </a:lnTo>
                    <a:lnTo>
                      <a:pt x="162" y="601"/>
                    </a:lnTo>
                    <a:lnTo>
                      <a:pt x="221" y="613"/>
                    </a:lnTo>
                    <a:lnTo>
                      <a:pt x="258" y="614"/>
                    </a:lnTo>
                    <a:lnTo>
                      <a:pt x="294" y="609"/>
                    </a:lnTo>
                    <a:lnTo>
                      <a:pt x="322" y="594"/>
                    </a:lnTo>
                    <a:lnTo>
                      <a:pt x="338" y="579"/>
                    </a:lnTo>
                    <a:lnTo>
                      <a:pt x="363" y="554"/>
                    </a:lnTo>
                    <a:lnTo>
                      <a:pt x="388" y="546"/>
                    </a:lnTo>
                    <a:lnTo>
                      <a:pt x="433" y="546"/>
                    </a:lnTo>
                    <a:lnTo>
                      <a:pt x="470" y="542"/>
                    </a:lnTo>
                    <a:lnTo>
                      <a:pt x="502" y="532"/>
                    </a:lnTo>
                    <a:lnTo>
                      <a:pt x="524" y="515"/>
                    </a:lnTo>
                    <a:lnTo>
                      <a:pt x="561" y="484"/>
                    </a:lnTo>
                    <a:lnTo>
                      <a:pt x="494" y="527"/>
                    </a:lnTo>
                    <a:lnTo>
                      <a:pt x="467" y="534"/>
                    </a:lnTo>
                    <a:lnTo>
                      <a:pt x="427" y="542"/>
                    </a:lnTo>
                    <a:lnTo>
                      <a:pt x="386" y="542"/>
                    </a:lnTo>
                    <a:lnTo>
                      <a:pt x="364" y="542"/>
                    </a:lnTo>
                    <a:lnTo>
                      <a:pt x="344" y="521"/>
                    </a:lnTo>
                    <a:lnTo>
                      <a:pt x="322" y="488"/>
                    </a:lnTo>
                    <a:lnTo>
                      <a:pt x="271" y="444"/>
                    </a:lnTo>
                    <a:lnTo>
                      <a:pt x="181" y="378"/>
                    </a:lnTo>
                    <a:lnTo>
                      <a:pt x="136" y="360"/>
                    </a:lnTo>
                    <a:lnTo>
                      <a:pt x="96" y="344"/>
                    </a:lnTo>
                    <a:lnTo>
                      <a:pt x="51" y="322"/>
                    </a:lnTo>
                    <a:lnTo>
                      <a:pt x="29" y="307"/>
                    </a:lnTo>
                    <a:lnTo>
                      <a:pt x="9" y="291"/>
                    </a:lnTo>
                    <a:lnTo>
                      <a:pt x="1" y="261"/>
                    </a:lnTo>
                    <a:lnTo>
                      <a:pt x="0" y="232"/>
                    </a:lnTo>
                    <a:lnTo>
                      <a:pt x="3" y="203"/>
                    </a:lnTo>
                    <a:lnTo>
                      <a:pt x="14" y="175"/>
                    </a:lnTo>
                    <a:lnTo>
                      <a:pt x="35" y="147"/>
                    </a:lnTo>
                    <a:lnTo>
                      <a:pt x="67" y="126"/>
                    </a:lnTo>
                    <a:lnTo>
                      <a:pt x="104" y="111"/>
                    </a:lnTo>
                    <a:lnTo>
                      <a:pt x="140" y="105"/>
                    </a:lnTo>
                    <a:lnTo>
                      <a:pt x="199" y="104"/>
                    </a:lnTo>
                    <a:lnTo>
                      <a:pt x="281" y="110"/>
                    </a:lnTo>
                    <a:lnTo>
                      <a:pt x="348" y="110"/>
                    </a:lnTo>
                    <a:lnTo>
                      <a:pt x="386" y="124"/>
                    </a:lnTo>
                    <a:lnTo>
                      <a:pt x="398" y="151"/>
                    </a:lnTo>
                    <a:lnTo>
                      <a:pt x="398" y="191"/>
                    </a:lnTo>
                    <a:lnTo>
                      <a:pt x="399" y="242"/>
                    </a:lnTo>
                    <a:lnTo>
                      <a:pt x="408" y="191"/>
                    </a:lnTo>
                    <a:lnTo>
                      <a:pt x="401" y="141"/>
                    </a:lnTo>
                    <a:lnTo>
                      <a:pt x="403" y="117"/>
                    </a:lnTo>
                    <a:lnTo>
                      <a:pt x="426" y="101"/>
                    </a:lnTo>
                    <a:lnTo>
                      <a:pt x="442" y="83"/>
                    </a:lnTo>
                    <a:lnTo>
                      <a:pt x="458" y="53"/>
                    </a:lnTo>
                    <a:lnTo>
                      <a:pt x="477" y="16"/>
                    </a:lnTo>
                    <a:lnTo>
                      <a:pt x="499" y="0"/>
                    </a:lnTo>
                    <a:lnTo>
                      <a:pt x="531" y="0"/>
                    </a:lnTo>
                    <a:lnTo>
                      <a:pt x="565" y="9"/>
                    </a:lnTo>
                    <a:lnTo>
                      <a:pt x="587" y="28"/>
                    </a:lnTo>
                    <a:lnTo>
                      <a:pt x="643" y="33"/>
                    </a:lnTo>
                    <a:lnTo>
                      <a:pt x="684" y="38"/>
                    </a:lnTo>
                    <a:lnTo>
                      <a:pt x="723" y="56"/>
                    </a:lnTo>
                    <a:lnTo>
                      <a:pt x="758" y="93"/>
                    </a:lnTo>
                    <a:lnTo>
                      <a:pt x="785" y="156"/>
                    </a:lnTo>
                    <a:lnTo>
                      <a:pt x="792" y="194"/>
                    </a:lnTo>
                    <a:lnTo>
                      <a:pt x="788" y="232"/>
                    </a:lnTo>
                    <a:lnTo>
                      <a:pt x="793" y="273"/>
                    </a:lnTo>
                    <a:lnTo>
                      <a:pt x="785" y="303"/>
                    </a:lnTo>
                    <a:lnTo>
                      <a:pt x="764" y="316"/>
                    </a:lnTo>
                    <a:lnTo>
                      <a:pt x="735" y="334"/>
                    </a:lnTo>
                    <a:lnTo>
                      <a:pt x="714" y="355"/>
                    </a:lnTo>
                    <a:lnTo>
                      <a:pt x="688" y="364"/>
                    </a:lnTo>
                    <a:lnTo>
                      <a:pt x="656" y="360"/>
                    </a:lnTo>
                    <a:lnTo>
                      <a:pt x="643" y="355"/>
                    </a:lnTo>
                    <a:lnTo>
                      <a:pt x="640" y="297"/>
                    </a:lnTo>
                    <a:lnTo>
                      <a:pt x="640" y="245"/>
                    </a:lnTo>
                    <a:lnTo>
                      <a:pt x="626" y="212"/>
                    </a:lnTo>
                    <a:lnTo>
                      <a:pt x="593" y="181"/>
                    </a:lnTo>
                    <a:lnTo>
                      <a:pt x="553" y="147"/>
                    </a:lnTo>
                    <a:lnTo>
                      <a:pt x="543" y="137"/>
                    </a:lnTo>
                    <a:lnTo>
                      <a:pt x="565" y="163"/>
                    </a:lnTo>
                    <a:lnTo>
                      <a:pt x="613" y="206"/>
                    </a:lnTo>
                    <a:lnTo>
                      <a:pt x="630" y="242"/>
                    </a:lnTo>
                    <a:lnTo>
                      <a:pt x="634" y="274"/>
                    </a:lnTo>
                    <a:lnTo>
                      <a:pt x="637" y="353"/>
                    </a:lnTo>
                    <a:lnTo>
                      <a:pt x="578" y="360"/>
                    </a:lnTo>
                    <a:lnTo>
                      <a:pt x="531" y="378"/>
                    </a:lnTo>
                    <a:lnTo>
                      <a:pt x="489" y="392"/>
                    </a:lnTo>
                    <a:lnTo>
                      <a:pt x="458" y="392"/>
                    </a:lnTo>
                    <a:lnTo>
                      <a:pt x="429" y="378"/>
                    </a:lnTo>
                    <a:lnTo>
                      <a:pt x="408" y="356"/>
                    </a:lnTo>
                    <a:lnTo>
                      <a:pt x="372" y="322"/>
                    </a:lnTo>
                    <a:lnTo>
                      <a:pt x="332" y="294"/>
                    </a:lnTo>
                    <a:lnTo>
                      <a:pt x="282" y="274"/>
                    </a:lnTo>
                    <a:lnTo>
                      <a:pt x="230" y="258"/>
                    </a:lnTo>
                    <a:lnTo>
                      <a:pt x="143" y="236"/>
                    </a:lnTo>
                    <a:lnTo>
                      <a:pt x="221" y="267"/>
                    </a:lnTo>
                    <a:lnTo>
                      <a:pt x="282" y="283"/>
                    </a:lnTo>
                    <a:lnTo>
                      <a:pt x="367" y="327"/>
                    </a:lnTo>
                    <a:lnTo>
                      <a:pt x="407" y="368"/>
                    </a:lnTo>
                    <a:lnTo>
                      <a:pt x="446" y="396"/>
                    </a:lnTo>
                    <a:lnTo>
                      <a:pt x="483" y="401"/>
                    </a:lnTo>
                    <a:lnTo>
                      <a:pt x="517" y="393"/>
                    </a:lnTo>
                    <a:lnTo>
                      <a:pt x="552" y="380"/>
                    </a:lnTo>
                    <a:lnTo>
                      <a:pt x="591" y="365"/>
                    </a:lnTo>
                    <a:lnTo>
                      <a:pt x="632" y="360"/>
                    </a:lnTo>
                    <a:lnTo>
                      <a:pt x="680" y="368"/>
                    </a:lnTo>
                    <a:lnTo>
                      <a:pt x="689" y="380"/>
                    </a:lnTo>
                    <a:lnTo>
                      <a:pt x="675" y="420"/>
                    </a:lnTo>
                    <a:lnTo>
                      <a:pt x="673" y="475"/>
                    </a:lnTo>
                    <a:lnTo>
                      <a:pt x="671" y="523"/>
                    </a:lnTo>
                    <a:lnTo>
                      <a:pt x="660" y="563"/>
                    </a:lnTo>
                    <a:lnTo>
                      <a:pt x="644" y="605"/>
                    </a:lnTo>
                    <a:lnTo>
                      <a:pt x="634" y="631"/>
                    </a:lnTo>
                    <a:lnTo>
                      <a:pt x="616" y="650"/>
                    </a:lnTo>
                    <a:lnTo>
                      <a:pt x="591" y="664"/>
                    </a:lnTo>
                    <a:lnTo>
                      <a:pt x="561" y="673"/>
                    </a:lnTo>
                    <a:lnTo>
                      <a:pt x="512" y="684"/>
                    </a:lnTo>
                    <a:lnTo>
                      <a:pt x="481" y="684"/>
                    </a:lnTo>
                    <a:lnTo>
                      <a:pt x="440" y="665"/>
                    </a:lnTo>
                    <a:lnTo>
                      <a:pt x="405" y="647"/>
                    </a:lnTo>
                    <a:lnTo>
                      <a:pt x="360" y="638"/>
                    </a:lnTo>
                    <a:close/>
                  </a:path>
                </a:pathLst>
              </a:custGeom>
              <a:solidFill>
                <a:srgbClr val="FF8080"/>
              </a:solidFill>
              <a:ln w="9525">
                <a:solidFill>
                  <a:srgbClr val="000000"/>
                </a:solidFill>
                <a:prstDash val="solid"/>
                <a:round/>
                <a:headEnd/>
                <a:tailEnd/>
              </a:ln>
            </p:spPr>
            <p:txBody>
              <a:bodyPr/>
              <a:lstStyle/>
              <a:p>
                <a:endParaRPr lang="cs-CZ" sz="1800" b="0">
                  <a:solidFill>
                    <a:srgbClr val="000000"/>
                  </a:solidFill>
                  <a:latin typeface="Arial" panose="020B0604020202020204" pitchFamily="34" charset="0"/>
                </a:endParaRPr>
              </a:p>
            </p:txBody>
          </p:sp>
          <p:sp>
            <p:nvSpPr>
              <p:cNvPr id="43117" name="Freeform 9"/>
              <p:cNvSpPr>
                <a:spLocks/>
              </p:cNvSpPr>
              <p:nvPr/>
            </p:nvSpPr>
            <p:spPr bwMode="auto">
              <a:xfrm>
                <a:off x="1976" y="1484"/>
                <a:ext cx="247" cy="198"/>
              </a:xfrm>
              <a:custGeom>
                <a:avLst/>
                <a:gdLst>
                  <a:gd name="T0" fmla="*/ 0 w 743"/>
                  <a:gd name="T1" fmla="*/ 0 h 793"/>
                  <a:gd name="T2" fmla="*/ 0 w 743"/>
                  <a:gd name="T3" fmla="*/ 0 h 793"/>
                  <a:gd name="T4" fmla="*/ 0 w 743"/>
                  <a:gd name="T5" fmla="*/ 0 h 793"/>
                  <a:gd name="T6" fmla="*/ 0 w 743"/>
                  <a:gd name="T7" fmla="*/ 0 h 793"/>
                  <a:gd name="T8" fmla="*/ 0 w 743"/>
                  <a:gd name="T9" fmla="*/ 0 h 793"/>
                  <a:gd name="T10" fmla="*/ 0 w 743"/>
                  <a:gd name="T11" fmla="*/ 0 h 793"/>
                  <a:gd name="T12" fmla="*/ 0 w 743"/>
                  <a:gd name="T13" fmla="*/ 0 h 793"/>
                  <a:gd name="T14" fmla="*/ 0 w 743"/>
                  <a:gd name="T15" fmla="*/ 0 h 793"/>
                  <a:gd name="T16" fmla="*/ 0 w 743"/>
                  <a:gd name="T17" fmla="*/ 0 h 793"/>
                  <a:gd name="T18" fmla="*/ 0 w 743"/>
                  <a:gd name="T19" fmla="*/ 0 h 793"/>
                  <a:gd name="T20" fmla="*/ 0 w 743"/>
                  <a:gd name="T21" fmla="*/ 0 h 793"/>
                  <a:gd name="T22" fmla="*/ 0 w 743"/>
                  <a:gd name="T23" fmla="*/ 0 h 793"/>
                  <a:gd name="T24" fmla="*/ 0 w 743"/>
                  <a:gd name="T25" fmla="*/ 0 h 793"/>
                  <a:gd name="T26" fmla="*/ 0 w 743"/>
                  <a:gd name="T27" fmla="*/ 0 h 793"/>
                  <a:gd name="T28" fmla="*/ 0 w 743"/>
                  <a:gd name="T29" fmla="*/ 0 h 793"/>
                  <a:gd name="T30" fmla="*/ 0 w 743"/>
                  <a:gd name="T31" fmla="*/ 0 h 793"/>
                  <a:gd name="T32" fmla="*/ 0 w 743"/>
                  <a:gd name="T33" fmla="*/ 0 h 793"/>
                  <a:gd name="T34" fmla="*/ 0 w 743"/>
                  <a:gd name="T35" fmla="*/ 0 h 793"/>
                  <a:gd name="T36" fmla="*/ 0 w 743"/>
                  <a:gd name="T37" fmla="*/ 0 h 793"/>
                  <a:gd name="T38" fmla="*/ 0 w 743"/>
                  <a:gd name="T39" fmla="*/ 0 h 793"/>
                  <a:gd name="T40" fmla="*/ 0 w 743"/>
                  <a:gd name="T41" fmla="*/ 0 h 793"/>
                  <a:gd name="T42" fmla="*/ 0 w 743"/>
                  <a:gd name="T43" fmla="*/ 0 h 793"/>
                  <a:gd name="T44" fmla="*/ 0 w 743"/>
                  <a:gd name="T45" fmla="*/ 0 h 793"/>
                  <a:gd name="T46" fmla="*/ 0 w 743"/>
                  <a:gd name="T47" fmla="*/ 0 h 793"/>
                  <a:gd name="T48" fmla="*/ 0 w 743"/>
                  <a:gd name="T49" fmla="*/ 0 h 793"/>
                  <a:gd name="T50" fmla="*/ 0 w 743"/>
                  <a:gd name="T51" fmla="*/ 0 h 793"/>
                  <a:gd name="T52" fmla="*/ 0 w 743"/>
                  <a:gd name="T53" fmla="*/ 0 h 793"/>
                  <a:gd name="T54" fmla="*/ 0 w 743"/>
                  <a:gd name="T55" fmla="*/ 0 h 793"/>
                  <a:gd name="T56" fmla="*/ 0 w 743"/>
                  <a:gd name="T57" fmla="*/ 0 h 793"/>
                  <a:gd name="T58" fmla="*/ 0 w 743"/>
                  <a:gd name="T59" fmla="*/ 0 h 793"/>
                  <a:gd name="T60" fmla="*/ 0 w 743"/>
                  <a:gd name="T61" fmla="*/ 0 h 793"/>
                  <a:gd name="T62" fmla="*/ 0 w 743"/>
                  <a:gd name="T63" fmla="*/ 0 h 793"/>
                  <a:gd name="T64" fmla="*/ 0 w 743"/>
                  <a:gd name="T65" fmla="*/ 0 h 793"/>
                  <a:gd name="T66" fmla="*/ 0 w 743"/>
                  <a:gd name="T67" fmla="*/ 0 h 793"/>
                  <a:gd name="T68" fmla="*/ 0 w 743"/>
                  <a:gd name="T69" fmla="*/ 0 h 793"/>
                  <a:gd name="T70" fmla="*/ 0 w 743"/>
                  <a:gd name="T71" fmla="*/ 0 h 793"/>
                  <a:gd name="T72" fmla="*/ 0 w 743"/>
                  <a:gd name="T73" fmla="*/ 0 h 793"/>
                  <a:gd name="T74" fmla="*/ 0 w 743"/>
                  <a:gd name="T75" fmla="*/ 0 h 793"/>
                  <a:gd name="T76" fmla="*/ 0 w 743"/>
                  <a:gd name="T77" fmla="*/ 0 h 793"/>
                  <a:gd name="T78" fmla="*/ 0 w 743"/>
                  <a:gd name="T79" fmla="*/ 0 h 793"/>
                  <a:gd name="T80" fmla="*/ 0 w 743"/>
                  <a:gd name="T81" fmla="*/ 0 h 793"/>
                  <a:gd name="T82" fmla="*/ 0 w 743"/>
                  <a:gd name="T83" fmla="*/ 0 h 793"/>
                  <a:gd name="T84" fmla="*/ 0 w 743"/>
                  <a:gd name="T85" fmla="*/ 0 h 793"/>
                  <a:gd name="T86" fmla="*/ 0 w 743"/>
                  <a:gd name="T87" fmla="*/ 0 h 793"/>
                  <a:gd name="T88" fmla="*/ 0 w 743"/>
                  <a:gd name="T89" fmla="*/ 0 h 793"/>
                  <a:gd name="T90" fmla="*/ 0 w 743"/>
                  <a:gd name="T91" fmla="*/ 0 h 793"/>
                  <a:gd name="T92" fmla="*/ 0 w 743"/>
                  <a:gd name="T93" fmla="*/ 0 h 793"/>
                  <a:gd name="T94" fmla="*/ 0 w 743"/>
                  <a:gd name="T95" fmla="*/ 0 h 793"/>
                  <a:gd name="T96" fmla="*/ 0 w 743"/>
                  <a:gd name="T97" fmla="*/ 0 h 793"/>
                  <a:gd name="T98" fmla="*/ 0 w 743"/>
                  <a:gd name="T99" fmla="*/ 0 h 793"/>
                  <a:gd name="T100" fmla="*/ 0 w 743"/>
                  <a:gd name="T101" fmla="*/ 0 h 793"/>
                  <a:gd name="T102" fmla="*/ 0 w 743"/>
                  <a:gd name="T103" fmla="*/ 0 h 793"/>
                  <a:gd name="T104" fmla="*/ 0 w 743"/>
                  <a:gd name="T105" fmla="*/ 0 h 793"/>
                  <a:gd name="T106" fmla="*/ 0 w 743"/>
                  <a:gd name="T107" fmla="*/ 0 h 793"/>
                  <a:gd name="T108" fmla="*/ 0 w 743"/>
                  <a:gd name="T109" fmla="*/ 0 h 793"/>
                  <a:gd name="T110" fmla="*/ 0 w 743"/>
                  <a:gd name="T111" fmla="*/ 0 h 793"/>
                  <a:gd name="T112" fmla="*/ 0 w 743"/>
                  <a:gd name="T113" fmla="*/ 0 h 793"/>
                  <a:gd name="T114" fmla="*/ 0 w 743"/>
                  <a:gd name="T115" fmla="*/ 0 h 793"/>
                  <a:gd name="T116" fmla="*/ 0 w 743"/>
                  <a:gd name="T117" fmla="*/ 0 h 7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43"/>
                  <a:gd name="T178" fmla="*/ 0 h 793"/>
                  <a:gd name="T179" fmla="*/ 743 w 743"/>
                  <a:gd name="T180" fmla="*/ 793 h 7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43" h="793">
                    <a:moveTo>
                      <a:pt x="444" y="639"/>
                    </a:moveTo>
                    <a:lnTo>
                      <a:pt x="444" y="657"/>
                    </a:lnTo>
                    <a:lnTo>
                      <a:pt x="441" y="670"/>
                    </a:lnTo>
                    <a:lnTo>
                      <a:pt x="428" y="668"/>
                    </a:lnTo>
                    <a:lnTo>
                      <a:pt x="421" y="662"/>
                    </a:lnTo>
                    <a:lnTo>
                      <a:pt x="385" y="750"/>
                    </a:lnTo>
                    <a:lnTo>
                      <a:pt x="413" y="768"/>
                    </a:lnTo>
                    <a:lnTo>
                      <a:pt x="438" y="780"/>
                    </a:lnTo>
                    <a:lnTo>
                      <a:pt x="479" y="789"/>
                    </a:lnTo>
                    <a:lnTo>
                      <a:pt x="516" y="793"/>
                    </a:lnTo>
                    <a:lnTo>
                      <a:pt x="558" y="789"/>
                    </a:lnTo>
                    <a:lnTo>
                      <a:pt x="580" y="781"/>
                    </a:lnTo>
                    <a:lnTo>
                      <a:pt x="601" y="771"/>
                    </a:lnTo>
                    <a:lnTo>
                      <a:pt x="616" y="756"/>
                    </a:lnTo>
                    <a:lnTo>
                      <a:pt x="624" y="740"/>
                    </a:lnTo>
                    <a:lnTo>
                      <a:pt x="624" y="712"/>
                    </a:lnTo>
                    <a:lnTo>
                      <a:pt x="601" y="671"/>
                    </a:lnTo>
                    <a:lnTo>
                      <a:pt x="573" y="646"/>
                    </a:lnTo>
                    <a:lnTo>
                      <a:pt x="534" y="613"/>
                    </a:lnTo>
                    <a:lnTo>
                      <a:pt x="475" y="569"/>
                    </a:lnTo>
                    <a:lnTo>
                      <a:pt x="435" y="549"/>
                    </a:lnTo>
                    <a:lnTo>
                      <a:pt x="350" y="512"/>
                    </a:lnTo>
                    <a:lnTo>
                      <a:pt x="299" y="502"/>
                    </a:lnTo>
                    <a:lnTo>
                      <a:pt x="271" y="502"/>
                    </a:lnTo>
                    <a:lnTo>
                      <a:pt x="230" y="509"/>
                    </a:lnTo>
                    <a:lnTo>
                      <a:pt x="173" y="533"/>
                    </a:lnTo>
                    <a:lnTo>
                      <a:pt x="227" y="496"/>
                    </a:lnTo>
                    <a:lnTo>
                      <a:pt x="249" y="467"/>
                    </a:lnTo>
                    <a:lnTo>
                      <a:pt x="264" y="426"/>
                    </a:lnTo>
                    <a:lnTo>
                      <a:pt x="277" y="380"/>
                    </a:lnTo>
                    <a:lnTo>
                      <a:pt x="279" y="328"/>
                    </a:lnTo>
                    <a:lnTo>
                      <a:pt x="268" y="272"/>
                    </a:lnTo>
                    <a:lnTo>
                      <a:pt x="251" y="249"/>
                    </a:lnTo>
                    <a:lnTo>
                      <a:pt x="227" y="227"/>
                    </a:lnTo>
                    <a:lnTo>
                      <a:pt x="194" y="196"/>
                    </a:lnTo>
                    <a:lnTo>
                      <a:pt x="244" y="229"/>
                    </a:lnTo>
                    <a:lnTo>
                      <a:pt x="277" y="249"/>
                    </a:lnTo>
                    <a:lnTo>
                      <a:pt x="289" y="255"/>
                    </a:lnTo>
                    <a:lnTo>
                      <a:pt x="321" y="269"/>
                    </a:lnTo>
                    <a:lnTo>
                      <a:pt x="372" y="282"/>
                    </a:lnTo>
                    <a:lnTo>
                      <a:pt x="430" y="282"/>
                    </a:lnTo>
                    <a:lnTo>
                      <a:pt x="507" y="284"/>
                    </a:lnTo>
                    <a:lnTo>
                      <a:pt x="570" y="288"/>
                    </a:lnTo>
                    <a:lnTo>
                      <a:pt x="624" y="285"/>
                    </a:lnTo>
                    <a:lnTo>
                      <a:pt x="653" y="295"/>
                    </a:lnTo>
                    <a:lnTo>
                      <a:pt x="679" y="295"/>
                    </a:lnTo>
                    <a:lnTo>
                      <a:pt x="706" y="275"/>
                    </a:lnTo>
                    <a:lnTo>
                      <a:pt x="727" y="245"/>
                    </a:lnTo>
                    <a:lnTo>
                      <a:pt x="740" y="217"/>
                    </a:lnTo>
                    <a:lnTo>
                      <a:pt x="743" y="189"/>
                    </a:lnTo>
                    <a:lnTo>
                      <a:pt x="731" y="172"/>
                    </a:lnTo>
                    <a:lnTo>
                      <a:pt x="706" y="163"/>
                    </a:lnTo>
                    <a:lnTo>
                      <a:pt x="689" y="147"/>
                    </a:lnTo>
                    <a:lnTo>
                      <a:pt x="689" y="125"/>
                    </a:lnTo>
                    <a:lnTo>
                      <a:pt x="679" y="109"/>
                    </a:lnTo>
                    <a:lnTo>
                      <a:pt x="668" y="95"/>
                    </a:lnTo>
                    <a:lnTo>
                      <a:pt x="653" y="85"/>
                    </a:lnTo>
                    <a:lnTo>
                      <a:pt x="623" y="76"/>
                    </a:lnTo>
                    <a:lnTo>
                      <a:pt x="577" y="95"/>
                    </a:lnTo>
                    <a:lnTo>
                      <a:pt x="536" y="101"/>
                    </a:lnTo>
                    <a:lnTo>
                      <a:pt x="489" y="103"/>
                    </a:lnTo>
                    <a:lnTo>
                      <a:pt x="453" y="98"/>
                    </a:lnTo>
                    <a:lnTo>
                      <a:pt x="407" y="85"/>
                    </a:lnTo>
                    <a:lnTo>
                      <a:pt x="365" y="64"/>
                    </a:lnTo>
                    <a:lnTo>
                      <a:pt x="339" y="50"/>
                    </a:lnTo>
                    <a:lnTo>
                      <a:pt x="317" y="54"/>
                    </a:lnTo>
                    <a:lnTo>
                      <a:pt x="299" y="63"/>
                    </a:lnTo>
                    <a:lnTo>
                      <a:pt x="305" y="98"/>
                    </a:lnTo>
                    <a:lnTo>
                      <a:pt x="350" y="123"/>
                    </a:lnTo>
                    <a:lnTo>
                      <a:pt x="396" y="150"/>
                    </a:lnTo>
                    <a:lnTo>
                      <a:pt x="454" y="178"/>
                    </a:lnTo>
                    <a:lnTo>
                      <a:pt x="519" y="200"/>
                    </a:lnTo>
                    <a:lnTo>
                      <a:pt x="567" y="208"/>
                    </a:lnTo>
                    <a:lnTo>
                      <a:pt x="511" y="204"/>
                    </a:lnTo>
                    <a:lnTo>
                      <a:pt x="441" y="180"/>
                    </a:lnTo>
                    <a:lnTo>
                      <a:pt x="400" y="159"/>
                    </a:lnTo>
                    <a:lnTo>
                      <a:pt x="317" y="107"/>
                    </a:lnTo>
                    <a:lnTo>
                      <a:pt x="277" y="74"/>
                    </a:lnTo>
                    <a:lnTo>
                      <a:pt x="252" y="74"/>
                    </a:lnTo>
                    <a:lnTo>
                      <a:pt x="226" y="70"/>
                    </a:lnTo>
                    <a:lnTo>
                      <a:pt x="201" y="61"/>
                    </a:lnTo>
                    <a:lnTo>
                      <a:pt x="166" y="37"/>
                    </a:lnTo>
                    <a:lnTo>
                      <a:pt x="121" y="0"/>
                    </a:lnTo>
                    <a:lnTo>
                      <a:pt x="80" y="4"/>
                    </a:lnTo>
                    <a:lnTo>
                      <a:pt x="72" y="48"/>
                    </a:lnTo>
                    <a:lnTo>
                      <a:pt x="59" y="89"/>
                    </a:lnTo>
                    <a:lnTo>
                      <a:pt x="40" y="122"/>
                    </a:lnTo>
                    <a:lnTo>
                      <a:pt x="15" y="150"/>
                    </a:lnTo>
                    <a:lnTo>
                      <a:pt x="8" y="172"/>
                    </a:lnTo>
                    <a:lnTo>
                      <a:pt x="9" y="198"/>
                    </a:lnTo>
                    <a:lnTo>
                      <a:pt x="18" y="229"/>
                    </a:lnTo>
                    <a:lnTo>
                      <a:pt x="41" y="257"/>
                    </a:lnTo>
                    <a:lnTo>
                      <a:pt x="34" y="279"/>
                    </a:lnTo>
                    <a:lnTo>
                      <a:pt x="37" y="306"/>
                    </a:lnTo>
                    <a:lnTo>
                      <a:pt x="49" y="333"/>
                    </a:lnTo>
                    <a:lnTo>
                      <a:pt x="66" y="354"/>
                    </a:lnTo>
                    <a:lnTo>
                      <a:pt x="40" y="368"/>
                    </a:lnTo>
                    <a:lnTo>
                      <a:pt x="22" y="383"/>
                    </a:lnTo>
                    <a:lnTo>
                      <a:pt x="6" y="408"/>
                    </a:lnTo>
                    <a:lnTo>
                      <a:pt x="0" y="447"/>
                    </a:lnTo>
                    <a:lnTo>
                      <a:pt x="34" y="490"/>
                    </a:lnTo>
                    <a:lnTo>
                      <a:pt x="54" y="529"/>
                    </a:lnTo>
                    <a:lnTo>
                      <a:pt x="66" y="567"/>
                    </a:lnTo>
                    <a:lnTo>
                      <a:pt x="65" y="615"/>
                    </a:lnTo>
                    <a:lnTo>
                      <a:pt x="56" y="648"/>
                    </a:lnTo>
                    <a:lnTo>
                      <a:pt x="56" y="671"/>
                    </a:lnTo>
                    <a:lnTo>
                      <a:pt x="71" y="686"/>
                    </a:lnTo>
                    <a:lnTo>
                      <a:pt x="93" y="690"/>
                    </a:lnTo>
                    <a:lnTo>
                      <a:pt x="121" y="683"/>
                    </a:lnTo>
                    <a:lnTo>
                      <a:pt x="175" y="659"/>
                    </a:lnTo>
                    <a:lnTo>
                      <a:pt x="229" y="640"/>
                    </a:lnTo>
                    <a:lnTo>
                      <a:pt x="266" y="633"/>
                    </a:lnTo>
                    <a:lnTo>
                      <a:pt x="303" y="630"/>
                    </a:lnTo>
                    <a:lnTo>
                      <a:pt x="337" y="633"/>
                    </a:lnTo>
                    <a:lnTo>
                      <a:pt x="362" y="640"/>
                    </a:lnTo>
                    <a:lnTo>
                      <a:pt x="398" y="649"/>
                    </a:lnTo>
                    <a:lnTo>
                      <a:pt x="435" y="661"/>
                    </a:lnTo>
                    <a:lnTo>
                      <a:pt x="444" y="639"/>
                    </a:lnTo>
                    <a:close/>
                  </a:path>
                </a:pathLst>
              </a:custGeom>
              <a:solidFill>
                <a:srgbClr val="FF8080"/>
              </a:solidFill>
              <a:ln w="9525">
                <a:solidFill>
                  <a:srgbClr val="000000"/>
                </a:solidFill>
                <a:prstDash val="solid"/>
                <a:round/>
                <a:headEnd/>
                <a:tailEnd/>
              </a:ln>
            </p:spPr>
            <p:txBody>
              <a:bodyPr/>
              <a:lstStyle/>
              <a:p>
                <a:endParaRPr lang="cs-CZ" sz="1800" b="0">
                  <a:solidFill>
                    <a:srgbClr val="000000"/>
                  </a:solidFill>
                  <a:latin typeface="Arial" panose="020B0604020202020204" pitchFamily="34" charset="0"/>
                </a:endParaRPr>
              </a:p>
            </p:txBody>
          </p:sp>
          <p:sp>
            <p:nvSpPr>
              <p:cNvPr id="43118" name="Freeform 10"/>
              <p:cNvSpPr>
                <a:spLocks/>
              </p:cNvSpPr>
              <p:nvPr/>
            </p:nvSpPr>
            <p:spPr bwMode="auto">
              <a:xfrm>
                <a:off x="2208" y="1462"/>
                <a:ext cx="163" cy="115"/>
              </a:xfrm>
              <a:custGeom>
                <a:avLst/>
                <a:gdLst>
                  <a:gd name="T0" fmla="*/ 0 w 489"/>
                  <a:gd name="T1" fmla="*/ 0 h 460"/>
                  <a:gd name="T2" fmla="*/ 0 w 489"/>
                  <a:gd name="T3" fmla="*/ 0 h 460"/>
                  <a:gd name="T4" fmla="*/ 0 w 489"/>
                  <a:gd name="T5" fmla="*/ 0 h 460"/>
                  <a:gd name="T6" fmla="*/ 0 w 489"/>
                  <a:gd name="T7" fmla="*/ 0 h 460"/>
                  <a:gd name="T8" fmla="*/ 0 w 489"/>
                  <a:gd name="T9" fmla="*/ 0 h 460"/>
                  <a:gd name="T10" fmla="*/ 0 w 489"/>
                  <a:gd name="T11" fmla="*/ 0 h 460"/>
                  <a:gd name="T12" fmla="*/ 0 w 489"/>
                  <a:gd name="T13" fmla="*/ 0 h 460"/>
                  <a:gd name="T14" fmla="*/ 0 w 489"/>
                  <a:gd name="T15" fmla="*/ 0 h 460"/>
                  <a:gd name="T16" fmla="*/ 0 w 489"/>
                  <a:gd name="T17" fmla="*/ 0 h 460"/>
                  <a:gd name="T18" fmla="*/ 0 w 489"/>
                  <a:gd name="T19" fmla="*/ 0 h 460"/>
                  <a:gd name="T20" fmla="*/ 0 w 489"/>
                  <a:gd name="T21" fmla="*/ 0 h 460"/>
                  <a:gd name="T22" fmla="*/ 0 w 489"/>
                  <a:gd name="T23" fmla="*/ 0 h 460"/>
                  <a:gd name="T24" fmla="*/ 0 w 489"/>
                  <a:gd name="T25" fmla="*/ 0 h 460"/>
                  <a:gd name="T26" fmla="*/ 0 w 489"/>
                  <a:gd name="T27" fmla="*/ 0 h 460"/>
                  <a:gd name="T28" fmla="*/ 0 w 489"/>
                  <a:gd name="T29" fmla="*/ 0 h 460"/>
                  <a:gd name="T30" fmla="*/ 0 w 489"/>
                  <a:gd name="T31" fmla="*/ 0 h 460"/>
                  <a:gd name="T32" fmla="*/ 0 w 489"/>
                  <a:gd name="T33" fmla="*/ 0 h 460"/>
                  <a:gd name="T34" fmla="*/ 0 w 489"/>
                  <a:gd name="T35" fmla="*/ 0 h 460"/>
                  <a:gd name="T36" fmla="*/ 0 w 489"/>
                  <a:gd name="T37" fmla="*/ 0 h 460"/>
                  <a:gd name="T38" fmla="*/ 0 w 489"/>
                  <a:gd name="T39" fmla="*/ 0 h 460"/>
                  <a:gd name="T40" fmla="*/ 0 w 489"/>
                  <a:gd name="T41" fmla="*/ 0 h 460"/>
                  <a:gd name="T42" fmla="*/ 0 w 489"/>
                  <a:gd name="T43" fmla="*/ 0 h 460"/>
                  <a:gd name="T44" fmla="*/ 0 w 489"/>
                  <a:gd name="T45" fmla="*/ 0 h 460"/>
                  <a:gd name="T46" fmla="*/ 0 w 489"/>
                  <a:gd name="T47" fmla="*/ 0 h 460"/>
                  <a:gd name="T48" fmla="*/ 0 w 489"/>
                  <a:gd name="T49" fmla="*/ 0 h 460"/>
                  <a:gd name="T50" fmla="*/ 0 w 489"/>
                  <a:gd name="T51" fmla="*/ 0 h 460"/>
                  <a:gd name="T52" fmla="*/ 0 w 489"/>
                  <a:gd name="T53" fmla="*/ 0 h 460"/>
                  <a:gd name="T54" fmla="*/ 0 w 489"/>
                  <a:gd name="T55" fmla="*/ 0 h 460"/>
                  <a:gd name="T56" fmla="*/ 0 w 489"/>
                  <a:gd name="T57" fmla="*/ 0 h 460"/>
                  <a:gd name="T58" fmla="*/ 0 w 489"/>
                  <a:gd name="T59" fmla="*/ 0 h 460"/>
                  <a:gd name="T60" fmla="*/ 0 w 489"/>
                  <a:gd name="T61" fmla="*/ 0 h 460"/>
                  <a:gd name="T62" fmla="*/ 0 w 489"/>
                  <a:gd name="T63" fmla="*/ 0 h 460"/>
                  <a:gd name="T64" fmla="*/ 0 w 489"/>
                  <a:gd name="T65" fmla="*/ 0 h 460"/>
                  <a:gd name="T66" fmla="*/ 0 w 489"/>
                  <a:gd name="T67" fmla="*/ 0 h 460"/>
                  <a:gd name="T68" fmla="*/ 0 w 489"/>
                  <a:gd name="T69" fmla="*/ 0 h 460"/>
                  <a:gd name="T70" fmla="*/ 0 w 489"/>
                  <a:gd name="T71" fmla="*/ 0 h 460"/>
                  <a:gd name="T72" fmla="*/ 0 w 489"/>
                  <a:gd name="T73" fmla="*/ 0 h 460"/>
                  <a:gd name="T74" fmla="*/ 0 w 489"/>
                  <a:gd name="T75" fmla="*/ 0 h 460"/>
                  <a:gd name="T76" fmla="*/ 0 w 489"/>
                  <a:gd name="T77" fmla="*/ 0 h 460"/>
                  <a:gd name="T78" fmla="*/ 0 w 489"/>
                  <a:gd name="T79" fmla="*/ 0 h 460"/>
                  <a:gd name="T80" fmla="*/ 0 w 489"/>
                  <a:gd name="T81" fmla="*/ 0 h 460"/>
                  <a:gd name="T82" fmla="*/ 0 w 489"/>
                  <a:gd name="T83" fmla="*/ 0 h 460"/>
                  <a:gd name="T84" fmla="*/ 0 w 489"/>
                  <a:gd name="T85" fmla="*/ 0 h 460"/>
                  <a:gd name="T86" fmla="*/ 0 w 489"/>
                  <a:gd name="T87" fmla="*/ 0 h 460"/>
                  <a:gd name="T88" fmla="*/ 0 w 489"/>
                  <a:gd name="T89" fmla="*/ 0 h 460"/>
                  <a:gd name="T90" fmla="*/ 0 w 489"/>
                  <a:gd name="T91" fmla="*/ 0 h 460"/>
                  <a:gd name="T92" fmla="*/ 0 w 489"/>
                  <a:gd name="T93" fmla="*/ 0 h 460"/>
                  <a:gd name="T94" fmla="*/ 0 w 489"/>
                  <a:gd name="T95" fmla="*/ 0 h 460"/>
                  <a:gd name="T96" fmla="*/ 0 w 489"/>
                  <a:gd name="T97" fmla="*/ 0 h 460"/>
                  <a:gd name="T98" fmla="*/ 0 w 489"/>
                  <a:gd name="T99" fmla="*/ 0 h 460"/>
                  <a:gd name="T100" fmla="*/ 0 w 489"/>
                  <a:gd name="T101" fmla="*/ 0 h 4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9"/>
                  <a:gd name="T154" fmla="*/ 0 h 460"/>
                  <a:gd name="T155" fmla="*/ 489 w 489"/>
                  <a:gd name="T156" fmla="*/ 460 h 4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9" h="460">
                    <a:moveTo>
                      <a:pt x="414" y="0"/>
                    </a:moveTo>
                    <a:lnTo>
                      <a:pt x="387" y="2"/>
                    </a:lnTo>
                    <a:lnTo>
                      <a:pt x="359" y="12"/>
                    </a:lnTo>
                    <a:lnTo>
                      <a:pt x="331" y="31"/>
                    </a:lnTo>
                    <a:lnTo>
                      <a:pt x="318" y="44"/>
                    </a:lnTo>
                    <a:lnTo>
                      <a:pt x="297" y="70"/>
                    </a:lnTo>
                    <a:lnTo>
                      <a:pt x="268" y="99"/>
                    </a:lnTo>
                    <a:lnTo>
                      <a:pt x="230" y="125"/>
                    </a:lnTo>
                    <a:lnTo>
                      <a:pt x="189" y="144"/>
                    </a:lnTo>
                    <a:lnTo>
                      <a:pt x="130" y="153"/>
                    </a:lnTo>
                    <a:lnTo>
                      <a:pt x="74" y="159"/>
                    </a:lnTo>
                    <a:lnTo>
                      <a:pt x="41" y="165"/>
                    </a:lnTo>
                    <a:lnTo>
                      <a:pt x="10" y="187"/>
                    </a:lnTo>
                    <a:lnTo>
                      <a:pt x="0" y="218"/>
                    </a:lnTo>
                    <a:lnTo>
                      <a:pt x="0" y="236"/>
                    </a:lnTo>
                    <a:lnTo>
                      <a:pt x="22" y="252"/>
                    </a:lnTo>
                    <a:lnTo>
                      <a:pt x="48" y="266"/>
                    </a:lnTo>
                    <a:lnTo>
                      <a:pt x="82" y="270"/>
                    </a:lnTo>
                    <a:lnTo>
                      <a:pt x="104" y="267"/>
                    </a:lnTo>
                    <a:lnTo>
                      <a:pt x="124" y="269"/>
                    </a:lnTo>
                    <a:lnTo>
                      <a:pt x="145" y="276"/>
                    </a:lnTo>
                    <a:lnTo>
                      <a:pt x="160" y="294"/>
                    </a:lnTo>
                    <a:lnTo>
                      <a:pt x="184" y="300"/>
                    </a:lnTo>
                    <a:lnTo>
                      <a:pt x="214" y="303"/>
                    </a:lnTo>
                    <a:lnTo>
                      <a:pt x="247" y="306"/>
                    </a:lnTo>
                    <a:lnTo>
                      <a:pt x="281" y="313"/>
                    </a:lnTo>
                    <a:lnTo>
                      <a:pt x="306" y="330"/>
                    </a:lnTo>
                    <a:lnTo>
                      <a:pt x="327" y="347"/>
                    </a:lnTo>
                    <a:lnTo>
                      <a:pt x="347" y="377"/>
                    </a:lnTo>
                    <a:lnTo>
                      <a:pt x="360" y="417"/>
                    </a:lnTo>
                    <a:lnTo>
                      <a:pt x="375" y="460"/>
                    </a:lnTo>
                    <a:lnTo>
                      <a:pt x="400" y="422"/>
                    </a:lnTo>
                    <a:lnTo>
                      <a:pt x="420" y="393"/>
                    </a:lnTo>
                    <a:lnTo>
                      <a:pt x="448" y="361"/>
                    </a:lnTo>
                    <a:lnTo>
                      <a:pt x="454" y="340"/>
                    </a:lnTo>
                    <a:lnTo>
                      <a:pt x="470" y="309"/>
                    </a:lnTo>
                    <a:lnTo>
                      <a:pt x="489" y="269"/>
                    </a:lnTo>
                    <a:lnTo>
                      <a:pt x="470" y="260"/>
                    </a:lnTo>
                    <a:lnTo>
                      <a:pt x="448" y="243"/>
                    </a:lnTo>
                    <a:lnTo>
                      <a:pt x="416" y="218"/>
                    </a:lnTo>
                    <a:lnTo>
                      <a:pt x="401" y="190"/>
                    </a:lnTo>
                    <a:lnTo>
                      <a:pt x="392" y="165"/>
                    </a:lnTo>
                    <a:lnTo>
                      <a:pt x="329" y="165"/>
                    </a:lnTo>
                    <a:lnTo>
                      <a:pt x="286" y="168"/>
                    </a:lnTo>
                    <a:lnTo>
                      <a:pt x="228" y="181"/>
                    </a:lnTo>
                    <a:lnTo>
                      <a:pt x="283" y="161"/>
                    </a:lnTo>
                    <a:lnTo>
                      <a:pt x="327" y="153"/>
                    </a:lnTo>
                    <a:lnTo>
                      <a:pt x="392" y="161"/>
                    </a:lnTo>
                    <a:lnTo>
                      <a:pt x="391" y="113"/>
                    </a:lnTo>
                    <a:lnTo>
                      <a:pt x="394" y="62"/>
                    </a:lnTo>
                    <a:lnTo>
                      <a:pt x="414" y="0"/>
                    </a:lnTo>
                    <a:close/>
                  </a:path>
                </a:pathLst>
              </a:custGeom>
              <a:solidFill>
                <a:srgbClr val="FF8080"/>
              </a:solidFill>
              <a:ln w="9525">
                <a:solidFill>
                  <a:srgbClr val="000000"/>
                </a:solidFill>
                <a:prstDash val="solid"/>
                <a:round/>
                <a:headEnd/>
                <a:tailEnd/>
              </a:ln>
            </p:spPr>
            <p:txBody>
              <a:bodyPr/>
              <a:lstStyle/>
              <a:p>
                <a:endParaRPr lang="cs-CZ" sz="1800" b="0">
                  <a:solidFill>
                    <a:srgbClr val="000000"/>
                  </a:solidFill>
                  <a:latin typeface="Arial" panose="020B0604020202020204" pitchFamily="34" charset="0"/>
                </a:endParaRPr>
              </a:p>
            </p:txBody>
          </p:sp>
        </p:grpSp>
        <p:grpSp>
          <p:nvGrpSpPr>
            <p:cNvPr id="43102" name="Group 11"/>
            <p:cNvGrpSpPr>
              <a:grpSpLocks/>
            </p:cNvGrpSpPr>
            <p:nvPr/>
          </p:nvGrpSpPr>
          <p:grpSpPr bwMode="auto">
            <a:xfrm>
              <a:off x="1872" y="1340"/>
              <a:ext cx="583" cy="535"/>
              <a:chOff x="1872" y="1340"/>
              <a:chExt cx="583" cy="535"/>
            </a:xfrm>
          </p:grpSpPr>
          <p:sp>
            <p:nvSpPr>
              <p:cNvPr id="43103" name="Freeform 12"/>
              <p:cNvSpPr>
                <a:spLocks/>
              </p:cNvSpPr>
              <p:nvPr/>
            </p:nvSpPr>
            <p:spPr bwMode="auto">
              <a:xfrm>
                <a:off x="1872" y="1340"/>
                <a:ext cx="583" cy="535"/>
              </a:xfrm>
              <a:custGeom>
                <a:avLst/>
                <a:gdLst>
                  <a:gd name="T0" fmla="*/ 0 w 1748"/>
                  <a:gd name="T1" fmla="*/ 0 h 2137"/>
                  <a:gd name="T2" fmla="*/ 0 w 1748"/>
                  <a:gd name="T3" fmla="*/ 0 h 2137"/>
                  <a:gd name="T4" fmla="*/ 0 w 1748"/>
                  <a:gd name="T5" fmla="*/ 0 h 2137"/>
                  <a:gd name="T6" fmla="*/ 0 w 1748"/>
                  <a:gd name="T7" fmla="*/ 0 h 2137"/>
                  <a:gd name="T8" fmla="*/ 0 w 1748"/>
                  <a:gd name="T9" fmla="*/ 0 h 2137"/>
                  <a:gd name="T10" fmla="*/ 0 w 1748"/>
                  <a:gd name="T11" fmla="*/ 0 h 2137"/>
                  <a:gd name="T12" fmla="*/ 0 w 1748"/>
                  <a:gd name="T13" fmla="*/ 0 h 2137"/>
                  <a:gd name="T14" fmla="*/ 0 w 1748"/>
                  <a:gd name="T15" fmla="*/ 0 h 2137"/>
                  <a:gd name="T16" fmla="*/ 0 w 1748"/>
                  <a:gd name="T17" fmla="*/ 0 h 2137"/>
                  <a:gd name="T18" fmla="*/ 0 w 1748"/>
                  <a:gd name="T19" fmla="*/ 0 h 2137"/>
                  <a:gd name="T20" fmla="*/ 0 w 1748"/>
                  <a:gd name="T21" fmla="*/ 0 h 2137"/>
                  <a:gd name="T22" fmla="*/ 0 w 1748"/>
                  <a:gd name="T23" fmla="*/ 0 h 2137"/>
                  <a:gd name="T24" fmla="*/ 0 w 1748"/>
                  <a:gd name="T25" fmla="*/ 0 h 2137"/>
                  <a:gd name="T26" fmla="*/ 0 w 1748"/>
                  <a:gd name="T27" fmla="*/ 0 h 2137"/>
                  <a:gd name="T28" fmla="*/ 0 w 1748"/>
                  <a:gd name="T29" fmla="*/ 0 h 2137"/>
                  <a:gd name="T30" fmla="*/ 0 w 1748"/>
                  <a:gd name="T31" fmla="*/ 0 h 2137"/>
                  <a:gd name="T32" fmla="*/ 0 w 1748"/>
                  <a:gd name="T33" fmla="*/ 0 h 2137"/>
                  <a:gd name="T34" fmla="*/ 0 w 1748"/>
                  <a:gd name="T35" fmla="*/ 0 h 2137"/>
                  <a:gd name="T36" fmla="*/ 0 w 1748"/>
                  <a:gd name="T37" fmla="*/ 0 h 2137"/>
                  <a:gd name="T38" fmla="*/ 0 w 1748"/>
                  <a:gd name="T39" fmla="*/ 0 h 2137"/>
                  <a:gd name="T40" fmla="*/ 0 w 1748"/>
                  <a:gd name="T41" fmla="*/ 0 h 2137"/>
                  <a:gd name="T42" fmla="*/ 0 w 1748"/>
                  <a:gd name="T43" fmla="*/ 0 h 2137"/>
                  <a:gd name="T44" fmla="*/ 0 w 1748"/>
                  <a:gd name="T45" fmla="*/ 0 h 2137"/>
                  <a:gd name="T46" fmla="*/ 0 w 1748"/>
                  <a:gd name="T47" fmla="*/ 0 h 2137"/>
                  <a:gd name="T48" fmla="*/ 0 w 1748"/>
                  <a:gd name="T49" fmla="*/ 0 h 2137"/>
                  <a:gd name="T50" fmla="*/ 0 w 1748"/>
                  <a:gd name="T51" fmla="*/ 0 h 2137"/>
                  <a:gd name="T52" fmla="*/ 0 w 1748"/>
                  <a:gd name="T53" fmla="*/ 0 h 2137"/>
                  <a:gd name="T54" fmla="*/ 0 w 1748"/>
                  <a:gd name="T55" fmla="*/ 0 h 2137"/>
                  <a:gd name="T56" fmla="*/ 0 w 1748"/>
                  <a:gd name="T57" fmla="*/ 0 h 2137"/>
                  <a:gd name="T58" fmla="*/ 0 w 1748"/>
                  <a:gd name="T59" fmla="*/ 0 h 2137"/>
                  <a:gd name="T60" fmla="*/ 0 w 1748"/>
                  <a:gd name="T61" fmla="*/ 0 h 2137"/>
                  <a:gd name="T62" fmla="*/ 0 w 1748"/>
                  <a:gd name="T63" fmla="*/ 0 h 2137"/>
                  <a:gd name="T64" fmla="*/ 0 w 1748"/>
                  <a:gd name="T65" fmla="*/ 0 h 2137"/>
                  <a:gd name="T66" fmla="*/ 0 w 1748"/>
                  <a:gd name="T67" fmla="*/ 0 h 2137"/>
                  <a:gd name="T68" fmla="*/ 0 w 1748"/>
                  <a:gd name="T69" fmla="*/ 0 h 2137"/>
                  <a:gd name="T70" fmla="*/ 0 w 1748"/>
                  <a:gd name="T71" fmla="*/ 0 h 2137"/>
                  <a:gd name="T72" fmla="*/ 0 w 1748"/>
                  <a:gd name="T73" fmla="*/ 0 h 2137"/>
                  <a:gd name="T74" fmla="*/ 0 w 1748"/>
                  <a:gd name="T75" fmla="*/ 0 h 2137"/>
                  <a:gd name="T76" fmla="*/ 0 w 1748"/>
                  <a:gd name="T77" fmla="*/ 0 h 2137"/>
                  <a:gd name="T78" fmla="*/ 0 w 1748"/>
                  <a:gd name="T79" fmla="*/ 0 h 2137"/>
                  <a:gd name="T80" fmla="*/ 0 w 1748"/>
                  <a:gd name="T81" fmla="*/ 0 h 2137"/>
                  <a:gd name="T82" fmla="*/ 0 w 1748"/>
                  <a:gd name="T83" fmla="*/ 0 h 2137"/>
                  <a:gd name="T84" fmla="*/ 0 w 1748"/>
                  <a:gd name="T85" fmla="*/ 0 h 2137"/>
                  <a:gd name="T86" fmla="*/ 0 w 1748"/>
                  <a:gd name="T87" fmla="*/ 0 h 2137"/>
                  <a:gd name="T88" fmla="*/ 0 w 1748"/>
                  <a:gd name="T89" fmla="*/ 0 h 2137"/>
                  <a:gd name="T90" fmla="*/ 0 w 1748"/>
                  <a:gd name="T91" fmla="*/ 0 h 2137"/>
                  <a:gd name="T92" fmla="*/ 0 w 1748"/>
                  <a:gd name="T93" fmla="*/ 0 h 2137"/>
                  <a:gd name="T94" fmla="*/ 0 w 1748"/>
                  <a:gd name="T95" fmla="*/ 0 h 2137"/>
                  <a:gd name="T96" fmla="*/ 0 w 1748"/>
                  <a:gd name="T97" fmla="*/ 0 h 2137"/>
                  <a:gd name="T98" fmla="*/ 0 w 1748"/>
                  <a:gd name="T99" fmla="*/ 0 h 2137"/>
                  <a:gd name="T100" fmla="*/ 0 w 1748"/>
                  <a:gd name="T101" fmla="*/ 0 h 2137"/>
                  <a:gd name="T102" fmla="*/ 0 w 1748"/>
                  <a:gd name="T103" fmla="*/ 0 h 2137"/>
                  <a:gd name="T104" fmla="*/ 0 w 1748"/>
                  <a:gd name="T105" fmla="*/ 0 h 21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48"/>
                  <a:gd name="T160" fmla="*/ 0 h 2137"/>
                  <a:gd name="T161" fmla="*/ 1748 w 1748"/>
                  <a:gd name="T162" fmla="*/ 2137 h 21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48" h="2137">
                    <a:moveTo>
                      <a:pt x="933" y="2137"/>
                    </a:moveTo>
                    <a:lnTo>
                      <a:pt x="952" y="2124"/>
                    </a:lnTo>
                    <a:lnTo>
                      <a:pt x="963" y="2036"/>
                    </a:lnTo>
                    <a:lnTo>
                      <a:pt x="974" y="1943"/>
                    </a:lnTo>
                    <a:lnTo>
                      <a:pt x="985" y="1883"/>
                    </a:lnTo>
                    <a:lnTo>
                      <a:pt x="1016" y="1833"/>
                    </a:lnTo>
                    <a:lnTo>
                      <a:pt x="1047" y="1768"/>
                    </a:lnTo>
                    <a:lnTo>
                      <a:pt x="1062" y="1708"/>
                    </a:lnTo>
                    <a:lnTo>
                      <a:pt x="1063" y="1653"/>
                    </a:lnTo>
                    <a:lnTo>
                      <a:pt x="1062" y="1625"/>
                    </a:lnTo>
                    <a:lnTo>
                      <a:pt x="1112" y="1637"/>
                    </a:lnTo>
                    <a:lnTo>
                      <a:pt x="1167" y="1638"/>
                    </a:lnTo>
                    <a:lnTo>
                      <a:pt x="1230" y="1631"/>
                    </a:lnTo>
                    <a:lnTo>
                      <a:pt x="1281" y="1614"/>
                    </a:lnTo>
                    <a:lnTo>
                      <a:pt x="1303" y="1603"/>
                    </a:lnTo>
                    <a:lnTo>
                      <a:pt x="1346" y="1560"/>
                    </a:lnTo>
                    <a:lnTo>
                      <a:pt x="1357" y="1532"/>
                    </a:lnTo>
                    <a:lnTo>
                      <a:pt x="1404" y="1509"/>
                    </a:lnTo>
                    <a:lnTo>
                      <a:pt x="1438" y="1477"/>
                    </a:lnTo>
                    <a:lnTo>
                      <a:pt x="1466" y="1428"/>
                    </a:lnTo>
                    <a:lnTo>
                      <a:pt x="1482" y="1368"/>
                    </a:lnTo>
                    <a:lnTo>
                      <a:pt x="1475" y="1274"/>
                    </a:lnTo>
                    <a:lnTo>
                      <a:pt x="1516" y="1252"/>
                    </a:lnTo>
                    <a:lnTo>
                      <a:pt x="1560" y="1194"/>
                    </a:lnTo>
                    <a:lnTo>
                      <a:pt x="1592" y="1137"/>
                    </a:lnTo>
                    <a:lnTo>
                      <a:pt x="1608" y="1033"/>
                    </a:lnTo>
                    <a:lnTo>
                      <a:pt x="1643" y="1018"/>
                    </a:lnTo>
                    <a:lnTo>
                      <a:pt x="1677" y="994"/>
                    </a:lnTo>
                    <a:lnTo>
                      <a:pt x="1712" y="946"/>
                    </a:lnTo>
                    <a:lnTo>
                      <a:pt x="1725" y="920"/>
                    </a:lnTo>
                    <a:lnTo>
                      <a:pt x="1744" y="835"/>
                    </a:lnTo>
                    <a:lnTo>
                      <a:pt x="1748" y="780"/>
                    </a:lnTo>
                    <a:lnTo>
                      <a:pt x="1744" y="753"/>
                    </a:lnTo>
                    <a:lnTo>
                      <a:pt x="1728" y="710"/>
                    </a:lnTo>
                    <a:lnTo>
                      <a:pt x="1700" y="698"/>
                    </a:lnTo>
                    <a:lnTo>
                      <a:pt x="1722" y="623"/>
                    </a:lnTo>
                    <a:lnTo>
                      <a:pt x="1720" y="578"/>
                    </a:lnTo>
                    <a:lnTo>
                      <a:pt x="1705" y="552"/>
                    </a:lnTo>
                    <a:lnTo>
                      <a:pt x="1709" y="490"/>
                    </a:lnTo>
                    <a:lnTo>
                      <a:pt x="1693" y="443"/>
                    </a:lnTo>
                    <a:lnTo>
                      <a:pt x="1688" y="391"/>
                    </a:lnTo>
                    <a:lnTo>
                      <a:pt x="1734" y="271"/>
                    </a:lnTo>
                    <a:lnTo>
                      <a:pt x="1744" y="219"/>
                    </a:lnTo>
                    <a:lnTo>
                      <a:pt x="1743" y="164"/>
                    </a:lnTo>
                    <a:lnTo>
                      <a:pt x="1734" y="106"/>
                    </a:lnTo>
                    <a:lnTo>
                      <a:pt x="1710" y="60"/>
                    </a:lnTo>
                    <a:lnTo>
                      <a:pt x="1672" y="14"/>
                    </a:lnTo>
                    <a:lnTo>
                      <a:pt x="1615" y="0"/>
                    </a:lnTo>
                    <a:lnTo>
                      <a:pt x="1543" y="93"/>
                    </a:lnTo>
                    <a:lnTo>
                      <a:pt x="1502" y="146"/>
                    </a:lnTo>
                    <a:lnTo>
                      <a:pt x="1448" y="201"/>
                    </a:lnTo>
                    <a:lnTo>
                      <a:pt x="1391" y="247"/>
                    </a:lnTo>
                    <a:lnTo>
                      <a:pt x="1357" y="272"/>
                    </a:lnTo>
                    <a:lnTo>
                      <a:pt x="1331" y="303"/>
                    </a:lnTo>
                    <a:lnTo>
                      <a:pt x="1268" y="311"/>
                    </a:lnTo>
                    <a:lnTo>
                      <a:pt x="1218" y="343"/>
                    </a:lnTo>
                    <a:lnTo>
                      <a:pt x="1179" y="398"/>
                    </a:lnTo>
                    <a:lnTo>
                      <a:pt x="1085" y="385"/>
                    </a:lnTo>
                    <a:lnTo>
                      <a:pt x="1041" y="391"/>
                    </a:lnTo>
                    <a:lnTo>
                      <a:pt x="978" y="409"/>
                    </a:lnTo>
                    <a:lnTo>
                      <a:pt x="896" y="446"/>
                    </a:lnTo>
                    <a:lnTo>
                      <a:pt x="840" y="424"/>
                    </a:lnTo>
                    <a:lnTo>
                      <a:pt x="695" y="413"/>
                    </a:lnTo>
                    <a:lnTo>
                      <a:pt x="643" y="415"/>
                    </a:lnTo>
                    <a:lnTo>
                      <a:pt x="599" y="416"/>
                    </a:lnTo>
                    <a:lnTo>
                      <a:pt x="552" y="382"/>
                    </a:lnTo>
                    <a:lnTo>
                      <a:pt x="474" y="354"/>
                    </a:lnTo>
                    <a:lnTo>
                      <a:pt x="420" y="349"/>
                    </a:lnTo>
                    <a:lnTo>
                      <a:pt x="390" y="357"/>
                    </a:lnTo>
                    <a:lnTo>
                      <a:pt x="362" y="329"/>
                    </a:lnTo>
                    <a:lnTo>
                      <a:pt x="341" y="290"/>
                    </a:lnTo>
                    <a:lnTo>
                      <a:pt x="303" y="302"/>
                    </a:lnTo>
                    <a:lnTo>
                      <a:pt x="256" y="305"/>
                    </a:lnTo>
                    <a:lnTo>
                      <a:pt x="218" y="299"/>
                    </a:lnTo>
                    <a:lnTo>
                      <a:pt x="195" y="289"/>
                    </a:lnTo>
                    <a:lnTo>
                      <a:pt x="139" y="333"/>
                    </a:lnTo>
                    <a:lnTo>
                      <a:pt x="124" y="357"/>
                    </a:lnTo>
                    <a:lnTo>
                      <a:pt x="91" y="367"/>
                    </a:lnTo>
                    <a:lnTo>
                      <a:pt x="54" y="398"/>
                    </a:lnTo>
                    <a:lnTo>
                      <a:pt x="29" y="449"/>
                    </a:lnTo>
                    <a:lnTo>
                      <a:pt x="18" y="488"/>
                    </a:lnTo>
                    <a:lnTo>
                      <a:pt x="18" y="525"/>
                    </a:lnTo>
                    <a:lnTo>
                      <a:pt x="23" y="570"/>
                    </a:lnTo>
                    <a:lnTo>
                      <a:pt x="42" y="614"/>
                    </a:lnTo>
                    <a:lnTo>
                      <a:pt x="69" y="645"/>
                    </a:lnTo>
                    <a:lnTo>
                      <a:pt x="70" y="666"/>
                    </a:lnTo>
                    <a:lnTo>
                      <a:pt x="45" y="718"/>
                    </a:lnTo>
                    <a:lnTo>
                      <a:pt x="18" y="768"/>
                    </a:lnTo>
                    <a:lnTo>
                      <a:pt x="3" y="813"/>
                    </a:lnTo>
                    <a:lnTo>
                      <a:pt x="0" y="848"/>
                    </a:lnTo>
                    <a:lnTo>
                      <a:pt x="3" y="888"/>
                    </a:lnTo>
                    <a:lnTo>
                      <a:pt x="13" y="921"/>
                    </a:lnTo>
                    <a:lnTo>
                      <a:pt x="31" y="949"/>
                    </a:lnTo>
                    <a:lnTo>
                      <a:pt x="70" y="973"/>
                    </a:lnTo>
                    <a:lnTo>
                      <a:pt x="54" y="1006"/>
                    </a:lnTo>
                    <a:lnTo>
                      <a:pt x="44" y="1029"/>
                    </a:lnTo>
                    <a:lnTo>
                      <a:pt x="41" y="1065"/>
                    </a:lnTo>
                    <a:lnTo>
                      <a:pt x="42" y="1157"/>
                    </a:lnTo>
                    <a:lnTo>
                      <a:pt x="45" y="1224"/>
                    </a:lnTo>
                    <a:lnTo>
                      <a:pt x="64" y="1291"/>
                    </a:lnTo>
                    <a:lnTo>
                      <a:pt x="104" y="1368"/>
                    </a:lnTo>
                    <a:lnTo>
                      <a:pt x="92" y="1386"/>
                    </a:lnTo>
                    <a:lnTo>
                      <a:pt x="86" y="1414"/>
                    </a:lnTo>
                    <a:lnTo>
                      <a:pt x="96" y="1457"/>
                    </a:lnTo>
                    <a:lnTo>
                      <a:pt x="118" y="1491"/>
                    </a:lnTo>
                    <a:lnTo>
                      <a:pt x="152" y="1523"/>
                    </a:lnTo>
                    <a:lnTo>
                      <a:pt x="190" y="1546"/>
                    </a:lnTo>
                    <a:lnTo>
                      <a:pt x="237" y="1554"/>
                    </a:lnTo>
                    <a:lnTo>
                      <a:pt x="304" y="1548"/>
                    </a:lnTo>
                    <a:lnTo>
                      <a:pt x="364" y="1530"/>
                    </a:lnTo>
                    <a:lnTo>
                      <a:pt x="410" y="1496"/>
                    </a:lnTo>
                    <a:lnTo>
                      <a:pt x="454" y="1481"/>
                    </a:lnTo>
                    <a:lnTo>
                      <a:pt x="495" y="1477"/>
                    </a:lnTo>
                    <a:lnTo>
                      <a:pt x="527" y="1473"/>
                    </a:lnTo>
                    <a:lnTo>
                      <a:pt x="571" y="1463"/>
                    </a:lnTo>
                    <a:lnTo>
                      <a:pt x="595" y="1437"/>
                    </a:lnTo>
                    <a:lnTo>
                      <a:pt x="602" y="1408"/>
                    </a:lnTo>
                    <a:lnTo>
                      <a:pt x="599" y="1369"/>
                    </a:lnTo>
                    <a:lnTo>
                      <a:pt x="596" y="1343"/>
                    </a:lnTo>
                    <a:lnTo>
                      <a:pt x="609" y="1324"/>
                    </a:lnTo>
                    <a:lnTo>
                      <a:pt x="628" y="1315"/>
                    </a:lnTo>
                    <a:lnTo>
                      <a:pt x="654" y="1315"/>
                    </a:lnTo>
                    <a:lnTo>
                      <a:pt x="695" y="1327"/>
                    </a:lnTo>
                    <a:lnTo>
                      <a:pt x="732" y="1237"/>
                    </a:lnTo>
                    <a:lnTo>
                      <a:pt x="637" y="1206"/>
                    </a:lnTo>
                    <a:lnTo>
                      <a:pt x="571" y="1210"/>
                    </a:lnTo>
                    <a:lnTo>
                      <a:pt x="509" y="1227"/>
                    </a:lnTo>
                    <a:lnTo>
                      <a:pt x="444" y="1254"/>
                    </a:lnTo>
                    <a:lnTo>
                      <a:pt x="376" y="1282"/>
                    </a:lnTo>
                    <a:lnTo>
                      <a:pt x="347" y="1292"/>
                    </a:lnTo>
                    <a:lnTo>
                      <a:pt x="350" y="1255"/>
                    </a:lnTo>
                    <a:lnTo>
                      <a:pt x="372" y="1200"/>
                    </a:lnTo>
                    <a:lnTo>
                      <a:pt x="375" y="1142"/>
                    </a:lnTo>
                    <a:lnTo>
                      <a:pt x="347" y="1070"/>
                    </a:lnTo>
                    <a:lnTo>
                      <a:pt x="321" y="1034"/>
                    </a:lnTo>
                    <a:lnTo>
                      <a:pt x="316" y="1016"/>
                    </a:lnTo>
                    <a:lnTo>
                      <a:pt x="313" y="998"/>
                    </a:lnTo>
                    <a:lnTo>
                      <a:pt x="338" y="939"/>
                    </a:lnTo>
                    <a:lnTo>
                      <a:pt x="344" y="896"/>
                    </a:lnTo>
                    <a:lnTo>
                      <a:pt x="344" y="842"/>
                    </a:lnTo>
                    <a:lnTo>
                      <a:pt x="325" y="797"/>
                    </a:lnTo>
                    <a:lnTo>
                      <a:pt x="293" y="742"/>
                    </a:lnTo>
                    <a:lnTo>
                      <a:pt x="331" y="720"/>
                    </a:lnTo>
                    <a:lnTo>
                      <a:pt x="366" y="670"/>
                    </a:lnTo>
                    <a:lnTo>
                      <a:pt x="386" y="612"/>
                    </a:lnTo>
                    <a:lnTo>
                      <a:pt x="394" y="578"/>
                    </a:lnTo>
                    <a:lnTo>
                      <a:pt x="441" y="574"/>
                    </a:lnTo>
                    <a:lnTo>
                      <a:pt x="479" y="612"/>
                    </a:lnTo>
                    <a:lnTo>
                      <a:pt x="536" y="645"/>
                    </a:lnTo>
                    <a:lnTo>
                      <a:pt x="578" y="649"/>
                    </a:lnTo>
                    <a:lnTo>
                      <a:pt x="613" y="636"/>
                    </a:lnTo>
                    <a:lnTo>
                      <a:pt x="644" y="618"/>
                    </a:lnTo>
                    <a:lnTo>
                      <a:pt x="676" y="643"/>
                    </a:lnTo>
                    <a:lnTo>
                      <a:pt x="729" y="667"/>
                    </a:lnTo>
                    <a:lnTo>
                      <a:pt x="799" y="678"/>
                    </a:lnTo>
                    <a:lnTo>
                      <a:pt x="855" y="676"/>
                    </a:lnTo>
                    <a:lnTo>
                      <a:pt x="894" y="670"/>
                    </a:lnTo>
                    <a:lnTo>
                      <a:pt x="939" y="651"/>
                    </a:lnTo>
                    <a:lnTo>
                      <a:pt x="984" y="623"/>
                    </a:lnTo>
                    <a:lnTo>
                      <a:pt x="1040" y="649"/>
                    </a:lnTo>
                    <a:lnTo>
                      <a:pt x="1101" y="643"/>
                    </a:lnTo>
                    <a:lnTo>
                      <a:pt x="1186" y="633"/>
                    </a:lnTo>
                    <a:lnTo>
                      <a:pt x="1236" y="606"/>
                    </a:lnTo>
                    <a:lnTo>
                      <a:pt x="1275" y="578"/>
                    </a:lnTo>
                    <a:lnTo>
                      <a:pt x="1309" y="539"/>
                    </a:lnTo>
                    <a:lnTo>
                      <a:pt x="1321" y="523"/>
                    </a:lnTo>
                    <a:lnTo>
                      <a:pt x="1353" y="479"/>
                    </a:lnTo>
                    <a:lnTo>
                      <a:pt x="1381" y="473"/>
                    </a:lnTo>
                    <a:lnTo>
                      <a:pt x="1426" y="462"/>
                    </a:lnTo>
                    <a:lnTo>
                      <a:pt x="1402" y="548"/>
                    </a:lnTo>
                    <a:lnTo>
                      <a:pt x="1398" y="633"/>
                    </a:lnTo>
                    <a:lnTo>
                      <a:pt x="1409" y="680"/>
                    </a:lnTo>
                    <a:lnTo>
                      <a:pt x="1435" y="716"/>
                    </a:lnTo>
                    <a:lnTo>
                      <a:pt x="1498" y="755"/>
                    </a:lnTo>
                    <a:lnTo>
                      <a:pt x="1476" y="797"/>
                    </a:lnTo>
                    <a:lnTo>
                      <a:pt x="1454" y="848"/>
                    </a:lnTo>
                    <a:lnTo>
                      <a:pt x="1426" y="879"/>
                    </a:lnTo>
                    <a:lnTo>
                      <a:pt x="1397" y="923"/>
                    </a:lnTo>
                    <a:lnTo>
                      <a:pt x="1376" y="978"/>
                    </a:lnTo>
                    <a:lnTo>
                      <a:pt x="1379" y="1040"/>
                    </a:lnTo>
                    <a:lnTo>
                      <a:pt x="1366" y="1061"/>
                    </a:lnTo>
                    <a:lnTo>
                      <a:pt x="1330" y="1082"/>
                    </a:lnTo>
                    <a:lnTo>
                      <a:pt x="1296" y="1111"/>
                    </a:lnTo>
                    <a:lnTo>
                      <a:pt x="1277" y="1137"/>
                    </a:lnTo>
                    <a:lnTo>
                      <a:pt x="1264" y="1169"/>
                    </a:lnTo>
                    <a:lnTo>
                      <a:pt x="1262" y="1215"/>
                    </a:lnTo>
                    <a:lnTo>
                      <a:pt x="1259" y="1279"/>
                    </a:lnTo>
                    <a:lnTo>
                      <a:pt x="1242" y="1334"/>
                    </a:lnTo>
                    <a:lnTo>
                      <a:pt x="1223" y="1405"/>
                    </a:lnTo>
                    <a:lnTo>
                      <a:pt x="1201" y="1435"/>
                    </a:lnTo>
                    <a:lnTo>
                      <a:pt x="1179" y="1451"/>
                    </a:lnTo>
                    <a:lnTo>
                      <a:pt x="1145" y="1460"/>
                    </a:lnTo>
                    <a:lnTo>
                      <a:pt x="1121" y="1463"/>
                    </a:lnTo>
                    <a:lnTo>
                      <a:pt x="1098" y="1457"/>
                    </a:lnTo>
                    <a:lnTo>
                      <a:pt x="1075" y="1450"/>
                    </a:lnTo>
                    <a:lnTo>
                      <a:pt x="1047" y="1433"/>
                    </a:lnTo>
                    <a:lnTo>
                      <a:pt x="1022" y="1419"/>
                    </a:lnTo>
                    <a:lnTo>
                      <a:pt x="994" y="1405"/>
                    </a:lnTo>
                    <a:lnTo>
                      <a:pt x="965" y="1398"/>
                    </a:lnTo>
                    <a:lnTo>
                      <a:pt x="943" y="1395"/>
                    </a:lnTo>
                    <a:lnTo>
                      <a:pt x="918" y="1398"/>
                    </a:lnTo>
                    <a:lnTo>
                      <a:pt x="887" y="1419"/>
                    </a:lnTo>
                    <a:lnTo>
                      <a:pt x="862" y="1447"/>
                    </a:lnTo>
                    <a:lnTo>
                      <a:pt x="846" y="1481"/>
                    </a:lnTo>
                    <a:lnTo>
                      <a:pt x="836" y="1539"/>
                    </a:lnTo>
                    <a:lnTo>
                      <a:pt x="840" y="1609"/>
                    </a:lnTo>
                    <a:lnTo>
                      <a:pt x="861" y="1627"/>
                    </a:lnTo>
                    <a:lnTo>
                      <a:pt x="844" y="1669"/>
                    </a:lnTo>
                    <a:lnTo>
                      <a:pt x="849" y="1757"/>
                    </a:lnTo>
                    <a:lnTo>
                      <a:pt x="908" y="1916"/>
                    </a:lnTo>
                    <a:lnTo>
                      <a:pt x="908" y="1967"/>
                    </a:lnTo>
                    <a:lnTo>
                      <a:pt x="917" y="2118"/>
                    </a:lnTo>
                    <a:lnTo>
                      <a:pt x="933" y="2137"/>
                    </a:lnTo>
                    <a:close/>
                  </a:path>
                </a:pathLst>
              </a:custGeom>
              <a:solidFill>
                <a:srgbClr val="FFC080"/>
              </a:solidFill>
              <a:ln w="9525">
                <a:solidFill>
                  <a:srgbClr val="000000"/>
                </a:solidFill>
                <a:prstDash val="solid"/>
                <a:round/>
                <a:headEnd/>
                <a:tailEnd/>
              </a:ln>
            </p:spPr>
            <p:txBody>
              <a:bodyPr/>
              <a:lstStyle/>
              <a:p>
                <a:endParaRPr lang="cs-CZ" sz="1800" b="0">
                  <a:solidFill>
                    <a:srgbClr val="000000"/>
                  </a:solidFill>
                  <a:latin typeface="Arial" panose="020B0604020202020204" pitchFamily="34" charset="0"/>
                </a:endParaRPr>
              </a:p>
            </p:txBody>
          </p:sp>
          <p:grpSp>
            <p:nvGrpSpPr>
              <p:cNvPr id="43104" name="Group 13"/>
              <p:cNvGrpSpPr>
                <a:grpSpLocks/>
              </p:cNvGrpSpPr>
              <p:nvPr/>
            </p:nvGrpSpPr>
            <p:grpSpPr bwMode="auto">
              <a:xfrm>
                <a:off x="1907" y="1404"/>
                <a:ext cx="512" cy="313"/>
                <a:chOff x="1907" y="1404"/>
                <a:chExt cx="512" cy="313"/>
              </a:xfrm>
            </p:grpSpPr>
            <p:sp>
              <p:nvSpPr>
                <p:cNvPr id="43105" name="Freeform 14"/>
                <p:cNvSpPr>
                  <a:spLocks/>
                </p:cNvSpPr>
                <p:nvPr/>
              </p:nvSpPr>
              <p:spPr bwMode="auto">
                <a:xfrm>
                  <a:off x="2376" y="1436"/>
                  <a:ext cx="7" cy="29"/>
                </a:xfrm>
                <a:custGeom>
                  <a:avLst/>
                  <a:gdLst>
                    <a:gd name="T0" fmla="*/ 0 w 22"/>
                    <a:gd name="T1" fmla="*/ 0 h 116"/>
                    <a:gd name="T2" fmla="*/ 0 w 22"/>
                    <a:gd name="T3" fmla="*/ 0 h 116"/>
                    <a:gd name="T4" fmla="*/ 0 w 22"/>
                    <a:gd name="T5" fmla="*/ 0 h 116"/>
                    <a:gd name="T6" fmla="*/ 0 w 22"/>
                    <a:gd name="T7" fmla="*/ 0 h 116"/>
                    <a:gd name="T8" fmla="*/ 0 60000 65536"/>
                    <a:gd name="T9" fmla="*/ 0 60000 65536"/>
                    <a:gd name="T10" fmla="*/ 0 60000 65536"/>
                    <a:gd name="T11" fmla="*/ 0 60000 65536"/>
                    <a:gd name="T12" fmla="*/ 0 w 22"/>
                    <a:gd name="T13" fmla="*/ 0 h 116"/>
                    <a:gd name="T14" fmla="*/ 22 w 22"/>
                    <a:gd name="T15" fmla="*/ 116 h 116"/>
                  </a:gdLst>
                  <a:ahLst/>
                  <a:cxnLst>
                    <a:cxn ang="T8">
                      <a:pos x="T0" y="T1"/>
                    </a:cxn>
                    <a:cxn ang="T9">
                      <a:pos x="T2" y="T3"/>
                    </a:cxn>
                    <a:cxn ang="T10">
                      <a:pos x="T4" y="T5"/>
                    </a:cxn>
                    <a:cxn ang="T11">
                      <a:pos x="T6" y="T7"/>
                    </a:cxn>
                  </a:cxnLst>
                  <a:rect l="T12" t="T13" r="T14" b="T15"/>
                  <a:pathLst>
                    <a:path w="22" h="116">
                      <a:moveTo>
                        <a:pt x="22" y="116"/>
                      </a:moveTo>
                      <a:lnTo>
                        <a:pt x="0" y="65"/>
                      </a:lnTo>
                      <a:lnTo>
                        <a:pt x="0" y="11"/>
                      </a:lnTo>
                      <a:lnTo>
                        <a:pt x="12"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sz="1800" b="0">
                    <a:solidFill>
                      <a:srgbClr val="000000"/>
                    </a:solidFill>
                    <a:latin typeface="Arial" panose="020B0604020202020204" pitchFamily="34" charset="0"/>
                  </a:endParaRPr>
                </a:p>
              </p:txBody>
            </p:sp>
            <p:sp>
              <p:nvSpPr>
                <p:cNvPr id="43106" name="Freeform 15"/>
                <p:cNvSpPr>
                  <a:spLocks/>
                </p:cNvSpPr>
                <p:nvPr/>
              </p:nvSpPr>
              <p:spPr bwMode="auto">
                <a:xfrm>
                  <a:off x="2343" y="1404"/>
                  <a:ext cx="57" cy="54"/>
                </a:xfrm>
                <a:custGeom>
                  <a:avLst/>
                  <a:gdLst>
                    <a:gd name="T0" fmla="*/ 0 w 173"/>
                    <a:gd name="T1" fmla="*/ 0 h 214"/>
                    <a:gd name="T2" fmla="*/ 0 w 173"/>
                    <a:gd name="T3" fmla="*/ 0 h 214"/>
                    <a:gd name="T4" fmla="*/ 0 w 173"/>
                    <a:gd name="T5" fmla="*/ 0 h 214"/>
                    <a:gd name="T6" fmla="*/ 0 w 173"/>
                    <a:gd name="T7" fmla="*/ 0 h 214"/>
                    <a:gd name="T8" fmla="*/ 0 w 173"/>
                    <a:gd name="T9" fmla="*/ 0 h 214"/>
                    <a:gd name="T10" fmla="*/ 0 w 173"/>
                    <a:gd name="T11" fmla="*/ 0 h 214"/>
                    <a:gd name="T12" fmla="*/ 0 w 173"/>
                    <a:gd name="T13" fmla="*/ 0 h 214"/>
                    <a:gd name="T14" fmla="*/ 0 w 173"/>
                    <a:gd name="T15" fmla="*/ 0 h 214"/>
                    <a:gd name="T16" fmla="*/ 0 60000 65536"/>
                    <a:gd name="T17" fmla="*/ 0 60000 65536"/>
                    <a:gd name="T18" fmla="*/ 0 60000 65536"/>
                    <a:gd name="T19" fmla="*/ 0 60000 65536"/>
                    <a:gd name="T20" fmla="*/ 0 60000 65536"/>
                    <a:gd name="T21" fmla="*/ 0 60000 65536"/>
                    <a:gd name="T22" fmla="*/ 0 60000 65536"/>
                    <a:gd name="T23" fmla="*/ 0 60000 65536"/>
                    <a:gd name="T24" fmla="*/ 0 w 173"/>
                    <a:gd name="T25" fmla="*/ 0 h 214"/>
                    <a:gd name="T26" fmla="*/ 173 w 173"/>
                    <a:gd name="T27" fmla="*/ 214 h 2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3" h="214">
                      <a:moveTo>
                        <a:pt x="173" y="0"/>
                      </a:moveTo>
                      <a:lnTo>
                        <a:pt x="151" y="49"/>
                      </a:lnTo>
                      <a:lnTo>
                        <a:pt x="128" y="98"/>
                      </a:lnTo>
                      <a:lnTo>
                        <a:pt x="118" y="137"/>
                      </a:lnTo>
                      <a:lnTo>
                        <a:pt x="78" y="159"/>
                      </a:lnTo>
                      <a:lnTo>
                        <a:pt x="39" y="197"/>
                      </a:lnTo>
                      <a:lnTo>
                        <a:pt x="0" y="203"/>
                      </a:lnTo>
                      <a:lnTo>
                        <a:pt x="17" y="214"/>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sz="1800" b="0">
                    <a:solidFill>
                      <a:srgbClr val="000000"/>
                    </a:solidFill>
                    <a:latin typeface="Arial" panose="020B0604020202020204" pitchFamily="34" charset="0"/>
                  </a:endParaRPr>
                </a:p>
              </p:txBody>
            </p:sp>
            <p:sp>
              <p:nvSpPr>
                <p:cNvPr id="43107" name="Freeform 16"/>
                <p:cNvSpPr>
                  <a:spLocks/>
                </p:cNvSpPr>
                <p:nvPr/>
              </p:nvSpPr>
              <p:spPr bwMode="auto">
                <a:xfrm>
                  <a:off x="2170" y="1455"/>
                  <a:ext cx="11" cy="12"/>
                </a:xfrm>
                <a:custGeom>
                  <a:avLst/>
                  <a:gdLst>
                    <a:gd name="T0" fmla="*/ 0 w 34"/>
                    <a:gd name="T1" fmla="*/ 0 h 49"/>
                    <a:gd name="T2" fmla="*/ 0 w 34"/>
                    <a:gd name="T3" fmla="*/ 0 h 49"/>
                    <a:gd name="T4" fmla="*/ 0 w 34"/>
                    <a:gd name="T5" fmla="*/ 0 h 49"/>
                    <a:gd name="T6" fmla="*/ 0 60000 65536"/>
                    <a:gd name="T7" fmla="*/ 0 60000 65536"/>
                    <a:gd name="T8" fmla="*/ 0 60000 65536"/>
                    <a:gd name="T9" fmla="*/ 0 w 34"/>
                    <a:gd name="T10" fmla="*/ 0 h 49"/>
                    <a:gd name="T11" fmla="*/ 34 w 34"/>
                    <a:gd name="T12" fmla="*/ 49 h 49"/>
                  </a:gdLst>
                  <a:ahLst/>
                  <a:cxnLst>
                    <a:cxn ang="T6">
                      <a:pos x="T0" y="T1"/>
                    </a:cxn>
                    <a:cxn ang="T7">
                      <a:pos x="T2" y="T3"/>
                    </a:cxn>
                    <a:cxn ang="T8">
                      <a:pos x="T4" y="T5"/>
                    </a:cxn>
                  </a:cxnLst>
                  <a:rect l="T9" t="T10" r="T11" b="T12"/>
                  <a:pathLst>
                    <a:path w="34" h="49">
                      <a:moveTo>
                        <a:pt x="0" y="0"/>
                      </a:moveTo>
                      <a:lnTo>
                        <a:pt x="34" y="43"/>
                      </a:lnTo>
                      <a:lnTo>
                        <a:pt x="34" y="49"/>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sz="1800" b="0">
                    <a:solidFill>
                      <a:srgbClr val="000000"/>
                    </a:solidFill>
                    <a:latin typeface="Arial" panose="020B0604020202020204" pitchFamily="34" charset="0"/>
                  </a:endParaRPr>
                </a:p>
              </p:txBody>
            </p:sp>
            <p:sp>
              <p:nvSpPr>
                <p:cNvPr id="43108" name="Line 17"/>
                <p:cNvSpPr>
                  <a:spLocks noChangeShapeType="1"/>
                </p:cNvSpPr>
                <p:nvPr/>
              </p:nvSpPr>
              <p:spPr bwMode="auto">
                <a:xfrm>
                  <a:off x="2067" y="1440"/>
                  <a:ext cx="17" cy="1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cs-CZ" sz="1800" b="0">
                    <a:solidFill>
                      <a:srgbClr val="000000"/>
                    </a:solidFill>
                    <a:latin typeface="Arial" panose="020B0604020202020204" pitchFamily="34" charset="0"/>
                  </a:endParaRPr>
                </a:p>
              </p:txBody>
            </p:sp>
            <p:sp>
              <p:nvSpPr>
                <p:cNvPr id="43109" name="Freeform 18"/>
                <p:cNvSpPr>
                  <a:spLocks/>
                </p:cNvSpPr>
                <p:nvPr/>
              </p:nvSpPr>
              <p:spPr bwMode="auto">
                <a:xfrm>
                  <a:off x="1907" y="1428"/>
                  <a:ext cx="95" cy="11"/>
                </a:xfrm>
                <a:custGeom>
                  <a:avLst/>
                  <a:gdLst>
                    <a:gd name="T0" fmla="*/ 0 w 285"/>
                    <a:gd name="T1" fmla="*/ 0 h 44"/>
                    <a:gd name="T2" fmla="*/ 0 w 285"/>
                    <a:gd name="T3" fmla="*/ 0 h 44"/>
                    <a:gd name="T4" fmla="*/ 0 w 285"/>
                    <a:gd name="T5" fmla="*/ 0 h 44"/>
                    <a:gd name="T6" fmla="*/ 0 w 285"/>
                    <a:gd name="T7" fmla="*/ 0 h 44"/>
                    <a:gd name="T8" fmla="*/ 0 w 285"/>
                    <a:gd name="T9" fmla="*/ 0 h 44"/>
                    <a:gd name="T10" fmla="*/ 0 w 285"/>
                    <a:gd name="T11" fmla="*/ 0 h 44"/>
                    <a:gd name="T12" fmla="*/ 0 w 285"/>
                    <a:gd name="T13" fmla="*/ 0 h 44"/>
                    <a:gd name="T14" fmla="*/ 0 w 285"/>
                    <a:gd name="T15" fmla="*/ 0 h 44"/>
                    <a:gd name="T16" fmla="*/ 0 w 285"/>
                    <a:gd name="T17" fmla="*/ 0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5"/>
                    <a:gd name="T28" fmla="*/ 0 h 44"/>
                    <a:gd name="T29" fmla="*/ 285 w 285"/>
                    <a:gd name="T30" fmla="*/ 44 h 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5" h="44">
                      <a:moveTo>
                        <a:pt x="285" y="0"/>
                      </a:moveTo>
                      <a:lnTo>
                        <a:pt x="246" y="39"/>
                      </a:lnTo>
                      <a:lnTo>
                        <a:pt x="207" y="44"/>
                      </a:lnTo>
                      <a:lnTo>
                        <a:pt x="179" y="17"/>
                      </a:lnTo>
                      <a:lnTo>
                        <a:pt x="135" y="5"/>
                      </a:lnTo>
                      <a:lnTo>
                        <a:pt x="84" y="5"/>
                      </a:lnTo>
                      <a:lnTo>
                        <a:pt x="18" y="5"/>
                      </a:lnTo>
                      <a:lnTo>
                        <a:pt x="0" y="5"/>
                      </a:lnTo>
                      <a:lnTo>
                        <a:pt x="6" y="11"/>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sz="1800" b="0">
                    <a:solidFill>
                      <a:srgbClr val="000000"/>
                    </a:solidFill>
                    <a:latin typeface="Arial" panose="020B0604020202020204" pitchFamily="34" charset="0"/>
                  </a:endParaRPr>
                </a:p>
              </p:txBody>
            </p:sp>
            <p:sp>
              <p:nvSpPr>
                <p:cNvPr id="43110" name="Freeform 19"/>
                <p:cNvSpPr>
                  <a:spLocks/>
                </p:cNvSpPr>
                <p:nvPr/>
              </p:nvSpPr>
              <p:spPr bwMode="auto">
                <a:xfrm>
                  <a:off x="1921" y="1470"/>
                  <a:ext cx="80" cy="40"/>
                </a:xfrm>
                <a:custGeom>
                  <a:avLst/>
                  <a:gdLst>
                    <a:gd name="T0" fmla="*/ 0 w 240"/>
                    <a:gd name="T1" fmla="*/ 0 h 159"/>
                    <a:gd name="T2" fmla="*/ 0 w 240"/>
                    <a:gd name="T3" fmla="*/ 0 h 159"/>
                    <a:gd name="T4" fmla="*/ 0 w 240"/>
                    <a:gd name="T5" fmla="*/ 0 h 159"/>
                    <a:gd name="T6" fmla="*/ 0 w 240"/>
                    <a:gd name="T7" fmla="*/ 0 h 159"/>
                    <a:gd name="T8" fmla="*/ 0 w 240"/>
                    <a:gd name="T9" fmla="*/ 0 h 159"/>
                    <a:gd name="T10" fmla="*/ 0 w 240"/>
                    <a:gd name="T11" fmla="*/ 0 h 159"/>
                    <a:gd name="T12" fmla="*/ 0 w 240"/>
                    <a:gd name="T13" fmla="*/ 0 h 159"/>
                    <a:gd name="T14" fmla="*/ 0 w 240"/>
                    <a:gd name="T15" fmla="*/ 0 h 159"/>
                    <a:gd name="T16" fmla="*/ 0 w 240"/>
                    <a:gd name="T17" fmla="*/ 0 h 159"/>
                    <a:gd name="T18" fmla="*/ 0 w 240"/>
                    <a:gd name="T19" fmla="*/ 0 h 159"/>
                    <a:gd name="T20" fmla="*/ 0 w 240"/>
                    <a:gd name="T21" fmla="*/ 0 h 1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0"/>
                    <a:gd name="T34" fmla="*/ 0 h 159"/>
                    <a:gd name="T35" fmla="*/ 240 w 240"/>
                    <a:gd name="T36" fmla="*/ 159 h 1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0" h="159">
                      <a:moveTo>
                        <a:pt x="240" y="66"/>
                      </a:moveTo>
                      <a:lnTo>
                        <a:pt x="178" y="66"/>
                      </a:lnTo>
                      <a:lnTo>
                        <a:pt x="127" y="66"/>
                      </a:lnTo>
                      <a:lnTo>
                        <a:pt x="83" y="66"/>
                      </a:lnTo>
                      <a:lnTo>
                        <a:pt x="38" y="38"/>
                      </a:lnTo>
                      <a:lnTo>
                        <a:pt x="6" y="0"/>
                      </a:lnTo>
                      <a:lnTo>
                        <a:pt x="33" y="44"/>
                      </a:lnTo>
                      <a:lnTo>
                        <a:pt x="38" y="87"/>
                      </a:lnTo>
                      <a:lnTo>
                        <a:pt x="33" y="126"/>
                      </a:lnTo>
                      <a:lnTo>
                        <a:pt x="16" y="142"/>
                      </a:lnTo>
                      <a:lnTo>
                        <a:pt x="0" y="159"/>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sz="1800" b="0">
                    <a:solidFill>
                      <a:srgbClr val="000000"/>
                    </a:solidFill>
                    <a:latin typeface="Arial" panose="020B0604020202020204" pitchFamily="34" charset="0"/>
                  </a:endParaRPr>
                </a:p>
              </p:txBody>
            </p:sp>
            <p:sp>
              <p:nvSpPr>
                <p:cNvPr id="43111" name="Freeform 20"/>
                <p:cNvSpPr>
                  <a:spLocks/>
                </p:cNvSpPr>
                <p:nvPr/>
              </p:nvSpPr>
              <p:spPr bwMode="auto">
                <a:xfrm>
                  <a:off x="1926" y="1539"/>
                  <a:ext cx="46" cy="159"/>
                </a:xfrm>
                <a:custGeom>
                  <a:avLst/>
                  <a:gdLst>
                    <a:gd name="T0" fmla="*/ 0 w 139"/>
                    <a:gd name="T1" fmla="*/ 0 h 636"/>
                    <a:gd name="T2" fmla="*/ 0 w 139"/>
                    <a:gd name="T3" fmla="*/ 0 h 636"/>
                    <a:gd name="T4" fmla="*/ 0 w 139"/>
                    <a:gd name="T5" fmla="*/ 0 h 636"/>
                    <a:gd name="T6" fmla="*/ 0 w 139"/>
                    <a:gd name="T7" fmla="*/ 0 h 636"/>
                    <a:gd name="T8" fmla="*/ 0 w 139"/>
                    <a:gd name="T9" fmla="*/ 0 h 636"/>
                    <a:gd name="T10" fmla="*/ 0 w 139"/>
                    <a:gd name="T11" fmla="*/ 0 h 636"/>
                    <a:gd name="T12" fmla="*/ 0 w 139"/>
                    <a:gd name="T13" fmla="*/ 0 h 636"/>
                    <a:gd name="T14" fmla="*/ 0 w 139"/>
                    <a:gd name="T15" fmla="*/ 0 h 636"/>
                    <a:gd name="T16" fmla="*/ 0 w 139"/>
                    <a:gd name="T17" fmla="*/ 0 h 636"/>
                    <a:gd name="T18" fmla="*/ 0 w 139"/>
                    <a:gd name="T19" fmla="*/ 0 h 636"/>
                    <a:gd name="T20" fmla="*/ 0 w 139"/>
                    <a:gd name="T21" fmla="*/ 0 h 636"/>
                    <a:gd name="T22" fmla="*/ 0 w 139"/>
                    <a:gd name="T23" fmla="*/ 0 h 636"/>
                    <a:gd name="T24" fmla="*/ 0 w 139"/>
                    <a:gd name="T25" fmla="*/ 0 h 636"/>
                    <a:gd name="T26" fmla="*/ 0 w 139"/>
                    <a:gd name="T27" fmla="*/ 0 h 636"/>
                    <a:gd name="T28" fmla="*/ 0 w 139"/>
                    <a:gd name="T29" fmla="*/ 0 h 636"/>
                    <a:gd name="T30" fmla="*/ 0 w 139"/>
                    <a:gd name="T31" fmla="*/ 0 h 636"/>
                    <a:gd name="T32" fmla="*/ 0 w 139"/>
                    <a:gd name="T33" fmla="*/ 0 h 636"/>
                    <a:gd name="T34" fmla="*/ 0 w 139"/>
                    <a:gd name="T35" fmla="*/ 0 h 636"/>
                    <a:gd name="T36" fmla="*/ 0 w 139"/>
                    <a:gd name="T37" fmla="*/ 0 h 636"/>
                    <a:gd name="T38" fmla="*/ 0 w 139"/>
                    <a:gd name="T39" fmla="*/ 0 h 636"/>
                    <a:gd name="T40" fmla="*/ 0 w 139"/>
                    <a:gd name="T41" fmla="*/ 0 h 636"/>
                    <a:gd name="T42" fmla="*/ 0 w 139"/>
                    <a:gd name="T43" fmla="*/ 0 h 6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636"/>
                    <a:gd name="T68" fmla="*/ 139 w 139"/>
                    <a:gd name="T69" fmla="*/ 636 h 6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636">
                      <a:moveTo>
                        <a:pt x="0" y="0"/>
                      </a:moveTo>
                      <a:lnTo>
                        <a:pt x="6" y="45"/>
                      </a:lnTo>
                      <a:lnTo>
                        <a:pt x="17" y="88"/>
                      </a:lnTo>
                      <a:lnTo>
                        <a:pt x="62" y="115"/>
                      </a:lnTo>
                      <a:lnTo>
                        <a:pt x="28" y="149"/>
                      </a:lnTo>
                      <a:lnTo>
                        <a:pt x="22" y="186"/>
                      </a:lnTo>
                      <a:lnTo>
                        <a:pt x="39" y="231"/>
                      </a:lnTo>
                      <a:lnTo>
                        <a:pt x="67" y="275"/>
                      </a:lnTo>
                      <a:lnTo>
                        <a:pt x="73" y="302"/>
                      </a:lnTo>
                      <a:lnTo>
                        <a:pt x="79" y="351"/>
                      </a:lnTo>
                      <a:lnTo>
                        <a:pt x="56" y="390"/>
                      </a:lnTo>
                      <a:lnTo>
                        <a:pt x="34" y="428"/>
                      </a:lnTo>
                      <a:lnTo>
                        <a:pt x="73" y="439"/>
                      </a:lnTo>
                      <a:lnTo>
                        <a:pt x="84" y="467"/>
                      </a:lnTo>
                      <a:lnTo>
                        <a:pt x="101" y="522"/>
                      </a:lnTo>
                      <a:lnTo>
                        <a:pt x="101" y="538"/>
                      </a:lnTo>
                      <a:lnTo>
                        <a:pt x="89" y="554"/>
                      </a:lnTo>
                      <a:lnTo>
                        <a:pt x="84" y="587"/>
                      </a:lnTo>
                      <a:lnTo>
                        <a:pt x="89" y="609"/>
                      </a:lnTo>
                      <a:lnTo>
                        <a:pt x="123" y="626"/>
                      </a:lnTo>
                      <a:lnTo>
                        <a:pt x="129" y="636"/>
                      </a:lnTo>
                      <a:lnTo>
                        <a:pt x="139" y="631"/>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sz="1800" b="0">
                    <a:solidFill>
                      <a:srgbClr val="000000"/>
                    </a:solidFill>
                    <a:latin typeface="Arial" panose="020B0604020202020204" pitchFamily="34" charset="0"/>
                  </a:endParaRPr>
                </a:p>
              </p:txBody>
            </p:sp>
            <p:sp>
              <p:nvSpPr>
                <p:cNvPr id="43112" name="Freeform 21"/>
                <p:cNvSpPr>
                  <a:spLocks/>
                </p:cNvSpPr>
                <p:nvPr/>
              </p:nvSpPr>
              <p:spPr bwMode="auto">
                <a:xfrm>
                  <a:off x="2387" y="1499"/>
                  <a:ext cx="32" cy="33"/>
                </a:xfrm>
                <a:custGeom>
                  <a:avLst/>
                  <a:gdLst>
                    <a:gd name="T0" fmla="*/ 0 w 95"/>
                    <a:gd name="T1" fmla="*/ 0 h 131"/>
                    <a:gd name="T2" fmla="*/ 0 w 95"/>
                    <a:gd name="T3" fmla="*/ 0 h 131"/>
                    <a:gd name="T4" fmla="*/ 0 w 95"/>
                    <a:gd name="T5" fmla="*/ 0 h 131"/>
                    <a:gd name="T6" fmla="*/ 0 w 95"/>
                    <a:gd name="T7" fmla="*/ 0 h 131"/>
                    <a:gd name="T8" fmla="*/ 0 w 95"/>
                    <a:gd name="T9" fmla="*/ 0 h 131"/>
                    <a:gd name="T10" fmla="*/ 0 w 95"/>
                    <a:gd name="T11" fmla="*/ 0 h 131"/>
                    <a:gd name="T12" fmla="*/ 0 w 95"/>
                    <a:gd name="T13" fmla="*/ 0 h 131"/>
                    <a:gd name="T14" fmla="*/ 0 w 95"/>
                    <a:gd name="T15" fmla="*/ 0 h 131"/>
                    <a:gd name="T16" fmla="*/ 0 60000 65536"/>
                    <a:gd name="T17" fmla="*/ 0 60000 65536"/>
                    <a:gd name="T18" fmla="*/ 0 60000 65536"/>
                    <a:gd name="T19" fmla="*/ 0 60000 65536"/>
                    <a:gd name="T20" fmla="*/ 0 60000 65536"/>
                    <a:gd name="T21" fmla="*/ 0 60000 65536"/>
                    <a:gd name="T22" fmla="*/ 0 60000 65536"/>
                    <a:gd name="T23" fmla="*/ 0 60000 65536"/>
                    <a:gd name="T24" fmla="*/ 0 w 95"/>
                    <a:gd name="T25" fmla="*/ 0 h 131"/>
                    <a:gd name="T26" fmla="*/ 95 w 95"/>
                    <a:gd name="T27" fmla="*/ 131 h 13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5" h="131">
                      <a:moveTo>
                        <a:pt x="12" y="0"/>
                      </a:moveTo>
                      <a:lnTo>
                        <a:pt x="0" y="23"/>
                      </a:lnTo>
                      <a:lnTo>
                        <a:pt x="0" y="60"/>
                      </a:lnTo>
                      <a:lnTo>
                        <a:pt x="12" y="82"/>
                      </a:lnTo>
                      <a:lnTo>
                        <a:pt x="22" y="115"/>
                      </a:lnTo>
                      <a:lnTo>
                        <a:pt x="34" y="131"/>
                      </a:lnTo>
                      <a:lnTo>
                        <a:pt x="61" y="99"/>
                      </a:lnTo>
                      <a:lnTo>
                        <a:pt x="95" y="99"/>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sz="1800" b="0">
                    <a:solidFill>
                      <a:srgbClr val="000000"/>
                    </a:solidFill>
                    <a:latin typeface="Arial" panose="020B0604020202020204" pitchFamily="34" charset="0"/>
                  </a:endParaRPr>
                </a:p>
              </p:txBody>
            </p:sp>
            <p:sp>
              <p:nvSpPr>
                <p:cNvPr id="43113" name="Freeform 22"/>
                <p:cNvSpPr>
                  <a:spLocks/>
                </p:cNvSpPr>
                <p:nvPr/>
              </p:nvSpPr>
              <p:spPr bwMode="auto">
                <a:xfrm>
                  <a:off x="2375" y="1555"/>
                  <a:ext cx="25" cy="46"/>
                </a:xfrm>
                <a:custGeom>
                  <a:avLst/>
                  <a:gdLst>
                    <a:gd name="T0" fmla="*/ 0 w 77"/>
                    <a:gd name="T1" fmla="*/ 0 h 181"/>
                    <a:gd name="T2" fmla="*/ 0 w 77"/>
                    <a:gd name="T3" fmla="*/ 0 h 181"/>
                    <a:gd name="T4" fmla="*/ 0 w 77"/>
                    <a:gd name="T5" fmla="*/ 0 h 181"/>
                    <a:gd name="T6" fmla="*/ 0 w 77"/>
                    <a:gd name="T7" fmla="*/ 0 h 181"/>
                    <a:gd name="T8" fmla="*/ 0 w 77"/>
                    <a:gd name="T9" fmla="*/ 0 h 181"/>
                    <a:gd name="T10" fmla="*/ 0 w 77"/>
                    <a:gd name="T11" fmla="*/ 0 h 181"/>
                    <a:gd name="T12" fmla="*/ 0 60000 65536"/>
                    <a:gd name="T13" fmla="*/ 0 60000 65536"/>
                    <a:gd name="T14" fmla="*/ 0 60000 65536"/>
                    <a:gd name="T15" fmla="*/ 0 60000 65536"/>
                    <a:gd name="T16" fmla="*/ 0 60000 65536"/>
                    <a:gd name="T17" fmla="*/ 0 60000 65536"/>
                    <a:gd name="T18" fmla="*/ 0 w 77"/>
                    <a:gd name="T19" fmla="*/ 0 h 181"/>
                    <a:gd name="T20" fmla="*/ 77 w 77"/>
                    <a:gd name="T21" fmla="*/ 181 h 181"/>
                  </a:gdLst>
                  <a:ahLst/>
                  <a:cxnLst>
                    <a:cxn ang="T12">
                      <a:pos x="T0" y="T1"/>
                    </a:cxn>
                    <a:cxn ang="T13">
                      <a:pos x="T2" y="T3"/>
                    </a:cxn>
                    <a:cxn ang="T14">
                      <a:pos x="T4" y="T5"/>
                    </a:cxn>
                    <a:cxn ang="T15">
                      <a:pos x="T6" y="T7"/>
                    </a:cxn>
                    <a:cxn ang="T16">
                      <a:pos x="T8" y="T9"/>
                    </a:cxn>
                    <a:cxn ang="T17">
                      <a:pos x="T10" y="T11"/>
                    </a:cxn>
                  </a:cxnLst>
                  <a:rect l="T18" t="T19" r="T20" b="T21"/>
                  <a:pathLst>
                    <a:path w="77" h="181">
                      <a:moveTo>
                        <a:pt x="77" y="0"/>
                      </a:moveTo>
                      <a:lnTo>
                        <a:pt x="32" y="33"/>
                      </a:lnTo>
                      <a:lnTo>
                        <a:pt x="16" y="61"/>
                      </a:lnTo>
                      <a:lnTo>
                        <a:pt x="4" y="110"/>
                      </a:lnTo>
                      <a:lnTo>
                        <a:pt x="16" y="154"/>
                      </a:lnTo>
                      <a:lnTo>
                        <a:pt x="0" y="181"/>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sz="1800" b="0">
                    <a:solidFill>
                      <a:srgbClr val="000000"/>
                    </a:solidFill>
                    <a:latin typeface="Arial" panose="020B0604020202020204" pitchFamily="34" charset="0"/>
                  </a:endParaRPr>
                </a:p>
              </p:txBody>
            </p:sp>
            <p:sp>
              <p:nvSpPr>
                <p:cNvPr id="43114" name="Freeform 23"/>
                <p:cNvSpPr>
                  <a:spLocks/>
                </p:cNvSpPr>
                <p:nvPr/>
              </p:nvSpPr>
              <p:spPr bwMode="auto">
                <a:xfrm>
                  <a:off x="2324" y="1624"/>
                  <a:ext cx="26" cy="48"/>
                </a:xfrm>
                <a:custGeom>
                  <a:avLst/>
                  <a:gdLst>
                    <a:gd name="T0" fmla="*/ 0 w 78"/>
                    <a:gd name="T1" fmla="*/ 0 h 192"/>
                    <a:gd name="T2" fmla="*/ 0 w 78"/>
                    <a:gd name="T3" fmla="*/ 0 h 192"/>
                    <a:gd name="T4" fmla="*/ 0 w 78"/>
                    <a:gd name="T5" fmla="*/ 0 h 192"/>
                    <a:gd name="T6" fmla="*/ 0 w 78"/>
                    <a:gd name="T7" fmla="*/ 0 h 192"/>
                    <a:gd name="T8" fmla="*/ 0 w 78"/>
                    <a:gd name="T9" fmla="*/ 0 h 192"/>
                    <a:gd name="T10" fmla="*/ 0 w 78"/>
                    <a:gd name="T11" fmla="*/ 0 h 192"/>
                    <a:gd name="T12" fmla="*/ 0 60000 65536"/>
                    <a:gd name="T13" fmla="*/ 0 60000 65536"/>
                    <a:gd name="T14" fmla="*/ 0 60000 65536"/>
                    <a:gd name="T15" fmla="*/ 0 60000 65536"/>
                    <a:gd name="T16" fmla="*/ 0 60000 65536"/>
                    <a:gd name="T17" fmla="*/ 0 60000 65536"/>
                    <a:gd name="T18" fmla="*/ 0 w 78"/>
                    <a:gd name="T19" fmla="*/ 0 h 192"/>
                    <a:gd name="T20" fmla="*/ 78 w 78"/>
                    <a:gd name="T21" fmla="*/ 192 h 192"/>
                  </a:gdLst>
                  <a:ahLst/>
                  <a:cxnLst>
                    <a:cxn ang="T12">
                      <a:pos x="T0" y="T1"/>
                    </a:cxn>
                    <a:cxn ang="T13">
                      <a:pos x="T2" y="T3"/>
                    </a:cxn>
                    <a:cxn ang="T14">
                      <a:pos x="T4" y="T5"/>
                    </a:cxn>
                    <a:cxn ang="T15">
                      <a:pos x="T6" y="T7"/>
                    </a:cxn>
                    <a:cxn ang="T16">
                      <a:pos x="T8" y="T9"/>
                    </a:cxn>
                    <a:cxn ang="T17">
                      <a:pos x="T10" y="T11"/>
                    </a:cxn>
                  </a:cxnLst>
                  <a:rect l="T18" t="T19" r="T20" b="T21"/>
                  <a:pathLst>
                    <a:path w="78" h="192">
                      <a:moveTo>
                        <a:pt x="78" y="0"/>
                      </a:moveTo>
                      <a:lnTo>
                        <a:pt x="32" y="39"/>
                      </a:lnTo>
                      <a:lnTo>
                        <a:pt x="16" y="94"/>
                      </a:lnTo>
                      <a:lnTo>
                        <a:pt x="0" y="149"/>
                      </a:lnTo>
                      <a:lnTo>
                        <a:pt x="0" y="186"/>
                      </a:lnTo>
                      <a:lnTo>
                        <a:pt x="0" y="192"/>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sz="1800" b="0">
                    <a:solidFill>
                      <a:srgbClr val="000000"/>
                    </a:solidFill>
                    <a:latin typeface="Arial" panose="020B0604020202020204" pitchFamily="34" charset="0"/>
                  </a:endParaRPr>
                </a:p>
              </p:txBody>
            </p:sp>
            <p:sp>
              <p:nvSpPr>
                <p:cNvPr id="43115" name="Freeform 24"/>
                <p:cNvSpPr>
                  <a:spLocks/>
                </p:cNvSpPr>
                <p:nvPr/>
              </p:nvSpPr>
              <p:spPr bwMode="auto">
                <a:xfrm>
                  <a:off x="2267" y="1682"/>
                  <a:ext cx="44" cy="35"/>
                </a:xfrm>
                <a:custGeom>
                  <a:avLst/>
                  <a:gdLst>
                    <a:gd name="T0" fmla="*/ 0 w 133"/>
                    <a:gd name="T1" fmla="*/ 0 h 142"/>
                    <a:gd name="T2" fmla="*/ 0 w 133"/>
                    <a:gd name="T3" fmla="*/ 0 h 142"/>
                    <a:gd name="T4" fmla="*/ 0 w 133"/>
                    <a:gd name="T5" fmla="*/ 0 h 142"/>
                    <a:gd name="T6" fmla="*/ 0 w 133"/>
                    <a:gd name="T7" fmla="*/ 0 h 142"/>
                    <a:gd name="T8" fmla="*/ 0 w 133"/>
                    <a:gd name="T9" fmla="*/ 0 h 142"/>
                    <a:gd name="T10" fmla="*/ 0 w 133"/>
                    <a:gd name="T11" fmla="*/ 0 h 142"/>
                    <a:gd name="T12" fmla="*/ 0 60000 65536"/>
                    <a:gd name="T13" fmla="*/ 0 60000 65536"/>
                    <a:gd name="T14" fmla="*/ 0 60000 65536"/>
                    <a:gd name="T15" fmla="*/ 0 60000 65536"/>
                    <a:gd name="T16" fmla="*/ 0 60000 65536"/>
                    <a:gd name="T17" fmla="*/ 0 60000 65536"/>
                    <a:gd name="T18" fmla="*/ 0 w 133"/>
                    <a:gd name="T19" fmla="*/ 0 h 142"/>
                    <a:gd name="T20" fmla="*/ 133 w 133"/>
                    <a:gd name="T21" fmla="*/ 142 h 142"/>
                  </a:gdLst>
                  <a:ahLst/>
                  <a:cxnLst>
                    <a:cxn ang="T12">
                      <a:pos x="T0" y="T1"/>
                    </a:cxn>
                    <a:cxn ang="T13">
                      <a:pos x="T2" y="T3"/>
                    </a:cxn>
                    <a:cxn ang="T14">
                      <a:pos x="T4" y="T5"/>
                    </a:cxn>
                    <a:cxn ang="T15">
                      <a:pos x="T6" y="T7"/>
                    </a:cxn>
                    <a:cxn ang="T16">
                      <a:pos x="T8" y="T9"/>
                    </a:cxn>
                    <a:cxn ang="T17">
                      <a:pos x="T10" y="T11"/>
                    </a:cxn>
                  </a:cxnLst>
                  <a:rect l="T18" t="T19" r="T20" b="T21"/>
                  <a:pathLst>
                    <a:path w="133" h="142">
                      <a:moveTo>
                        <a:pt x="133" y="0"/>
                      </a:moveTo>
                      <a:lnTo>
                        <a:pt x="106" y="38"/>
                      </a:lnTo>
                      <a:lnTo>
                        <a:pt x="94" y="77"/>
                      </a:lnTo>
                      <a:lnTo>
                        <a:pt x="56" y="93"/>
                      </a:lnTo>
                      <a:lnTo>
                        <a:pt x="38" y="126"/>
                      </a:lnTo>
                      <a:lnTo>
                        <a:pt x="0" y="142"/>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sz="1800" b="0">
                    <a:solidFill>
                      <a:srgbClr val="000000"/>
                    </a:solidFill>
                    <a:latin typeface="Arial" panose="020B0604020202020204" pitchFamily="34" charset="0"/>
                  </a:endParaRPr>
                </a:p>
              </p:txBody>
            </p:sp>
          </p:grpSp>
        </p:grpSp>
      </p:grpSp>
      <p:sp>
        <p:nvSpPr>
          <p:cNvPr id="43014" name="Freeform 26"/>
          <p:cNvSpPr>
            <a:spLocks/>
          </p:cNvSpPr>
          <p:nvPr/>
        </p:nvSpPr>
        <p:spPr bwMode="auto">
          <a:xfrm>
            <a:off x="4496992" y="1808166"/>
            <a:ext cx="371475" cy="233363"/>
          </a:xfrm>
          <a:custGeom>
            <a:avLst/>
            <a:gdLst>
              <a:gd name="T0" fmla="*/ 0 w 334"/>
              <a:gd name="T1" fmla="*/ 2147483647 h 187"/>
              <a:gd name="T2" fmla="*/ 2147483647 w 334"/>
              <a:gd name="T3" fmla="*/ 2147483647 h 187"/>
              <a:gd name="T4" fmla="*/ 2147483647 w 334"/>
              <a:gd name="T5" fmla="*/ 2147483647 h 187"/>
              <a:gd name="T6" fmla="*/ 2147483647 w 334"/>
              <a:gd name="T7" fmla="*/ 2147483647 h 187"/>
              <a:gd name="T8" fmla="*/ 2147483647 w 334"/>
              <a:gd name="T9" fmla="*/ 2147483647 h 187"/>
              <a:gd name="T10" fmla="*/ 2147483647 w 334"/>
              <a:gd name="T11" fmla="*/ 2147483647 h 187"/>
              <a:gd name="T12" fmla="*/ 2147483647 w 334"/>
              <a:gd name="T13" fmla="*/ 2147483647 h 187"/>
              <a:gd name="T14" fmla="*/ 2147483647 w 334"/>
              <a:gd name="T15" fmla="*/ 2147483647 h 187"/>
              <a:gd name="T16" fmla="*/ 2147483647 w 334"/>
              <a:gd name="T17" fmla="*/ 2147483647 h 187"/>
              <a:gd name="T18" fmla="*/ 2147483647 w 334"/>
              <a:gd name="T19" fmla="*/ 2147483647 h 187"/>
              <a:gd name="T20" fmla="*/ 2147483647 w 334"/>
              <a:gd name="T21" fmla="*/ 0 h 187"/>
              <a:gd name="T22" fmla="*/ 2147483647 w 334"/>
              <a:gd name="T23" fmla="*/ 2147483647 h 187"/>
              <a:gd name="T24" fmla="*/ 2147483647 w 334"/>
              <a:gd name="T25" fmla="*/ 2147483647 h 187"/>
              <a:gd name="T26" fmla="*/ 2147483647 w 334"/>
              <a:gd name="T27" fmla="*/ 2147483647 h 187"/>
              <a:gd name="T28" fmla="*/ 2147483647 w 334"/>
              <a:gd name="T29" fmla="*/ 2147483647 h 187"/>
              <a:gd name="T30" fmla="*/ 2147483647 w 334"/>
              <a:gd name="T31" fmla="*/ 2147483647 h 187"/>
              <a:gd name="T32" fmla="*/ 2147483647 w 334"/>
              <a:gd name="T33" fmla="*/ 2147483647 h 187"/>
              <a:gd name="T34" fmla="*/ 2147483647 w 334"/>
              <a:gd name="T35" fmla="*/ 2147483647 h 187"/>
              <a:gd name="T36" fmla="*/ 2147483647 w 334"/>
              <a:gd name="T37" fmla="*/ 2147483647 h 187"/>
              <a:gd name="T38" fmla="*/ 2147483647 w 334"/>
              <a:gd name="T39" fmla="*/ 2147483647 h 187"/>
              <a:gd name="T40" fmla="*/ 0 w 334"/>
              <a:gd name="T41" fmla="*/ 2147483647 h 18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4"/>
              <a:gd name="T64" fmla="*/ 0 h 187"/>
              <a:gd name="T65" fmla="*/ 334 w 334"/>
              <a:gd name="T66" fmla="*/ 187 h 18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4" h="187">
                <a:moveTo>
                  <a:pt x="0" y="105"/>
                </a:moveTo>
                <a:lnTo>
                  <a:pt x="42" y="129"/>
                </a:lnTo>
                <a:lnTo>
                  <a:pt x="73" y="161"/>
                </a:lnTo>
                <a:lnTo>
                  <a:pt x="149" y="186"/>
                </a:lnTo>
                <a:lnTo>
                  <a:pt x="201" y="177"/>
                </a:lnTo>
                <a:lnTo>
                  <a:pt x="270" y="153"/>
                </a:lnTo>
                <a:lnTo>
                  <a:pt x="304" y="129"/>
                </a:lnTo>
                <a:lnTo>
                  <a:pt x="329" y="81"/>
                </a:lnTo>
                <a:lnTo>
                  <a:pt x="333" y="43"/>
                </a:lnTo>
                <a:lnTo>
                  <a:pt x="324" y="13"/>
                </a:lnTo>
                <a:lnTo>
                  <a:pt x="302" y="0"/>
                </a:lnTo>
                <a:lnTo>
                  <a:pt x="263" y="8"/>
                </a:lnTo>
                <a:lnTo>
                  <a:pt x="228" y="14"/>
                </a:lnTo>
                <a:lnTo>
                  <a:pt x="209" y="20"/>
                </a:lnTo>
                <a:lnTo>
                  <a:pt x="187" y="16"/>
                </a:lnTo>
                <a:lnTo>
                  <a:pt x="171" y="30"/>
                </a:lnTo>
                <a:lnTo>
                  <a:pt x="137" y="46"/>
                </a:lnTo>
                <a:lnTo>
                  <a:pt x="102" y="56"/>
                </a:lnTo>
                <a:lnTo>
                  <a:pt x="72" y="70"/>
                </a:lnTo>
                <a:lnTo>
                  <a:pt x="31" y="83"/>
                </a:lnTo>
                <a:lnTo>
                  <a:pt x="0" y="105"/>
                </a:lnTo>
              </a:path>
            </a:pathLst>
          </a:custGeom>
          <a:solidFill>
            <a:srgbClr val="B2B2B2"/>
          </a:solidFill>
          <a:ln w="9525" cap="rnd">
            <a:solidFill>
              <a:srgbClr val="FFFF00"/>
            </a:solidFill>
            <a:round/>
            <a:headEnd/>
            <a:tailEnd/>
          </a:ln>
        </p:spPr>
        <p:txBody>
          <a:bodyPr/>
          <a:lstStyle/>
          <a:p>
            <a:endParaRPr lang="cs-CZ" sz="1800" b="0">
              <a:solidFill>
                <a:srgbClr val="000000"/>
              </a:solidFill>
              <a:latin typeface="Arial" panose="020B0604020202020204" pitchFamily="34" charset="0"/>
            </a:endParaRPr>
          </a:p>
        </p:txBody>
      </p:sp>
      <p:sp>
        <p:nvSpPr>
          <p:cNvPr id="43015" name="Freeform 27"/>
          <p:cNvSpPr>
            <a:spLocks/>
          </p:cNvSpPr>
          <p:nvPr/>
        </p:nvSpPr>
        <p:spPr bwMode="auto">
          <a:xfrm>
            <a:off x="4366022" y="1946279"/>
            <a:ext cx="303609" cy="517525"/>
          </a:xfrm>
          <a:custGeom>
            <a:avLst/>
            <a:gdLst>
              <a:gd name="T0" fmla="*/ 2147483647 w 275"/>
              <a:gd name="T1" fmla="*/ 2147483647 h 417"/>
              <a:gd name="T2" fmla="*/ 2147483647 w 275"/>
              <a:gd name="T3" fmla="*/ 2147483647 h 417"/>
              <a:gd name="T4" fmla="*/ 2147483647 w 275"/>
              <a:gd name="T5" fmla="*/ 2147483647 h 417"/>
              <a:gd name="T6" fmla="*/ 2147483647 w 275"/>
              <a:gd name="T7" fmla="*/ 2147483647 h 417"/>
              <a:gd name="T8" fmla="*/ 2147483647 w 275"/>
              <a:gd name="T9" fmla="*/ 2147483647 h 417"/>
              <a:gd name="T10" fmla="*/ 2147483647 w 275"/>
              <a:gd name="T11" fmla="*/ 2147483647 h 417"/>
              <a:gd name="T12" fmla="*/ 2147483647 w 275"/>
              <a:gd name="T13" fmla="*/ 2147483647 h 417"/>
              <a:gd name="T14" fmla="*/ 2147483647 w 275"/>
              <a:gd name="T15" fmla="*/ 2147483647 h 417"/>
              <a:gd name="T16" fmla="*/ 2147483647 w 275"/>
              <a:gd name="T17" fmla="*/ 2147483647 h 417"/>
              <a:gd name="T18" fmla="*/ 2147483647 w 275"/>
              <a:gd name="T19" fmla="*/ 2147483647 h 417"/>
              <a:gd name="T20" fmla="*/ 2147483647 w 275"/>
              <a:gd name="T21" fmla="*/ 2147483647 h 417"/>
              <a:gd name="T22" fmla="*/ 2147483647 w 275"/>
              <a:gd name="T23" fmla="*/ 2147483647 h 417"/>
              <a:gd name="T24" fmla="*/ 2147483647 w 275"/>
              <a:gd name="T25" fmla="*/ 2147483647 h 417"/>
              <a:gd name="T26" fmla="*/ 2147483647 w 275"/>
              <a:gd name="T27" fmla="*/ 2147483647 h 417"/>
              <a:gd name="T28" fmla="*/ 0 w 275"/>
              <a:gd name="T29" fmla="*/ 2147483647 h 417"/>
              <a:gd name="T30" fmla="*/ 2147483647 w 275"/>
              <a:gd name="T31" fmla="*/ 2147483647 h 417"/>
              <a:gd name="T32" fmla="*/ 2147483647 w 275"/>
              <a:gd name="T33" fmla="*/ 2147483647 h 417"/>
              <a:gd name="T34" fmla="*/ 2147483647 w 275"/>
              <a:gd name="T35" fmla="*/ 2147483647 h 417"/>
              <a:gd name="T36" fmla="*/ 2147483647 w 275"/>
              <a:gd name="T37" fmla="*/ 2147483647 h 417"/>
              <a:gd name="T38" fmla="*/ 2147483647 w 275"/>
              <a:gd name="T39" fmla="*/ 2147483647 h 417"/>
              <a:gd name="T40" fmla="*/ 2147483647 w 275"/>
              <a:gd name="T41" fmla="*/ 2147483647 h 417"/>
              <a:gd name="T42" fmla="*/ 2147483647 w 275"/>
              <a:gd name="T43" fmla="*/ 2147483647 h 417"/>
              <a:gd name="T44" fmla="*/ 2147483647 w 275"/>
              <a:gd name="T45" fmla="*/ 2147483647 h 417"/>
              <a:gd name="T46" fmla="*/ 2147483647 w 275"/>
              <a:gd name="T47" fmla="*/ 2147483647 h 417"/>
              <a:gd name="T48" fmla="*/ 2147483647 w 275"/>
              <a:gd name="T49" fmla="*/ 2147483647 h 417"/>
              <a:gd name="T50" fmla="*/ 2147483647 w 275"/>
              <a:gd name="T51" fmla="*/ 2147483647 h 417"/>
              <a:gd name="T52" fmla="*/ 2147483647 w 275"/>
              <a:gd name="T53" fmla="*/ 2147483647 h 417"/>
              <a:gd name="T54" fmla="*/ 2147483647 w 275"/>
              <a:gd name="T55" fmla="*/ 2147483647 h 417"/>
              <a:gd name="T56" fmla="*/ 2147483647 w 275"/>
              <a:gd name="T57" fmla="*/ 2147483647 h 417"/>
              <a:gd name="T58" fmla="*/ 2147483647 w 275"/>
              <a:gd name="T59" fmla="*/ 2147483647 h 417"/>
              <a:gd name="T60" fmla="*/ 2147483647 w 275"/>
              <a:gd name="T61" fmla="*/ 2147483647 h 417"/>
              <a:gd name="T62" fmla="*/ 2147483647 w 275"/>
              <a:gd name="T63" fmla="*/ 2147483647 h 417"/>
              <a:gd name="T64" fmla="*/ 2147483647 w 275"/>
              <a:gd name="T65" fmla="*/ 2147483647 h 417"/>
              <a:gd name="T66" fmla="*/ 2147483647 w 275"/>
              <a:gd name="T67" fmla="*/ 2147483647 h 417"/>
              <a:gd name="T68" fmla="*/ 2147483647 w 275"/>
              <a:gd name="T69" fmla="*/ 2147483647 h 417"/>
              <a:gd name="T70" fmla="*/ 2147483647 w 275"/>
              <a:gd name="T71" fmla="*/ 2147483647 h 417"/>
              <a:gd name="T72" fmla="*/ 2147483647 w 275"/>
              <a:gd name="T73" fmla="*/ 2147483647 h 417"/>
              <a:gd name="T74" fmla="*/ 2147483647 w 275"/>
              <a:gd name="T75" fmla="*/ 2147483647 h 417"/>
              <a:gd name="T76" fmla="*/ 2147483647 w 275"/>
              <a:gd name="T77" fmla="*/ 2147483647 h 417"/>
              <a:gd name="T78" fmla="*/ 2147483647 w 275"/>
              <a:gd name="T79" fmla="*/ 2147483647 h 417"/>
              <a:gd name="T80" fmla="*/ 2147483647 w 275"/>
              <a:gd name="T81" fmla="*/ 2147483647 h 417"/>
              <a:gd name="T82" fmla="*/ 2147483647 w 275"/>
              <a:gd name="T83" fmla="*/ 2147483647 h 417"/>
              <a:gd name="T84" fmla="*/ 2147483647 w 275"/>
              <a:gd name="T85" fmla="*/ 2147483647 h 4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5"/>
              <a:gd name="T130" fmla="*/ 0 h 417"/>
              <a:gd name="T131" fmla="*/ 275 w 275"/>
              <a:gd name="T132" fmla="*/ 417 h 4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5" h="417">
                <a:moveTo>
                  <a:pt x="186" y="416"/>
                </a:moveTo>
                <a:lnTo>
                  <a:pt x="184" y="410"/>
                </a:lnTo>
                <a:lnTo>
                  <a:pt x="179" y="398"/>
                </a:lnTo>
                <a:lnTo>
                  <a:pt x="174" y="383"/>
                </a:lnTo>
                <a:lnTo>
                  <a:pt x="166" y="366"/>
                </a:lnTo>
                <a:lnTo>
                  <a:pt x="157" y="347"/>
                </a:lnTo>
                <a:lnTo>
                  <a:pt x="148" y="325"/>
                </a:lnTo>
                <a:lnTo>
                  <a:pt x="138" y="303"/>
                </a:lnTo>
                <a:lnTo>
                  <a:pt x="128" y="280"/>
                </a:lnTo>
                <a:lnTo>
                  <a:pt x="117" y="258"/>
                </a:lnTo>
                <a:lnTo>
                  <a:pt x="107" y="237"/>
                </a:lnTo>
                <a:lnTo>
                  <a:pt x="98" y="218"/>
                </a:lnTo>
                <a:lnTo>
                  <a:pt x="90" y="201"/>
                </a:lnTo>
                <a:lnTo>
                  <a:pt x="84" y="187"/>
                </a:lnTo>
                <a:lnTo>
                  <a:pt x="79" y="176"/>
                </a:lnTo>
                <a:lnTo>
                  <a:pt x="76" y="170"/>
                </a:lnTo>
                <a:lnTo>
                  <a:pt x="75" y="169"/>
                </a:lnTo>
                <a:lnTo>
                  <a:pt x="71" y="158"/>
                </a:lnTo>
                <a:lnTo>
                  <a:pt x="67" y="148"/>
                </a:lnTo>
                <a:lnTo>
                  <a:pt x="65" y="139"/>
                </a:lnTo>
                <a:lnTo>
                  <a:pt x="62" y="130"/>
                </a:lnTo>
                <a:lnTo>
                  <a:pt x="62" y="122"/>
                </a:lnTo>
                <a:lnTo>
                  <a:pt x="61" y="115"/>
                </a:lnTo>
                <a:lnTo>
                  <a:pt x="62" y="109"/>
                </a:lnTo>
                <a:lnTo>
                  <a:pt x="62" y="104"/>
                </a:lnTo>
                <a:lnTo>
                  <a:pt x="62" y="99"/>
                </a:lnTo>
                <a:lnTo>
                  <a:pt x="65" y="94"/>
                </a:lnTo>
                <a:lnTo>
                  <a:pt x="65" y="91"/>
                </a:lnTo>
                <a:lnTo>
                  <a:pt x="66" y="88"/>
                </a:lnTo>
                <a:lnTo>
                  <a:pt x="67" y="85"/>
                </a:lnTo>
                <a:lnTo>
                  <a:pt x="67" y="83"/>
                </a:lnTo>
                <a:lnTo>
                  <a:pt x="68" y="82"/>
                </a:lnTo>
                <a:lnTo>
                  <a:pt x="68" y="81"/>
                </a:lnTo>
                <a:lnTo>
                  <a:pt x="66" y="81"/>
                </a:lnTo>
                <a:lnTo>
                  <a:pt x="61" y="80"/>
                </a:lnTo>
                <a:lnTo>
                  <a:pt x="53" y="77"/>
                </a:lnTo>
                <a:lnTo>
                  <a:pt x="44" y="74"/>
                </a:lnTo>
                <a:lnTo>
                  <a:pt x="34" y="70"/>
                </a:lnTo>
                <a:lnTo>
                  <a:pt x="23" y="65"/>
                </a:lnTo>
                <a:lnTo>
                  <a:pt x="13" y="58"/>
                </a:lnTo>
                <a:lnTo>
                  <a:pt x="2" y="50"/>
                </a:lnTo>
                <a:lnTo>
                  <a:pt x="2" y="48"/>
                </a:lnTo>
                <a:lnTo>
                  <a:pt x="1" y="45"/>
                </a:lnTo>
                <a:lnTo>
                  <a:pt x="0" y="42"/>
                </a:lnTo>
                <a:lnTo>
                  <a:pt x="0" y="41"/>
                </a:lnTo>
                <a:lnTo>
                  <a:pt x="7" y="28"/>
                </a:lnTo>
                <a:lnTo>
                  <a:pt x="15" y="18"/>
                </a:lnTo>
                <a:lnTo>
                  <a:pt x="23" y="11"/>
                </a:lnTo>
                <a:lnTo>
                  <a:pt x="31" y="5"/>
                </a:lnTo>
                <a:lnTo>
                  <a:pt x="39" y="3"/>
                </a:lnTo>
                <a:lnTo>
                  <a:pt x="47" y="1"/>
                </a:lnTo>
                <a:lnTo>
                  <a:pt x="56" y="0"/>
                </a:lnTo>
                <a:lnTo>
                  <a:pt x="64" y="1"/>
                </a:lnTo>
                <a:lnTo>
                  <a:pt x="71" y="3"/>
                </a:lnTo>
                <a:lnTo>
                  <a:pt x="80" y="5"/>
                </a:lnTo>
                <a:lnTo>
                  <a:pt x="88" y="7"/>
                </a:lnTo>
                <a:lnTo>
                  <a:pt x="97" y="10"/>
                </a:lnTo>
                <a:lnTo>
                  <a:pt x="106" y="12"/>
                </a:lnTo>
                <a:lnTo>
                  <a:pt x="116" y="14"/>
                </a:lnTo>
                <a:lnTo>
                  <a:pt x="126" y="15"/>
                </a:lnTo>
                <a:lnTo>
                  <a:pt x="137" y="14"/>
                </a:lnTo>
                <a:lnTo>
                  <a:pt x="140" y="14"/>
                </a:lnTo>
                <a:lnTo>
                  <a:pt x="142" y="12"/>
                </a:lnTo>
                <a:lnTo>
                  <a:pt x="144" y="11"/>
                </a:lnTo>
                <a:lnTo>
                  <a:pt x="147" y="11"/>
                </a:lnTo>
                <a:lnTo>
                  <a:pt x="156" y="10"/>
                </a:lnTo>
                <a:lnTo>
                  <a:pt x="165" y="10"/>
                </a:lnTo>
                <a:lnTo>
                  <a:pt x="174" y="10"/>
                </a:lnTo>
                <a:lnTo>
                  <a:pt x="183" y="10"/>
                </a:lnTo>
                <a:lnTo>
                  <a:pt x="193" y="11"/>
                </a:lnTo>
                <a:lnTo>
                  <a:pt x="203" y="11"/>
                </a:lnTo>
                <a:lnTo>
                  <a:pt x="212" y="11"/>
                </a:lnTo>
                <a:lnTo>
                  <a:pt x="221" y="12"/>
                </a:lnTo>
                <a:lnTo>
                  <a:pt x="227" y="12"/>
                </a:lnTo>
                <a:lnTo>
                  <a:pt x="232" y="15"/>
                </a:lnTo>
                <a:lnTo>
                  <a:pt x="236" y="17"/>
                </a:lnTo>
                <a:lnTo>
                  <a:pt x="241" y="21"/>
                </a:lnTo>
                <a:lnTo>
                  <a:pt x="244" y="25"/>
                </a:lnTo>
                <a:lnTo>
                  <a:pt x="248" y="29"/>
                </a:lnTo>
                <a:lnTo>
                  <a:pt x="250" y="34"/>
                </a:lnTo>
                <a:lnTo>
                  <a:pt x="252" y="38"/>
                </a:lnTo>
                <a:lnTo>
                  <a:pt x="253" y="40"/>
                </a:lnTo>
                <a:lnTo>
                  <a:pt x="252" y="43"/>
                </a:lnTo>
                <a:lnTo>
                  <a:pt x="251" y="47"/>
                </a:lnTo>
                <a:lnTo>
                  <a:pt x="250" y="52"/>
                </a:lnTo>
                <a:lnTo>
                  <a:pt x="248" y="57"/>
                </a:lnTo>
                <a:lnTo>
                  <a:pt x="245" y="63"/>
                </a:lnTo>
                <a:lnTo>
                  <a:pt x="242" y="69"/>
                </a:lnTo>
                <a:lnTo>
                  <a:pt x="239" y="76"/>
                </a:lnTo>
                <a:lnTo>
                  <a:pt x="236" y="82"/>
                </a:lnTo>
                <a:lnTo>
                  <a:pt x="234" y="88"/>
                </a:lnTo>
                <a:lnTo>
                  <a:pt x="231" y="94"/>
                </a:lnTo>
                <a:lnTo>
                  <a:pt x="230" y="99"/>
                </a:lnTo>
                <a:lnTo>
                  <a:pt x="227" y="104"/>
                </a:lnTo>
                <a:lnTo>
                  <a:pt x="226" y="108"/>
                </a:lnTo>
                <a:lnTo>
                  <a:pt x="226" y="111"/>
                </a:lnTo>
                <a:lnTo>
                  <a:pt x="227" y="113"/>
                </a:lnTo>
                <a:lnTo>
                  <a:pt x="229" y="115"/>
                </a:lnTo>
                <a:lnTo>
                  <a:pt x="230" y="117"/>
                </a:lnTo>
                <a:lnTo>
                  <a:pt x="231" y="119"/>
                </a:lnTo>
                <a:lnTo>
                  <a:pt x="231" y="121"/>
                </a:lnTo>
                <a:lnTo>
                  <a:pt x="232" y="123"/>
                </a:lnTo>
                <a:lnTo>
                  <a:pt x="233" y="127"/>
                </a:lnTo>
                <a:lnTo>
                  <a:pt x="233" y="130"/>
                </a:lnTo>
                <a:lnTo>
                  <a:pt x="234" y="133"/>
                </a:lnTo>
                <a:lnTo>
                  <a:pt x="234" y="137"/>
                </a:lnTo>
                <a:lnTo>
                  <a:pt x="235" y="141"/>
                </a:lnTo>
                <a:lnTo>
                  <a:pt x="235" y="146"/>
                </a:lnTo>
                <a:lnTo>
                  <a:pt x="236" y="151"/>
                </a:lnTo>
                <a:lnTo>
                  <a:pt x="236" y="157"/>
                </a:lnTo>
                <a:lnTo>
                  <a:pt x="236" y="163"/>
                </a:lnTo>
                <a:lnTo>
                  <a:pt x="238" y="170"/>
                </a:lnTo>
                <a:lnTo>
                  <a:pt x="239" y="178"/>
                </a:lnTo>
                <a:lnTo>
                  <a:pt x="239" y="186"/>
                </a:lnTo>
                <a:lnTo>
                  <a:pt x="240" y="195"/>
                </a:lnTo>
                <a:lnTo>
                  <a:pt x="241" y="204"/>
                </a:lnTo>
                <a:lnTo>
                  <a:pt x="242" y="214"/>
                </a:lnTo>
                <a:lnTo>
                  <a:pt x="243" y="225"/>
                </a:lnTo>
                <a:lnTo>
                  <a:pt x="244" y="236"/>
                </a:lnTo>
                <a:lnTo>
                  <a:pt x="247" y="249"/>
                </a:lnTo>
                <a:lnTo>
                  <a:pt x="248" y="262"/>
                </a:lnTo>
                <a:lnTo>
                  <a:pt x="250" y="277"/>
                </a:lnTo>
                <a:lnTo>
                  <a:pt x="253" y="292"/>
                </a:lnTo>
                <a:lnTo>
                  <a:pt x="256" y="308"/>
                </a:lnTo>
                <a:lnTo>
                  <a:pt x="258" y="325"/>
                </a:lnTo>
                <a:lnTo>
                  <a:pt x="261" y="343"/>
                </a:lnTo>
                <a:lnTo>
                  <a:pt x="265" y="362"/>
                </a:lnTo>
                <a:lnTo>
                  <a:pt x="269" y="383"/>
                </a:lnTo>
                <a:lnTo>
                  <a:pt x="274" y="404"/>
                </a:lnTo>
                <a:lnTo>
                  <a:pt x="186" y="416"/>
                </a:lnTo>
              </a:path>
            </a:pathLst>
          </a:custGeom>
          <a:solidFill>
            <a:srgbClr val="B2B2B2"/>
          </a:solidFill>
          <a:ln w="9525" cap="rnd">
            <a:solidFill>
              <a:srgbClr val="FFFF00"/>
            </a:solidFill>
            <a:round/>
            <a:headEnd/>
            <a:tailEnd/>
          </a:ln>
        </p:spPr>
        <p:txBody>
          <a:bodyPr/>
          <a:lstStyle/>
          <a:p>
            <a:endParaRPr lang="cs-CZ" sz="1800" b="0">
              <a:solidFill>
                <a:srgbClr val="000000"/>
              </a:solidFill>
              <a:latin typeface="Arial" panose="020B0604020202020204" pitchFamily="34" charset="0"/>
            </a:endParaRPr>
          </a:p>
        </p:txBody>
      </p:sp>
      <p:sp>
        <p:nvSpPr>
          <p:cNvPr id="43016" name="Freeform 28"/>
          <p:cNvSpPr>
            <a:spLocks/>
          </p:cNvSpPr>
          <p:nvPr/>
        </p:nvSpPr>
        <p:spPr bwMode="auto">
          <a:xfrm>
            <a:off x="3989786" y="1381130"/>
            <a:ext cx="881063" cy="569913"/>
          </a:xfrm>
          <a:custGeom>
            <a:avLst/>
            <a:gdLst>
              <a:gd name="T0" fmla="*/ 2147483647 w 794"/>
              <a:gd name="T1" fmla="*/ 2147483647 h 458"/>
              <a:gd name="T2" fmla="*/ 2147483647 w 794"/>
              <a:gd name="T3" fmla="*/ 2147483647 h 458"/>
              <a:gd name="T4" fmla="*/ 2147483647 w 794"/>
              <a:gd name="T5" fmla="*/ 2147483647 h 458"/>
              <a:gd name="T6" fmla="*/ 2147483647 w 794"/>
              <a:gd name="T7" fmla="*/ 2147483647 h 458"/>
              <a:gd name="T8" fmla="*/ 2147483647 w 794"/>
              <a:gd name="T9" fmla="*/ 2147483647 h 458"/>
              <a:gd name="T10" fmla="*/ 2147483647 w 794"/>
              <a:gd name="T11" fmla="*/ 2147483647 h 458"/>
              <a:gd name="T12" fmla="*/ 0 w 794"/>
              <a:gd name="T13" fmla="*/ 2147483647 h 458"/>
              <a:gd name="T14" fmla="*/ 2147483647 w 794"/>
              <a:gd name="T15" fmla="*/ 2147483647 h 458"/>
              <a:gd name="T16" fmla="*/ 2147483647 w 794"/>
              <a:gd name="T17" fmla="*/ 2147483647 h 458"/>
              <a:gd name="T18" fmla="*/ 2147483647 w 794"/>
              <a:gd name="T19" fmla="*/ 2147483647 h 458"/>
              <a:gd name="T20" fmla="*/ 2147483647 w 794"/>
              <a:gd name="T21" fmla="*/ 2147483647 h 458"/>
              <a:gd name="T22" fmla="*/ 2147483647 w 794"/>
              <a:gd name="T23" fmla="*/ 2147483647 h 458"/>
              <a:gd name="T24" fmla="*/ 2147483647 w 794"/>
              <a:gd name="T25" fmla="*/ 2147483647 h 458"/>
              <a:gd name="T26" fmla="*/ 2147483647 w 794"/>
              <a:gd name="T27" fmla="*/ 2147483647 h 458"/>
              <a:gd name="T28" fmla="*/ 2147483647 w 794"/>
              <a:gd name="T29" fmla="*/ 2147483647 h 458"/>
              <a:gd name="T30" fmla="*/ 2147483647 w 794"/>
              <a:gd name="T31" fmla="*/ 2147483647 h 458"/>
              <a:gd name="T32" fmla="*/ 2147483647 w 794"/>
              <a:gd name="T33" fmla="*/ 2147483647 h 458"/>
              <a:gd name="T34" fmla="*/ 2147483647 w 794"/>
              <a:gd name="T35" fmla="*/ 2147483647 h 458"/>
              <a:gd name="T36" fmla="*/ 2147483647 w 794"/>
              <a:gd name="T37" fmla="*/ 2147483647 h 458"/>
              <a:gd name="T38" fmla="*/ 2147483647 w 794"/>
              <a:gd name="T39" fmla="*/ 2147483647 h 458"/>
              <a:gd name="T40" fmla="*/ 2147483647 w 794"/>
              <a:gd name="T41" fmla="*/ 2147483647 h 458"/>
              <a:gd name="T42" fmla="*/ 2147483647 w 794"/>
              <a:gd name="T43" fmla="*/ 2147483647 h 458"/>
              <a:gd name="T44" fmla="*/ 2147483647 w 794"/>
              <a:gd name="T45" fmla="*/ 2147483647 h 458"/>
              <a:gd name="T46" fmla="*/ 2147483647 w 794"/>
              <a:gd name="T47" fmla="*/ 2147483647 h 458"/>
              <a:gd name="T48" fmla="*/ 2147483647 w 794"/>
              <a:gd name="T49" fmla="*/ 2147483647 h 458"/>
              <a:gd name="T50" fmla="*/ 2147483647 w 794"/>
              <a:gd name="T51" fmla="*/ 2147483647 h 458"/>
              <a:gd name="T52" fmla="*/ 2147483647 w 794"/>
              <a:gd name="T53" fmla="*/ 2147483647 h 458"/>
              <a:gd name="T54" fmla="*/ 2147483647 w 794"/>
              <a:gd name="T55" fmla="*/ 2147483647 h 458"/>
              <a:gd name="T56" fmla="*/ 2147483647 w 794"/>
              <a:gd name="T57" fmla="*/ 2147483647 h 458"/>
              <a:gd name="T58" fmla="*/ 2147483647 w 794"/>
              <a:gd name="T59" fmla="*/ 2147483647 h 458"/>
              <a:gd name="T60" fmla="*/ 2147483647 w 794"/>
              <a:gd name="T61" fmla="*/ 2147483647 h 458"/>
              <a:gd name="T62" fmla="*/ 2147483647 w 794"/>
              <a:gd name="T63" fmla="*/ 2147483647 h 458"/>
              <a:gd name="T64" fmla="*/ 2147483647 w 794"/>
              <a:gd name="T65" fmla="*/ 2147483647 h 458"/>
              <a:gd name="T66" fmla="*/ 2147483647 w 794"/>
              <a:gd name="T67" fmla="*/ 2147483647 h 458"/>
              <a:gd name="T68" fmla="*/ 2147483647 w 794"/>
              <a:gd name="T69" fmla="*/ 2147483647 h 458"/>
              <a:gd name="T70" fmla="*/ 2147483647 w 794"/>
              <a:gd name="T71" fmla="*/ 2147483647 h 458"/>
              <a:gd name="T72" fmla="*/ 2147483647 w 794"/>
              <a:gd name="T73" fmla="*/ 2147483647 h 458"/>
              <a:gd name="T74" fmla="*/ 2147483647 w 794"/>
              <a:gd name="T75" fmla="*/ 2147483647 h 458"/>
              <a:gd name="T76" fmla="*/ 2147483647 w 794"/>
              <a:gd name="T77" fmla="*/ 2147483647 h 458"/>
              <a:gd name="T78" fmla="*/ 2147483647 w 794"/>
              <a:gd name="T79" fmla="*/ 2147483647 h 458"/>
              <a:gd name="T80" fmla="*/ 2147483647 w 794"/>
              <a:gd name="T81" fmla="*/ 2147483647 h 458"/>
              <a:gd name="T82" fmla="*/ 2147483647 w 794"/>
              <a:gd name="T83" fmla="*/ 2147483647 h 458"/>
              <a:gd name="T84" fmla="*/ 2147483647 w 794"/>
              <a:gd name="T85" fmla="*/ 2147483647 h 458"/>
              <a:gd name="T86" fmla="*/ 2147483647 w 794"/>
              <a:gd name="T87" fmla="*/ 2147483647 h 458"/>
              <a:gd name="T88" fmla="*/ 2147483647 w 794"/>
              <a:gd name="T89" fmla="*/ 2147483647 h 458"/>
              <a:gd name="T90" fmla="*/ 2147483647 w 794"/>
              <a:gd name="T91" fmla="*/ 2147483647 h 458"/>
              <a:gd name="T92" fmla="*/ 2147483647 w 794"/>
              <a:gd name="T93" fmla="*/ 2147483647 h 458"/>
              <a:gd name="T94" fmla="*/ 2147483647 w 794"/>
              <a:gd name="T95" fmla="*/ 2147483647 h 458"/>
              <a:gd name="T96" fmla="*/ 2147483647 w 794"/>
              <a:gd name="T97" fmla="*/ 2147483647 h 458"/>
              <a:gd name="T98" fmla="*/ 2147483647 w 794"/>
              <a:gd name="T99" fmla="*/ 0 h 458"/>
              <a:gd name="T100" fmla="*/ 2147483647 w 794"/>
              <a:gd name="T101" fmla="*/ 2147483647 h 458"/>
              <a:gd name="T102" fmla="*/ 2147483647 w 794"/>
              <a:gd name="T103" fmla="*/ 2147483647 h 458"/>
              <a:gd name="T104" fmla="*/ 2147483647 w 794"/>
              <a:gd name="T105" fmla="*/ 2147483647 h 458"/>
              <a:gd name="T106" fmla="*/ 2147483647 w 794"/>
              <a:gd name="T107" fmla="*/ 2147483647 h 458"/>
              <a:gd name="T108" fmla="*/ 2147483647 w 794"/>
              <a:gd name="T109" fmla="*/ 2147483647 h 458"/>
              <a:gd name="T110" fmla="*/ 2147483647 w 794"/>
              <a:gd name="T111" fmla="*/ 2147483647 h 4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94"/>
              <a:gd name="T169" fmla="*/ 0 h 458"/>
              <a:gd name="T170" fmla="*/ 794 w 794"/>
              <a:gd name="T171" fmla="*/ 458 h 4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94" h="458">
                <a:moveTo>
                  <a:pt x="235" y="28"/>
                </a:moveTo>
                <a:lnTo>
                  <a:pt x="229" y="31"/>
                </a:lnTo>
                <a:lnTo>
                  <a:pt x="222" y="34"/>
                </a:lnTo>
                <a:lnTo>
                  <a:pt x="217" y="36"/>
                </a:lnTo>
                <a:lnTo>
                  <a:pt x="210" y="38"/>
                </a:lnTo>
                <a:lnTo>
                  <a:pt x="203" y="40"/>
                </a:lnTo>
                <a:lnTo>
                  <a:pt x="195" y="41"/>
                </a:lnTo>
                <a:lnTo>
                  <a:pt x="188" y="42"/>
                </a:lnTo>
                <a:lnTo>
                  <a:pt x="182" y="43"/>
                </a:lnTo>
                <a:lnTo>
                  <a:pt x="178" y="43"/>
                </a:lnTo>
                <a:lnTo>
                  <a:pt x="176" y="44"/>
                </a:lnTo>
                <a:lnTo>
                  <a:pt x="174" y="45"/>
                </a:lnTo>
                <a:lnTo>
                  <a:pt x="170" y="46"/>
                </a:lnTo>
                <a:lnTo>
                  <a:pt x="169" y="47"/>
                </a:lnTo>
                <a:lnTo>
                  <a:pt x="167" y="47"/>
                </a:lnTo>
                <a:lnTo>
                  <a:pt x="165" y="49"/>
                </a:lnTo>
                <a:lnTo>
                  <a:pt x="163" y="50"/>
                </a:lnTo>
                <a:lnTo>
                  <a:pt x="158" y="53"/>
                </a:lnTo>
                <a:lnTo>
                  <a:pt x="155" y="56"/>
                </a:lnTo>
                <a:lnTo>
                  <a:pt x="150" y="59"/>
                </a:lnTo>
                <a:lnTo>
                  <a:pt x="146" y="61"/>
                </a:lnTo>
                <a:lnTo>
                  <a:pt x="141" y="64"/>
                </a:lnTo>
                <a:lnTo>
                  <a:pt x="138" y="67"/>
                </a:lnTo>
                <a:lnTo>
                  <a:pt x="133" y="70"/>
                </a:lnTo>
                <a:lnTo>
                  <a:pt x="129" y="72"/>
                </a:lnTo>
                <a:lnTo>
                  <a:pt x="121" y="77"/>
                </a:lnTo>
                <a:lnTo>
                  <a:pt x="113" y="81"/>
                </a:lnTo>
                <a:lnTo>
                  <a:pt x="105" y="86"/>
                </a:lnTo>
                <a:lnTo>
                  <a:pt x="97" y="91"/>
                </a:lnTo>
                <a:lnTo>
                  <a:pt x="91" y="95"/>
                </a:lnTo>
                <a:lnTo>
                  <a:pt x="83" y="101"/>
                </a:lnTo>
                <a:lnTo>
                  <a:pt x="77" y="106"/>
                </a:lnTo>
                <a:lnTo>
                  <a:pt x="70" y="113"/>
                </a:lnTo>
                <a:lnTo>
                  <a:pt x="69" y="115"/>
                </a:lnTo>
                <a:lnTo>
                  <a:pt x="67" y="117"/>
                </a:lnTo>
                <a:lnTo>
                  <a:pt x="65" y="119"/>
                </a:lnTo>
                <a:lnTo>
                  <a:pt x="64" y="121"/>
                </a:lnTo>
                <a:lnTo>
                  <a:pt x="58" y="126"/>
                </a:lnTo>
                <a:lnTo>
                  <a:pt x="52" y="130"/>
                </a:lnTo>
                <a:lnTo>
                  <a:pt x="48" y="134"/>
                </a:lnTo>
                <a:lnTo>
                  <a:pt x="43" y="138"/>
                </a:lnTo>
                <a:lnTo>
                  <a:pt x="39" y="143"/>
                </a:lnTo>
                <a:lnTo>
                  <a:pt x="35" y="147"/>
                </a:lnTo>
                <a:lnTo>
                  <a:pt x="34" y="153"/>
                </a:lnTo>
                <a:lnTo>
                  <a:pt x="33" y="159"/>
                </a:lnTo>
                <a:lnTo>
                  <a:pt x="32" y="159"/>
                </a:lnTo>
                <a:lnTo>
                  <a:pt x="31" y="160"/>
                </a:lnTo>
                <a:lnTo>
                  <a:pt x="30" y="161"/>
                </a:lnTo>
                <a:lnTo>
                  <a:pt x="29" y="162"/>
                </a:lnTo>
                <a:lnTo>
                  <a:pt x="23" y="169"/>
                </a:lnTo>
                <a:lnTo>
                  <a:pt x="17" y="176"/>
                </a:lnTo>
                <a:lnTo>
                  <a:pt x="12" y="184"/>
                </a:lnTo>
                <a:lnTo>
                  <a:pt x="7" y="192"/>
                </a:lnTo>
                <a:lnTo>
                  <a:pt x="3" y="200"/>
                </a:lnTo>
                <a:lnTo>
                  <a:pt x="1" y="208"/>
                </a:lnTo>
                <a:lnTo>
                  <a:pt x="0" y="217"/>
                </a:lnTo>
                <a:lnTo>
                  <a:pt x="1" y="226"/>
                </a:lnTo>
                <a:lnTo>
                  <a:pt x="1" y="228"/>
                </a:lnTo>
                <a:lnTo>
                  <a:pt x="2" y="230"/>
                </a:lnTo>
                <a:lnTo>
                  <a:pt x="2" y="232"/>
                </a:lnTo>
                <a:lnTo>
                  <a:pt x="3" y="234"/>
                </a:lnTo>
                <a:lnTo>
                  <a:pt x="3" y="237"/>
                </a:lnTo>
                <a:lnTo>
                  <a:pt x="3" y="239"/>
                </a:lnTo>
                <a:lnTo>
                  <a:pt x="3" y="241"/>
                </a:lnTo>
                <a:lnTo>
                  <a:pt x="2" y="243"/>
                </a:lnTo>
                <a:lnTo>
                  <a:pt x="2" y="246"/>
                </a:lnTo>
                <a:lnTo>
                  <a:pt x="1" y="249"/>
                </a:lnTo>
                <a:lnTo>
                  <a:pt x="1" y="252"/>
                </a:lnTo>
                <a:lnTo>
                  <a:pt x="1" y="255"/>
                </a:lnTo>
                <a:lnTo>
                  <a:pt x="1" y="258"/>
                </a:lnTo>
                <a:lnTo>
                  <a:pt x="1" y="261"/>
                </a:lnTo>
                <a:lnTo>
                  <a:pt x="2" y="263"/>
                </a:lnTo>
                <a:lnTo>
                  <a:pt x="2" y="266"/>
                </a:lnTo>
                <a:lnTo>
                  <a:pt x="3" y="270"/>
                </a:lnTo>
                <a:lnTo>
                  <a:pt x="3" y="274"/>
                </a:lnTo>
                <a:lnTo>
                  <a:pt x="3" y="278"/>
                </a:lnTo>
                <a:lnTo>
                  <a:pt x="3" y="281"/>
                </a:lnTo>
                <a:lnTo>
                  <a:pt x="3" y="285"/>
                </a:lnTo>
                <a:lnTo>
                  <a:pt x="3" y="289"/>
                </a:lnTo>
                <a:lnTo>
                  <a:pt x="3" y="293"/>
                </a:lnTo>
                <a:lnTo>
                  <a:pt x="5" y="296"/>
                </a:lnTo>
                <a:lnTo>
                  <a:pt x="6" y="299"/>
                </a:lnTo>
                <a:lnTo>
                  <a:pt x="8" y="302"/>
                </a:lnTo>
                <a:lnTo>
                  <a:pt x="11" y="305"/>
                </a:lnTo>
                <a:lnTo>
                  <a:pt x="12" y="307"/>
                </a:lnTo>
                <a:lnTo>
                  <a:pt x="14" y="310"/>
                </a:lnTo>
                <a:lnTo>
                  <a:pt x="15" y="313"/>
                </a:lnTo>
                <a:lnTo>
                  <a:pt x="16" y="316"/>
                </a:lnTo>
                <a:lnTo>
                  <a:pt x="16" y="319"/>
                </a:lnTo>
                <a:lnTo>
                  <a:pt x="17" y="323"/>
                </a:lnTo>
                <a:lnTo>
                  <a:pt x="19" y="326"/>
                </a:lnTo>
                <a:lnTo>
                  <a:pt x="20" y="329"/>
                </a:lnTo>
                <a:lnTo>
                  <a:pt x="21" y="332"/>
                </a:lnTo>
                <a:lnTo>
                  <a:pt x="23" y="334"/>
                </a:lnTo>
                <a:lnTo>
                  <a:pt x="25" y="337"/>
                </a:lnTo>
                <a:lnTo>
                  <a:pt x="28" y="339"/>
                </a:lnTo>
                <a:lnTo>
                  <a:pt x="31" y="342"/>
                </a:lnTo>
                <a:lnTo>
                  <a:pt x="33" y="343"/>
                </a:lnTo>
                <a:lnTo>
                  <a:pt x="37" y="345"/>
                </a:lnTo>
                <a:lnTo>
                  <a:pt x="40" y="347"/>
                </a:lnTo>
                <a:lnTo>
                  <a:pt x="43" y="348"/>
                </a:lnTo>
                <a:lnTo>
                  <a:pt x="47" y="348"/>
                </a:lnTo>
                <a:lnTo>
                  <a:pt x="50" y="349"/>
                </a:lnTo>
                <a:lnTo>
                  <a:pt x="53" y="349"/>
                </a:lnTo>
                <a:lnTo>
                  <a:pt x="57" y="349"/>
                </a:lnTo>
                <a:lnTo>
                  <a:pt x="59" y="349"/>
                </a:lnTo>
                <a:lnTo>
                  <a:pt x="64" y="349"/>
                </a:lnTo>
                <a:lnTo>
                  <a:pt x="67" y="349"/>
                </a:lnTo>
                <a:lnTo>
                  <a:pt x="70" y="349"/>
                </a:lnTo>
                <a:lnTo>
                  <a:pt x="76" y="349"/>
                </a:lnTo>
                <a:lnTo>
                  <a:pt x="82" y="350"/>
                </a:lnTo>
                <a:lnTo>
                  <a:pt x="87" y="351"/>
                </a:lnTo>
                <a:lnTo>
                  <a:pt x="93" y="352"/>
                </a:lnTo>
                <a:lnTo>
                  <a:pt x="97" y="354"/>
                </a:lnTo>
                <a:lnTo>
                  <a:pt x="104" y="355"/>
                </a:lnTo>
                <a:lnTo>
                  <a:pt x="110" y="356"/>
                </a:lnTo>
                <a:lnTo>
                  <a:pt x="115" y="358"/>
                </a:lnTo>
                <a:lnTo>
                  <a:pt x="121" y="358"/>
                </a:lnTo>
                <a:lnTo>
                  <a:pt x="127" y="359"/>
                </a:lnTo>
                <a:lnTo>
                  <a:pt x="133" y="360"/>
                </a:lnTo>
                <a:lnTo>
                  <a:pt x="139" y="360"/>
                </a:lnTo>
                <a:lnTo>
                  <a:pt x="145" y="360"/>
                </a:lnTo>
                <a:lnTo>
                  <a:pt x="150" y="360"/>
                </a:lnTo>
                <a:lnTo>
                  <a:pt x="156" y="360"/>
                </a:lnTo>
                <a:lnTo>
                  <a:pt x="161" y="360"/>
                </a:lnTo>
                <a:lnTo>
                  <a:pt x="168" y="360"/>
                </a:lnTo>
                <a:lnTo>
                  <a:pt x="173" y="360"/>
                </a:lnTo>
                <a:lnTo>
                  <a:pt x="179" y="360"/>
                </a:lnTo>
                <a:lnTo>
                  <a:pt x="185" y="359"/>
                </a:lnTo>
                <a:lnTo>
                  <a:pt x="191" y="359"/>
                </a:lnTo>
                <a:lnTo>
                  <a:pt x="196" y="359"/>
                </a:lnTo>
                <a:lnTo>
                  <a:pt x="202" y="359"/>
                </a:lnTo>
                <a:lnTo>
                  <a:pt x="208" y="359"/>
                </a:lnTo>
                <a:lnTo>
                  <a:pt x="206" y="364"/>
                </a:lnTo>
                <a:lnTo>
                  <a:pt x="204" y="369"/>
                </a:lnTo>
                <a:lnTo>
                  <a:pt x="203" y="374"/>
                </a:lnTo>
                <a:lnTo>
                  <a:pt x="202" y="379"/>
                </a:lnTo>
                <a:lnTo>
                  <a:pt x="201" y="384"/>
                </a:lnTo>
                <a:lnTo>
                  <a:pt x="201" y="390"/>
                </a:lnTo>
                <a:lnTo>
                  <a:pt x="201" y="395"/>
                </a:lnTo>
                <a:lnTo>
                  <a:pt x="202" y="400"/>
                </a:lnTo>
                <a:lnTo>
                  <a:pt x="203" y="403"/>
                </a:lnTo>
                <a:lnTo>
                  <a:pt x="204" y="406"/>
                </a:lnTo>
                <a:lnTo>
                  <a:pt x="205" y="408"/>
                </a:lnTo>
                <a:lnTo>
                  <a:pt x="208" y="411"/>
                </a:lnTo>
                <a:lnTo>
                  <a:pt x="209" y="414"/>
                </a:lnTo>
                <a:lnTo>
                  <a:pt x="211" y="416"/>
                </a:lnTo>
                <a:lnTo>
                  <a:pt x="213" y="418"/>
                </a:lnTo>
                <a:lnTo>
                  <a:pt x="217" y="420"/>
                </a:lnTo>
                <a:lnTo>
                  <a:pt x="218" y="422"/>
                </a:lnTo>
                <a:lnTo>
                  <a:pt x="220" y="424"/>
                </a:lnTo>
                <a:lnTo>
                  <a:pt x="222" y="426"/>
                </a:lnTo>
                <a:lnTo>
                  <a:pt x="224" y="428"/>
                </a:lnTo>
                <a:lnTo>
                  <a:pt x="227" y="429"/>
                </a:lnTo>
                <a:lnTo>
                  <a:pt x="229" y="430"/>
                </a:lnTo>
                <a:lnTo>
                  <a:pt x="230" y="431"/>
                </a:lnTo>
                <a:lnTo>
                  <a:pt x="233" y="433"/>
                </a:lnTo>
                <a:lnTo>
                  <a:pt x="238" y="434"/>
                </a:lnTo>
                <a:lnTo>
                  <a:pt x="241" y="435"/>
                </a:lnTo>
                <a:lnTo>
                  <a:pt x="246" y="434"/>
                </a:lnTo>
                <a:lnTo>
                  <a:pt x="250" y="434"/>
                </a:lnTo>
                <a:lnTo>
                  <a:pt x="255" y="434"/>
                </a:lnTo>
                <a:lnTo>
                  <a:pt x="259" y="433"/>
                </a:lnTo>
                <a:lnTo>
                  <a:pt x="264" y="433"/>
                </a:lnTo>
                <a:lnTo>
                  <a:pt x="268" y="434"/>
                </a:lnTo>
                <a:lnTo>
                  <a:pt x="271" y="435"/>
                </a:lnTo>
                <a:lnTo>
                  <a:pt x="273" y="435"/>
                </a:lnTo>
                <a:lnTo>
                  <a:pt x="274" y="435"/>
                </a:lnTo>
                <a:lnTo>
                  <a:pt x="276" y="436"/>
                </a:lnTo>
                <a:lnTo>
                  <a:pt x="278" y="436"/>
                </a:lnTo>
                <a:lnTo>
                  <a:pt x="281" y="437"/>
                </a:lnTo>
                <a:lnTo>
                  <a:pt x="283" y="437"/>
                </a:lnTo>
                <a:lnTo>
                  <a:pt x="285" y="438"/>
                </a:lnTo>
                <a:lnTo>
                  <a:pt x="287" y="439"/>
                </a:lnTo>
                <a:lnTo>
                  <a:pt x="290" y="437"/>
                </a:lnTo>
                <a:lnTo>
                  <a:pt x="292" y="436"/>
                </a:lnTo>
                <a:lnTo>
                  <a:pt x="294" y="435"/>
                </a:lnTo>
                <a:lnTo>
                  <a:pt x="294" y="437"/>
                </a:lnTo>
                <a:lnTo>
                  <a:pt x="294" y="439"/>
                </a:lnTo>
                <a:lnTo>
                  <a:pt x="298" y="441"/>
                </a:lnTo>
                <a:lnTo>
                  <a:pt x="299" y="444"/>
                </a:lnTo>
                <a:lnTo>
                  <a:pt x="301" y="446"/>
                </a:lnTo>
                <a:lnTo>
                  <a:pt x="303" y="448"/>
                </a:lnTo>
                <a:lnTo>
                  <a:pt x="312" y="450"/>
                </a:lnTo>
                <a:lnTo>
                  <a:pt x="322" y="451"/>
                </a:lnTo>
                <a:lnTo>
                  <a:pt x="332" y="452"/>
                </a:lnTo>
                <a:lnTo>
                  <a:pt x="341" y="453"/>
                </a:lnTo>
                <a:lnTo>
                  <a:pt x="352" y="453"/>
                </a:lnTo>
                <a:lnTo>
                  <a:pt x="362" y="454"/>
                </a:lnTo>
                <a:lnTo>
                  <a:pt x="372" y="455"/>
                </a:lnTo>
                <a:lnTo>
                  <a:pt x="382" y="457"/>
                </a:lnTo>
                <a:lnTo>
                  <a:pt x="386" y="457"/>
                </a:lnTo>
                <a:lnTo>
                  <a:pt x="391" y="457"/>
                </a:lnTo>
                <a:lnTo>
                  <a:pt x="395" y="456"/>
                </a:lnTo>
                <a:lnTo>
                  <a:pt x="400" y="455"/>
                </a:lnTo>
                <a:lnTo>
                  <a:pt x="403" y="453"/>
                </a:lnTo>
                <a:lnTo>
                  <a:pt x="408" y="452"/>
                </a:lnTo>
                <a:lnTo>
                  <a:pt x="412" y="450"/>
                </a:lnTo>
                <a:lnTo>
                  <a:pt x="417" y="448"/>
                </a:lnTo>
                <a:lnTo>
                  <a:pt x="421" y="447"/>
                </a:lnTo>
                <a:lnTo>
                  <a:pt x="425" y="445"/>
                </a:lnTo>
                <a:lnTo>
                  <a:pt x="428" y="442"/>
                </a:lnTo>
                <a:lnTo>
                  <a:pt x="433" y="440"/>
                </a:lnTo>
                <a:lnTo>
                  <a:pt x="436" y="437"/>
                </a:lnTo>
                <a:lnTo>
                  <a:pt x="439" y="434"/>
                </a:lnTo>
                <a:lnTo>
                  <a:pt x="444" y="431"/>
                </a:lnTo>
                <a:lnTo>
                  <a:pt x="447" y="429"/>
                </a:lnTo>
                <a:lnTo>
                  <a:pt x="451" y="428"/>
                </a:lnTo>
                <a:lnTo>
                  <a:pt x="453" y="426"/>
                </a:lnTo>
                <a:lnTo>
                  <a:pt x="455" y="425"/>
                </a:lnTo>
                <a:lnTo>
                  <a:pt x="457" y="424"/>
                </a:lnTo>
                <a:lnTo>
                  <a:pt x="460" y="423"/>
                </a:lnTo>
                <a:lnTo>
                  <a:pt x="462" y="422"/>
                </a:lnTo>
                <a:lnTo>
                  <a:pt x="464" y="420"/>
                </a:lnTo>
                <a:lnTo>
                  <a:pt x="466" y="419"/>
                </a:lnTo>
                <a:lnTo>
                  <a:pt x="469" y="418"/>
                </a:lnTo>
                <a:lnTo>
                  <a:pt x="472" y="417"/>
                </a:lnTo>
                <a:lnTo>
                  <a:pt x="475" y="417"/>
                </a:lnTo>
                <a:lnTo>
                  <a:pt x="478" y="416"/>
                </a:lnTo>
                <a:lnTo>
                  <a:pt x="480" y="415"/>
                </a:lnTo>
                <a:lnTo>
                  <a:pt x="482" y="414"/>
                </a:lnTo>
                <a:lnTo>
                  <a:pt x="483" y="412"/>
                </a:lnTo>
                <a:lnTo>
                  <a:pt x="485" y="411"/>
                </a:lnTo>
                <a:lnTo>
                  <a:pt x="488" y="410"/>
                </a:lnTo>
                <a:lnTo>
                  <a:pt x="490" y="409"/>
                </a:lnTo>
                <a:lnTo>
                  <a:pt x="492" y="408"/>
                </a:lnTo>
                <a:lnTo>
                  <a:pt x="494" y="407"/>
                </a:lnTo>
                <a:lnTo>
                  <a:pt x="499" y="406"/>
                </a:lnTo>
                <a:lnTo>
                  <a:pt x="503" y="405"/>
                </a:lnTo>
                <a:lnTo>
                  <a:pt x="509" y="404"/>
                </a:lnTo>
                <a:lnTo>
                  <a:pt x="515" y="402"/>
                </a:lnTo>
                <a:lnTo>
                  <a:pt x="519" y="402"/>
                </a:lnTo>
                <a:lnTo>
                  <a:pt x="524" y="400"/>
                </a:lnTo>
                <a:lnTo>
                  <a:pt x="528" y="398"/>
                </a:lnTo>
                <a:lnTo>
                  <a:pt x="533" y="396"/>
                </a:lnTo>
                <a:lnTo>
                  <a:pt x="539" y="391"/>
                </a:lnTo>
                <a:lnTo>
                  <a:pt x="547" y="387"/>
                </a:lnTo>
                <a:lnTo>
                  <a:pt x="555" y="384"/>
                </a:lnTo>
                <a:lnTo>
                  <a:pt x="563" y="381"/>
                </a:lnTo>
                <a:lnTo>
                  <a:pt x="571" y="379"/>
                </a:lnTo>
                <a:lnTo>
                  <a:pt x="580" y="377"/>
                </a:lnTo>
                <a:lnTo>
                  <a:pt x="589" y="375"/>
                </a:lnTo>
                <a:lnTo>
                  <a:pt x="598" y="372"/>
                </a:lnTo>
                <a:lnTo>
                  <a:pt x="600" y="371"/>
                </a:lnTo>
                <a:lnTo>
                  <a:pt x="602" y="369"/>
                </a:lnTo>
                <a:lnTo>
                  <a:pt x="605" y="367"/>
                </a:lnTo>
                <a:lnTo>
                  <a:pt x="607" y="366"/>
                </a:lnTo>
                <a:lnTo>
                  <a:pt x="614" y="364"/>
                </a:lnTo>
                <a:lnTo>
                  <a:pt x="619" y="362"/>
                </a:lnTo>
                <a:lnTo>
                  <a:pt x="625" y="360"/>
                </a:lnTo>
                <a:lnTo>
                  <a:pt x="629" y="356"/>
                </a:lnTo>
                <a:lnTo>
                  <a:pt x="634" y="353"/>
                </a:lnTo>
                <a:lnTo>
                  <a:pt x="638" y="349"/>
                </a:lnTo>
                <a:lnTo>
                  <a:pt x="642" y="345"/>
                </a:lnTo>
                <a:lnTo>
                  <a:pt x="644" y="341"/>
                </a:lnTo>
                <a:lnTo>
                  <a:pt x="649" y="343"/>
                </a:lnTo>
                <a:lnTo>
                  <a:pt x="653" y="344"/>
                </a:lnTo>
                <a:lnTo>
                  <a:pt x="658" y="345"/>
                </a:lnTo>
                <a:lnTo>
                  <a:pt x="662" y="345"/>
                </a:lnTo>
                <a:lnTo>
                  <a:pt x="668" y="345"/>
                </a:lnTo>
                <a:lnTo>
                  <a:pt x="672" y="344"/>
                </a:lnTo>
                <a:lnTo>
                  <a:pt x="677" y="344"/>
                </a:lnTo>
                <a:lnTo>
                  <a:pt x="682" y="343"/>
                </a:lnTo>
                <a:lnTo>
                  <a:pt x="685" y="342"/>
                </a:lnTo>
                <a:lnTo>
                  <a:pt x="687" y="341"/>
                </a:lnTo>
                <a:lnTo>
                  <a:pt x="689" y="340"/>
                </a:lnTo>
                <a:lnTo>
                  <a:pt x="691" y="339"/>
                </a:lnTo>
                <a:lnTo>
                  <a:pt x="694" y="338"/>
                </a:lnTo>
                <a:lnTo>
                  <a:pt x="696" y="338"/>
                </a:lnTo>
                <a:lnTo>
                  <a:pt x="698" y="337"/>
                </a:lnTo>
                <a:lnTo>
                  <a:pt x="700" y="336"/>
                </a:lnTo>
                <a:lnTo>
                  <a:pt x="708" y="335"/>
                </a:lnTo>
                <a:lnTo>
                  <a:pt x="716" y="334"/>
                </a:lnTo>
                <a:lnTo>
                  <a:pt x="723" y="333"/>
                </a:lnTo>
                <a:lnTo>
                  <a:pt x="730" y="333"/>
                </a:lnTo>
                <a:lnTo>
                  <a:pt x="736" y="331"/>
                </a:lnTo>
                <a:lnTo>
                  <a:pt x="743" y="330"/>
                </a:lnTo>
                <a:lnTo>
                  <a:pt x="750" y="328"/>
                </a:lnTo>
                <a:lnTo>
                  <a:pt x="757" y="325"/>
                </a:lnTo>
                <a:lnTo>
                  <a:pt x="764" y="320"/>
                </a:lnTo>
                <a:lnTo>
                  <a:pt x="772" y="315"/>
                </a:lnTo>
                <a:lnTo>
                  <a:pt x="779" y="309"/>
                </a:lnTo>
                <a:lnTo>
                  <a:pt x="786" y="302"/>
                </a:lnTo>
                <a:lnTo>
                  <a:pt x="789" y="295"/>
                </a:lnTo>
                <a:lnTo>
                  <a:pt x="791" y="287"/>
                </a:lnTo>
                <a:lnTo>
                  <a:pt x="793" y="279"/>
                </a:lnTo>
                <a:lnTo>
                  <a:pt x="790" y="270"/>
                </a:lnTo>
                <a:lnTo>
                  <a:pt x="789" y="271"/>
                </a:lnTo>
                <a:lnTo>
                  <a:pt x="788" y="270"/>
                </a:lnTo>
                <a:lnTo>
                  <a:pt x="786" y="270"/>
                </a:lnTo>
                <a:lnTo>
                  <a:pt x="788" y="267"/>
                </a:lnTo>
                <a:lnTo>
                  <a:pt x="790" y="265"/>
                </a:lnTo>
                <a:lnTo>
                  <a:pt x="791" y="261"/>
                </a:lnTo>
                <a:lnTo>
                  <a:pt x="791" y="258"/>
                </a:lnTo>
                <a:lnTo>
                  <a:pt x="791" y="255"/>
                </a:lnTo>
                <a:lnTo>
                  <a:pt x="791" y="251"/>
                </a:lnTo>
                <a:lnTo>
                  <a:pt x="791" y="248"/>
                </a:lnTo>
                <a:lnTo>
                  <a:pt x="791" y="245"/>
                </a:lnTo>
                <a:lnTo>
                  <a:pt x="791" y="239"/>
                </a:lnTo>
                <a:lnTo>
                  <a:pt x="791" y="234"/>
                </a:lnTo>
                <a:lnTo>
                  <a:pt x="791" y="229"/>
                </a:lnTo>
                <a:lnTo>
                  <a:pt x="790" y="224"/>
                </a:lnTo>
                <a:lnTo>
                  <a:pt x="789" y="219"/>
                </a:lnTo>
                <a:lnTo>
                  <a:pt x="787" y="214"/>
                </a:lnTo>
                <a:lnTo>
                  <a:pt x="784" y="210"/>
                </a:lnTo>
                <a:lnTo>
                  <a:pt x="781" y="205"/>
                </a:lnTo>
                <a:lnTo>
                  <a:pt x="779" y="201"/>
                </a:lnTo>
                <a:lnTo>
                  <a:pt x="777" y="197"/>
                </a:lnTo>
                <a:lnTo>
                  <a:pt x="775" y="193"/>
                </a:lnTo>
                <a:lnTo>
                  <a:pt x="772" y="190"/>
                </a:lnTo>
                <a:lnTo>
                  <a:pt x="770" y="186"/>
                </a:lnTo>
                <a:lnTo>
                  <a:pt x="768" y="182"/>
                </a:lnTo>
                <a:lnTo>
                  <a:pt x="766" y="179"/>
                </a:lnTo>
                <a:lnTo>
                  <a:pt x="762" y="175"/>
                </a:lnTo>
                <a:lnTo>
                  <a:pt x="762" y="174"/>
                </a:lnTo>
                <a:lnTo>
                  <a:pt x="761" y="173"/>
                </a:lnTo>
                <a:lnTo>
                  <a:pt x="761" y="172"/>
                </a:lnTo>
                <a:lnTo>
                  <a:pt x="760" y="170"/>
                </a:lnTo>
                <a:lnTo>
                  <a:pt x="757" y="162"/>
                </a:lnTo>
                <a:lnTo>
                  <a:pt x="752" y="153"/>
                </a:lnTo>
                <a:lnTo>
                  <a:pt x="746" y="144"/>
                </a:lnTo>
                <a:lnTo>
                  <a:pt x="740" y="136"/>
                </a:lnTo>
                <a:lnTo>
                  <a:pt x="733" y="128"/>
                </a:lnTo>
                <a:lnTo>
                  <a:pt x="725" y="121"/>
                </a:lnTo>
                <a:lnTo>
                  <a:pt x="716" y="115"/>
                </a:lnTo>
                <a:lnTo>
                  <a:pt x="706" y="109"/>
                </a:lnTo>
                <a:lnTo>
                  <a:pt x="700" y="104"/>
                </a:lnTo>
                <a:lnTo>
                  <a:pt x="696" y="99"/>
                </a:lnTo>
                <a:lnTo>
                  <a:pt x="689" y="95"/>
                </a:lnTo>
                <a:lnTo>
                  <a:pt x="682" y="91"/>
                </a:lnTo>
                <a:lnTo>
                  <a:pt x="676" y="87"/>
                </a:lnTo>
                <a:lnTo>
                  <a:pt x="669" y="84"/>
                </a:lnTo>
                <a:lnTo>
                  <a:pt x="661" y="81"/>
                </a:lnTo>
                <a:lnTo>
                  <a:pt x="653" y="78"/>
                </a:lnTo>
                <a:lnTo>
                  <a:pt x="653" y="79"/>
                </a:lnTo>
                <a:lnTo>
                  <a:pt x="651" y="78"/>
                </a:lnTo>
                <a:lnTo>
                  <a:pt x="649" y="77"/>
                </a:lnTo>
                <a:lnTo>
                  <a:pt x="647" y="76"/>
                </a:lnTo>
                <a:lnTo>
                  <a:pt x="645" y="75"/>
                </a:lnTo>
                <a:lnTo>
                  <a:pt x="644" y="73"/>
                </a:lnTo>
                <a:lnTo>
                  <a:pt x="642" y="72"/>
                </a:lnTo>
                <a:lnTo>
                  <a:pt x="640" y="71"/>
                </a:lnTo>
                <a:lnTo>
                  <a:pt x="637" y="70"/>
                </a:lnTo>
                <a:lnTo>
                  <a:pt x="635" y="69"/>
                </a:lnTo>
                <a:lnTo>
                  <a:pt x="633" y="69"/>
                </a:lnTo>
                <a:lnTo>
                  <a:pt x="631" y="69"/>
                </a:lnTo>
                <a:lnTo>
                  <a:pt x="631" y="66"/>
                </a:lnTo>
                <a:lnTo>
                  <a:pt x="629" y="64"/>
                </a:lnTo>
                <a:lnTo>
                  <a:pt x="627" y="63"/>
                </a:lnTo>
                <a:lnTo>
                  <a:pt x="625" y="61"/>
                </a:lnTo>
                <a:lnTo>
                  <a:pt x="623" y="59"/>
                </a:lnTo>
                <a:lnTo>
                  <a:pt x="620" y="57"/>
                </a:lnTo>
                <a:lnTo>
                  <a:pt x="618" y="56"/>
                </a:lnTo>
                <a:lnTo>
                  <a:pt x="616" y="54"/>
                </a:lnTo>
                <a:lnTo>
                  <a:pt x="614" y="53"/>
                </a:lnTo>
                <a:lnTo>
                  <a:pt x="611" y="51"/>
                </a:lnTo>
                <a:lnTo>
                  <a:pt x="609" y="51"/>
                </a:lnTo>
                <a:lnTo>
                  <a:pt x="607" y="50"/>
                </a:lnTo>
                <a:lnTo>
                  <a:pt x="604" y="48"/>
                </a:lnTo>
                <a:lnTo>
                  <a:pt x="600" y="47"/>
                </a:lnTo>
                <a:lnTo>
                  <a:pt x="597" y="46"/>
                </a:lnTo>
                <a:lnTo>
                  <a:pt x="593" y="45"/>
                </a:lnTo>
                <a:lnTo>
                  <a:pt x="591" y="44"/>
                </a:lnTo>
                <a:lnTo>
                  <a:pt x="587" y="43"/>
                </a:lnTo>
                <a:lnTo>
                  <a:pt x="583" y="44"/>
                </a:lnTo>
                <a:lnTo>
                  <a:pt x="580" y="45"/>
                </a:lnTo>
                <a:lnTo>
                  <a:pt x="580" y="43"/>
                </a:lnTo>
                <a:lnTo>
                  <a:pt x="578" y="42"/>
                </a:lnTo>
                <a:lnTo>
                  <a:pt x="577" y="41"/>
                </a:lnTo>
                <a:lnTo>
                  <a:pt x="575" y="40"/>
                </a:lnTo>
                <a:lnTo>
                  <a:pt x="568" y="36"/>
                </a:lnTo>
                <a:lnTo>
                  <a:pt x="560" y="33"/>
                </a:lnTo>
                <a:lnTo>
                  <a:pt x="552" y="30"/>
                </a:lnTo>
                <a:lnTo>
                  <a:pt x="544" y="28"/>
                </a:lnTo>
                <a:lnTo>
                  <a:pt x="536" y="25"/>
                </a:lnTo>
                <a:lnTo>
                  <a:pt x="527" y="23"/>
                </a:lnTo>
                <a:lnTo>
                  <a:pt x="519" y="21"/>
                </a:lnTo>
                <a:lnTo>
                  <a:pt x="511" y="19"/>
                </a:lnTo>
                <a:lnTo>
                  <a:pt x="507" y="18"/>
                </a:lnTo>
                <a:lnTo>
                  <a:pt x="503" y="18"/>
                </a:lnTo>
                <a:lnTo>
                  <a:pt x="499" y="18"/>
                </a:lnTo>
                <a:lnTo>
                  <a:pt x="496" y="20"/>
                </a:lnTo>
                <a:lnTo>
                  <a:pt x="494" y="16"/>
                </a:lnTo>
                <a:lnTo>
                  <a:pt x="491" y="13"/>
                </a:lnTo>
                <a:lnTo>
                  <a:pt x="488" y="11"/>
                </a:lnTo>
                <a:lnTo>
                  <a:pt x="483" y="9"/>
                </a:lnTo>
                <a:lnTo>
                  <a:pt x="479" y="7"/>
                </a:lnTo>
                <a:lnTo>
                  <a:pt x="474" y="6"/>
                </a:lnTo>
                <a:lnTo>
                  <a:pt x="470" y="5"/>
                </a:lnTo>
                <a:lnTo>
                  <a:pt x="464" y="4"/>
                </a:lnTo>
                <a:lnTo>
                  <a:pt x="460" y="3"/>
                </a:lnTo>
                <a:lnTo>
                  <a:pt x="454" y="2"/>
                </a:lnTo>
                <a:lnTo>
                  <a:pt x="449" y="2"/>
                </a:lnTo>
                <a:lnTo>
                  <a:pt x="444" y="1"/>
                </a:lnTo>
                <a:lnTo>
                  <a:pt x="438" y="1"/>
                </a:lnTo>
                <a:lnTo>
                  <a:pt x="433" y="1"/>
                </a:lnTo>
                <a:lnTo>
                  <a:pt x="426" y="0"/>
                </a:lnTo>
                <a:lnTo>
                  <a:pt x="420" y="0"/>
                </a:lnTo>
                <a:lnTo>
                  <a:pt x="415" y="0"/>
                </a:lnTo>
                <a:lnTo>
                  <a:pt x="408" y="0"/>
                </a:lnTo>
                <a:lnTo>
                  <a:pt x="402" y="0"/>
                </a:lnTo>
                <a:lnTo>
                  <a:pt x="397" y="0"/>
                </a:lnTo>
                <a:lnTo>
                  <a:pt x="391" y="1"/>
                </a:lnTo>
                <a:lnTo>
                  <a:pt x="385" y="1"/>
                </a:lnTo>
                <a:lnTo>
                  <a:pt x="379" y="2"/>
                </a:lnTo>
                <a:lnTo>
                  <a:pt x="373" y="2"/>
                </a:lnTo>
                <a:lnTo>
                  <a:pt x="367" y="4"/>
                </a:lnTo>
                <a:lnTo>
                  <a:pt x="362" y="5"/>
                </a:lnTo>
                <a:lnTo>
                  <a:pt x="356" y="6"/>
                </a:lnTo>
                <a:lnTo>
                  <a:pt x="350" y="8"/>
                </a:lnTo>
                <a:lnTo>
                  <a:pt x="349" y="9"/>
                </a:lnTo>
                <a:lnTo>
                  <a:pt x="347" y="10"/>
                </a:lnTo>
                <a:lnTo>
                  <a:pt x="346" y="12"/>
                </a:lnTo>
                <a:lnTo>
                  <a:pt x="345" y="13"/>
                </a:lnTo>
                <a:lnTo>
                  <a:pt x="346" y="11"/>
                </a:lnTo>
                <a:lnTo>
                  <a:pt x="346" y="8"/>
                </a:lnTo>
                <a:lnTo>
                  <a:pt x="345" y="6"/>
                </a:lnTo>
                <a:lnTo>
                  <a:pt x="343" y="6"/>
                </a:lnTo>
                <a:lnTo>
                  <a:pt x="338" y="6"/>
                </a:lnTo>
                <a:lnTo>
                  <a:pt x="335" y="6"/>
                </a:lnTo>
                <a:lnTo>
                  <a:pt x="330" y="6"/>
                </a:lnTo>
                <a:lnTo>
                  <a:pt x="327" y="5"/>
                </a:lnTo>
                <a:lnTo>
                  <a:pt x="323" y="5"/>
                </a:lnTo>
                <a:lnTo>
                  <a:pt x="320" y="4"/>
                </a:lnTo>
                <a:lnTo>
                  <a:pt x="317" y="4"/>
                </a:lnTo>
                <a:lnTo>
                  <a:pt x="312" y="4"/>
                </a:lnTo>
                <a:lnTo>
                  <a:pt x="305" y="5"/>
                </a:lnTo>
                <a:lnTo>
                  <a:pt x="300" y="6"/>
                </a:lnTo>
                <a:lnTo>
                  <a:pt x="293" y="8"/>
                </a:lnTo>
                <a:lnTo>
                  <a:pt x="286" y="10"/>
                </a:lnTo>
                <a:lnTo>
                  <a:pt x="281" y="12"/>
                </a:lnTo>
                <a:lnTo>
                  <a:pt x="274" y="14"/>
                </a:lnTo>
                <a:lnTo>
                  <a:pt x="267" y="16"/>
                </a:lnTo>
                <a:lnTo>
                  <a:pt x="262" y="17"/>
                </a:lnTo>
                <a:lnTo>
                  <a:pt x="258" y="18"/>
                </a:lnTo>
                <a:lnTo>
                  <a:pt x="254" y="19"/>
                </a:lnTo>
                <a:lnTo>
                  <a:pt x="250" y="20"/>
                </a:lnTo>
                <a:lnTo>
                  <a:pt x="247" y="22"/>
                </a:lnTo>
                <a:lnTo>
                  <a:pt x="244" y="24"/>
                </a:lnTo>
                <a:lnTo>
                  <a:pt x="240" y="25"/>
                </a:lnTo>
                <a:lnTo>
                  <a:pt x="236" y="27"/>
                </a:lnTo>
                <a:lnTo>
                  <a:pt x="232" y="28"/>
                </a:lnTo>
                <a:lnTo>
                  <a:pt x="233" y="28"/>
                </a:lnTo>
                <a:lnTo>
                  <a:pt x="235" y="28"/>
                </a:lnTo>
              </a:path>
            </a:pathLst>
          </a:custGeom>
          <a:solidFill>
            <a:srgbClr val="B2B2B2"/>
          </a:solidFill>
          <a:ln w="9525" cap="rnd">
            <a:solidFill>
              <a:srgbClr val="FFFF00"/>
            </a:solidFill>
            <a:round/>
            <a:headEnd/>
            <a:tailEnd/>
          </a:ln>
        </p:spPr>
        <p:txBody>
          <a:bodyPr/>
          <a:lstStyle/>
          <a:p>
            <a:endParaRPr lang="cs-CZ" sz="1800" b="0">
              <a:solidFill>
                <a:srgbClr val="000000"/>
              </a:solidFill>
              <a:latin typeface="Arial" panose="020B0604020202020204" pitchFamily="34" charset="0"/>
            </a:endParaRPr>
          </a:p>
        </p:txBody>
      </p:sp>
      <p:sp>
        <p:nvSpPr>
          <p:cNvPr id="43017" name="Freeform 29"/>
          <p:cNvSpPr>
            <a:spLocks/>
          </p:cNvSpPr>
          <p:nvPr/>
        </p:nvSpPr>
        <p:spPr bwMode="auto">
          <a:xfrm>
            <a:off x="2143129" y="3362327"/>
            <a:ext cx="927497" cy="1033463"/>
          </a:xfrm>
          <a:custGeom>
            <a:avLst/>
            <a:gdLst>
              <a:gd name="T0" fmla="*/ 2147483647 w 1832"/>
              <a:gd name="T1" fmla="*/ 2147483647 h 1583"/>
              <a:gd name="T2" fmla="*/ 2147483647 w 1832"/>
              <a:gd name="T3" fmla="*/ 2147483647 h 1583"/>
              <a:gd name="T4" fmla="*/ 2147483647 w 1832"/>
              <a:gd name="T5" fmla="*/ 2147483647 h 1583"/>
              <a:gd name="T6" fmla="*/ 2147483647 w 1832"/>
              <a:gd name="T7" fmla="*/ 2147483647 h 1583"/>
              <a:gd name="T8" fmla="*/ 2147483647 w 1832"/>
              <a:gd name="T9" fmla="*/ 2147483647 h 1583"/>
              <a:gd name="T10" fmla="*/ 2147483647 w 1832"/>
              <a:gd name="T11" fmla="*/ 2147483647 h 1583"/>
              <a:gd name="T12" fmla="*/ 2147483647 w 1832"/>
              <a:gd name="T13" fmla="*/ 2147483647 h 1583"/>
              <a:gd name="T14" fmla="*/ 2147483647 w 1832"/>
              <a:gd name="T15" fmla="*/ 2147483647 h 1583"/>
              <a:gd name="T16" fmla="*/ 2147483647 w 1832"/>
              <a:gd name="T17" fmla="*/ 2147483647 h 1583"/>
              <a:gd name="T18" fmla="*/ 2147483647 w 1832"/>
              <a:gd name="T19" fmla="*/ 2147483647 h 1583"/>
              <a:gd name="T20" fmla="*/ 2147483647 w 1832"/>
              <a:gd name="T21" fmla="*/ 2147483647 h 1583"/>
              <a:gd name="T22" fmla="*/ 2147483647 w 1832"/>
              <a:gd name="T23" fmla="*/ 2147483647 h 1583"/>
              <a:gd name="T24" fmla="*/ 2147483647 w 1832"/>
              <a:gd name="T25" fmla="*/ 2147483647 h 1583"/>
              <a:gd name="T26" fmla="*/ 2147483647 w 1832"/>
              <a:gd name="T27" fmla="*/ 2147483647 h 1583"/>
              <a:gd name="T28" fmla="*/ 2147483647 w 1832"/>
              <a:gd name="T29" fmla="*/ 2147483647 h 1583"/>
              <a:gd name="T30" fmla="*/ 2147483647 w 1832"/>
              <a:gd name="T31" fmla="*/ 2147483647 h 1583"/>
              <a:gd name="T32" fmla="*/ 2147483647 w 1832"/>
              <a:gd name="T33" fmla="*/ 2147483647 h 1583"/>
              <a:gd name="T34" fmla="*/ 2147483647 w 1832"/>
              <a:gd name="T35" fmla="*/ 2147483647 h 1583"/>
              <a:gd name="T36" fmla="*/ 2147483647 w 1832"/>
              <a:gd name="T37" fmla="*/ 2147483647 h 1583"/>
              <a:gd name="T38" fmla="*/ 2147483647 w 1832"/>
              <a:gd name="T39" fmla="*/ 2147483647 h 1583"/>
              <a:gd name="T40" fmla="*/ 2147483647 w 1832"/>
              <a:gd name="T41" fmla="*/ 2147483647 h 1583"/>
              <a:gd name="T42" fmla="*/ 2147483647 w 1832"/>
              <a:gd name="T43" fmla="*/ 2147483647 h 1583"/>
              <a:gd name="T44" fmla="*/ 2147483647 w 1832"/>
              <a:gd name="T45" fmla="*/ 2147483647 h 1583"/>
              <a:gd name="T46" fmla="*/ 2147483647 w 1832"/>
              <a:gd name="T47" fmla="*/ 2147483647 h 1583"/>
              <a:gd name="T48" fmla="*/ 2147483647 w 1832"/>
              <a:gd name="T49" fmla="*/ 2147483647 h 1583"/>
              <a:gd name="T50" fmla="*/ 2147483647 w 1832"/>
              <a:gd name="T51" fmla="*/ 2147483647 h 1583"/>
              <a:gd name="T52" fmla="*/ 2147483647 w 1832"/>
              <a:gd name="T53" fmla="*/ 2147483647 h 1583"/>
              <a:gd name="T54" fmla="*/ 2147483647 w 1832"/>
              <a:gd name="T55" fmla="*/ 2147483647 h 1583"/>
              <a:gd name="T56" fmla="*/ 0 w 1832"/>
              <a:gd name="T57" fmla="*/ 2147483647 h 1583"/>
              <a:gd name="T58" fmla="*/ 2147483647 w 1832"/>
              <a:gd name="T59" fmla="*/ 2147483647 h 1583"/>
              <a:gd name="T60" fmla="*/ 2147483647 w 1832"/>
              <a:gd name="T61" fmla="*/ 2147483647 h 1583"/>
              <a:gd name="T62" fmla="*/ 2147483647 w 1832"/>
              <a:gd name="T63" fmla="*/ 2147483647 h 1583"/>
              <a:gd name="T64" fmla="*/ 2147483647 w 1832"/>
              <a:gd name="T65" fmla="*/ 2147483647 h 1583"/>
              <a:gd name="T66" fmla="*/ 2147483647 w 1832"/>
              <a:gd name="T67" fmla="*/ 2147483647 h 1583"/>
              <a:gd name="T68" fmla="*/ 2147483647 w 1832"/>
              <a:gd name="T69" fmla="*/ 2147483647 h 1583"/>
              <a:gd name="T70" fmla="*/ 2147483647 w 1832"/>
              <a:gd name="T71" fmla="*/ 2147483647 h 1583"/>
              <a:gd name="T72" fmla="*/ 2147483647 w 1832"/>
              <a:gd name="T73" fmla="*/ 2147483647 h 1583"/>
              <a:gd name="T74" fmla="*/ 2147483647 w 1832"/>
              <a:gd name="T75" fmla="*/ 2147483647 h 1583"/>
              <a:gd name="T76" fmla="*/ 2147483647 w 1832"/>
              <a:gd name="T77" fmla="*/ 2147483647 h 1583"/>
              <a:gd name="T78" fmla="*/ 2147483647 w 1832"/>
              <a:gd name="T79" fmla="*/ 2147483647 h 1583"/>
              <a:gd name="T80" fmla="*/ 2147483647 w 1832"/>
              <a:gd name="T81" fmla="*/ 2147483647 h 1583"/>
              <a:gd name="T82" fmla="*/ 2147483647 w 1832"/>
              <a:gd name="T83" fmla="*/ 2147483647 h 1583"/>
              <a:gd name="T84" fmla="*/ 2147483647 w 1832"/>
              <a:gd name="T85" fmla="*/ 2147483647 h 1583"/>
              <a:gd name="T86" fmla="*/ 2147483647 w 1832"/>
              <a:gd name="T87" fmla="*/ 2147483647 h 1583"/>
              <a:gd name="T88" fmla="*/ 2147483647 w 1832"/>
              <a:gd name="T89" fmla="*/ 2147483647 h 1583"/>
              <a:gd name="T90" fmla="*/ 2147483647 w 1832"/>
              <a:gd name="T91" fmla="*/ 2147483647 h 1583"/>
              <a:gd name="T92" fmla="*/ 2147483647 w 1832"/>
              <a:gd name="T93" fmla="*/ 2147483647 h 1583"/>
              <a:gd name="T94" fmla="*/ 2147483647 w 1832"/>
              <a:gd name="T95" fmla="*/ 2147483647 h 1583"/>
              <a:gd name="T96" fmla="*/ 2147483647 w 1832"/>
              <a:gd name="T97" fmla="*/ 2147483647 h 1583"/>
              <a:gd name="T98" fmla="*/ 2147483647 w 1832"/>
              <a:gd name="T99" fmla="*/ 2147483647 h 1583"/>
              <a:gd name="T100" fmla="*/ 2147483647 w 1832"/>
              <a:gd name="T101" fmla="*/ 2147483647 h 1583"/>
              <a:gd name="T102" fmla="*/ 2147483647 w 1832"/>
              <a:gd name="T103" fmla="*/ 2147483647 h 1583"/>
              <a:gd name="T104" fmla="*/ 2147483647 w 1832"/>
              <a:gd name="T105" fmla="*/ 2147483647 h 1583"/>
              <a:gd name="T106" fmla="*/ 2147483647 w 1832"/>
              <a:gd name="T107" fmla="*/ 2147483647 h 15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32"/>
              <a:gd name="T163" fmla="*/ 0 h 1583"/>
              <a:gd name="T164" fmla="*/ 1832 w 1832"/>
              <a:gd name="T165" fmla="*/ 1583 h 15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32" h="1583">
                <a:moveTo>
                  <a:pt x="1822" y="94"/>
                </a:moveTo>
                <a:lnTo>
                  <a:pt x="1828" y="129"/>
                </a:lnTo>
                <a:lnTo>
                  <a:pt x="1832" y="165"/>
                </a:lnTo>
                <a:lnTo>
                  <a:pt x="1832" y="202"/>
                </a:lnTo>
                <a:lnTo>
                  <a:pt x="1832" y="244"/>
                </a:lnTo>
                <a:lnTo>
                  <a:pt x="1828" y="284"/>
                </a:lnTo>
                <a:lnTo>
                  <a:pt x="1824" y="325"/>
                </a:lnTo>
                <a:lnTo>
                  <a:pt x="1819" y="359"/>
                </a:lnTo>
                <a:lnTo>
                  <a:pt x="1809" y="390"/>
                </a:lnTo>
                <a:lnTo>
                  <a:pt x="1788" y="455"/>
                </a:lnTo>
                <a:lnTo>
                  <a:pt x="1765" y="509"/>
                </a:lnTo>
                <a:lnTo>
                  <a:pt x="1738" y="567"/>
                </a:lnTo>
                <a:lnTo>
                  <a:pt x="1707" y="619"/>
                </a:lnTo>
                <a:lnTo>
                  <a:pt x="1675" y="667"/>
                </a:lnTo>
                <a:lnTo>
                  <a:pt x="1638" y="717"/>
                </a:lnTo>
                <a:lnTo>
                  <a:pt x="1600" y="759"/>
                </a:lnTo>
                <a:lnTo>
                  <a:pt x="1559" y="801"/>
                </a:lnTo>
                <a:lnTo>
                  <a:pt x="1517" y="836"/>
                </a:lnTo>
                <a:lnTo>
                  <a:pt x="1475" y="868"/>
                </a:lnTo>
                <a:lnTo>
                  <a:pt x="1429" y="895"/>
                </a:lnTo>
                <a:lnTo>
                  <a:pt x="1385" y="920"/>
                </a:lnTo>
                <a:lnTo>
                  <a:pt x="1339" y="939"/>
                </a:lnTo>
                <a:lnTo>
                  <a:pt x="1287" y="953"/>
                </a:lnTo>
                <a:lnTo>
                  <a:pt x="1239" y="961"/>
                </a:lnTo>
                <a:lnTo>
                  <a:pt x="1191" y="962"/>
                </a:lnTo>
                <a:lnTo>
                  <a:pt x="1177" y="955"/>
                </a:lnTo>
                <a:lnTo>
                  <a:pt x="1160" y="943"/>
                </a:lnTo>
                <a:lnTo>
                  <a:pt x="1146" y="922"/>
                </a:lnTo>
                <a:lnTo>
                  <a:pt x="1137" y="895"/>
                </a:lnTo>
                <a:lnTo>
                  <a:pt x="1121" y="955"/>
                </a:lnTo>
                <a:lnTo>
                  <a:pt x="1089" y="1009"/>
                </a:lnTo>
                <a:lnTo>
                  <a:pt x="1047" y="1057"/>
                </a:lnTo>
                <a:lnTo>
                  <a:pt x="993" y="1093"/>
                </a:lnTo>
                <a:lnTo>
                  <a:pt x="933" y="1120"/>
                </a:lnTo>
                <a:lnTo>
                  <a:pt x="879" y="1141"/>
                </a:lnTo>
                <a:lnTo>
                  <a:pt x="824" y="1143"/>
                </a:lnTo>
                <a:lnTo>
                  <a:pt x="776" y="1143"/>
                </a:lnTo>
                <a:lnTo>
                  <a:pt x="735" y="1143"/>
                </a:lnTo>
                <a:lnTo>
                  <a:pt x="687" y="1160"/>
                </a:lnTo>
                <a:lnTo>
                  <a:pt x="638" y="1189"/>
                </a:lnTo>
                <a:lnTo>
                  <a:pt x="588" y="1229"/>
                </a:lnTo>
                <a:lnTo>
                  <a:pt x="547" y="1268"/>
                </a:lnTo>
                <a:lnTo>
                  <a:pt x="503" y="1322"/>
                </a:lnTo>
                <a:lnTo>
                  <a:pt x="468" y="1368"/>
                </a:lnTo>
                <a:lnTo>
                  <a:pt x="445" y="1412"/>
                </a:lnTo>
                <a:lnTo>
                  <a:pt x="419" y="1454"/>
                </a:lnTo>
                <a:lnTo>
                  <a:pt x="374" y="1494"/>
                </a:lnTo>
                <a:lnTo>
                  <a:pt x="330" y="1533"/>
                </a:lnTo>
                <a:lnTo>
                  <a:pt x="275" y="1564"/>
                </a:lnTo>
                <a:lnTo>
                  <a:pt x="226" y="1581"/>
                </a:lnTo>
                <a:lnTo>
                  <a:pt x="171" y="1583"/>
                </a:lnTo>
                <a:lnTo>
                  <a:pt x="123" y="1573"/>
                </a:lnTo>
                <a:lnTo>
                  <a:pt x="86" y="1541"/>
                </a:lnTo>
                <a:lnTo>
                  <a:pt x="48" y="1487"/>
                </a:lnTo>
                <a:lnTo>
                  <a:pt x="25" y="1427"/>
                </a:lnTo>
                <a:lnTo>
                  <a:pt x="13" y="1352"/>
                </a:lnTo>
                <a:lnTo>
                  <a:pt x="6" y="1283"/>
                </a:lnTo>
                <a:lnTo>
                  <a:pt x="0" y="1206"/>
                </a:lnTo>
                <a:lnTo>
                  <a:pt x="6" y="1133"/>
                </a:lnTo>
                <a:lnTo>
                  <a:pt x="13" y="1066"/>
                </a:lnTo>
                <a:lnTo>
                  <a:pt x="17" y="1001"/>
                </a:lnTo>
                <a:lnTo>
                  <a:pt x="25" y="947"/>
                </a:lnTo>
                <a:lnTo>
                  <a:pt x="25" y="886"/>
                </a:lnTo>
                <a:lnTo>
                  <a:pt x="23" y="820"/>
                </a:lnTo>
                <a:lnTo>
                  <a:pt x="17" y="759"/>
                </a:lnTo>
                <a:lnTo>
                  <a:pt x="17" y="697"/>
                </a:lnTo>
                <a:lnTo>
                  <a:pt x="15" y="636"/>
                </a:lnTo>
                <a:lnTo>
                  <a:pt x="15" y="576"/>
                </a:lnTo>
                <a:lnTo>
                  <a:pt x="23" y="515"/>
                </a:lnTo>
                <a:lnTo>
                  <a:pt x="36" y="446"/>
                </a:lnTo>
                <a:lnTo>
                  <a:pt x="56" y="373"/>
                </a:lnTo>
                <a:lnTo>
                  <a:pt x="86" y="304"/>
                </a:lnTo>
                <a:lnTo>
                  <a:pt x="117" y="236"/>
                </a:lnTo>
                <a:lnTo>
                  <a:pt x="155" y="179"/>
                </a:lnTo>
                <a:lnTo>
                  <a:pt x="202" y="123"/>
                </a:lnTo>
                <a:lnTo>
                  <a:pt x="250" y="73"/>
                </a:lnTo>
                <a:lnTo>
                  <a:pt x="303" y="35"/>
                </a:lnTo>
                <a:lnTo>
                  <a:pt x="363" y="10"/>
                </a:lnTo>
                <a:lnTo>
                  <a:pt x="420" y="0"/>
                </a:lnTo>
                <a:lnTo>
                  <a:pt x="476" y="8"/>
                </a:lnTo>
                <a:lnTo>
                  <a:pt x="532" y="19"/>
                </a:lnTo>
                <a:lnTo>
                  <a:pt x="586" y="29"/>
                </a:lnTo>
                <a:lnTo>
                  <a:pt x="638" y="46"/>
                </a:lnTo>
                <a:lnTo>
                  <a:pt x="695" y="62"/>
                </a:lnTo>
                <a:lnTo>
                  <a:pt x="749" y="64"/>
                </a:lnTo>
                <a:lnTo>
                  <a:pt x="807" y="67"/>
                </a:lnTo>
                <a:lnTo>
                  <a:pt x="862" y="73"/>
                </a:lnTo>
                <a:lnTo>
                  <a:pt x="916" y="81"/>
                </a:lnTo>
                <a:lnTo>
                  <a:pt x="972" y="91"/>
                </a:lnTo>
                <a:lnTo>
                  <a:pt x="1027" y="96"/>
                </a:lnTo>
                <a:lnTo>
                  <a:pt x="1081" y="112"/>
                </a:lnTo>
                <a:lnTo>
                  <a:pt x="1137" y="123"/>
                </a:lnTo>
                <a:lnTo>
                  <a:pt x="1191" y="135"/>
                </a:lnTo>
                <a:lnTo>
                  <a:pt x="1246" y="144"/>
                </a:lnTo>
                <a:lnTo>
                  <a:pt x="1302" y="154"/>
                </a:lnTo>
                <a:lnTo>
                  <a:pt x="1358" y="162"/>
                </a:lnTo>
                <a:lnTo>
                  <a:pt x="1415" y="165"/>
                </a:lnTo>
                <a:lnTo>
                  <a:pt x="1471" y="165"/>
                </a:lnTo>
                <a:lnTo>
                  <a:pt x="1529" y="162"/>
                </a:lnTo>
                <a:lnTo>
                  <a:pt x="1588" y="150"/>
                </a:lnTo>
                <a:lnTo>
                  <a:pt x="1644" y="135"/>
                </a:lnTo>
                <a:lnTo>
                  <a:pt x="1669" y="129"/>
                </a:lnTo>
                <a:lnTo>
                  <a:pt x="1690" y="123"/>
                </a:lnTo>
                <a:lnTo>
                  <a:pt x="1709" y="121"/>
                </a:lnTo>
                <a:lnTo>
                  <a:pt x="1732" y="114"/>
                </a:lnTo>
                <a:lnTo>
                  <a:pt x="1753" y="112"/>
                </a:lnTo>
                <a:lnTo>
                  <a:pt x="1773" y="106"/>
                </a:lnTo>
                <a:lnTo>
                  <a:pt x="1798" y="104"/>
                </a:lnTo>
                <a:lnTo>
                  <a:pt x="1822" y="94"/>
                </a:lnTo>
              </a:path>
            </a:pathLst>
          </a:custGeom>
          <a:solidFill>
            <a:srgbClr val="A37041"/>
          </a:solidFill>
          <a:ln w="12700">
            <a:solidFill>
              <a:srgbClr val="FFFF00"/>
            </a:solidFill>
            <a:prstDash val="solid"/>
            <a:round/>
            <a:headEnd/>
            <a:tailEnd/>
          </a:ln>
        </p:spPr>
        <p:txBody>
          <a:bodyPr/>
          <a:lstStyle/>
          <a:p>
            <a:endParaRPr lang="cs-CZ" sz="1800" b="0">
              <a:solidFill>
                <a:srgbClr val="000000"/>
              </a:solidFill>
              <a:latin typeface="Arial" panose="020B0604020202020204" pitchFamily="34" charset="0"/>
            </a:endParaRPr>
          </a:p>
        </p:txBody>
      </p:sp>
      <p:sp>
        <p:nvSpPr>
          <p:cNvPr id="43018" name="Freeform 30"/>
          <p:cNvSpPr>
            <a:spLocks/>
          </p:cNvSpPr>
          <p:nvPr/>
        </p:nvSpPr>
        <p:spPr bwMode="auto">
          <a:xfrm>
            <a:off x="5904313" y="4195767"/>
            <a:ext cx="1140619" cy="654051"/>
          </a:xfrm>
          <a:custGeom>
            <a:avLst/>
            <a:gdLst>
              <a:gd name="T0" fmla="*/ 2147483647 w 1139"/>
              <a:gd name="T1" fmla="*/ 2147483647 h 475"/>
              <a:gd name="T2" fmla="*/ 2147483647 w 1139"/>
              <a:gd name="T3" fmla="*/ 2147483647 h 475"/>
              <a:gd name="T4" fmla="*/ 2147483647 w 1139"/>
              <a:gd name="T5" fmla="*/ 2147483647 h 475"/>
              <a:gd name="T6" fmla="*/ 2147483647 w 1139"/>
              <a:gd name="T7" fmla="*/ 2147483647 h 475"/>
              <a:gd name="T8" fmla="*/ 2147483647 w 1139"/>
              <a:gd name="T9" fmla="*/ 2147483647 h 475"/>
              <a:gd name="T10" fmla="*/ 2147483647 w 1139"/>
              <a:gd name="T11" fmla="*/ 2147483647 h 475"/>
              <a:gd name="T12" fmla="*/ 2147483647 w 1139"/>
              <a:gd name="T13" fmla="*/ 2147483647 h 475"/>
              <a:gd name="T14" fmla="*/ 2147483647 w 1139"/>
              <a:gd name="T15" fmla="*/ 2147483647 h 475"/>
              <a:gd name="T16" fmla="*/ 2147483647 w 1139"/>
              <a:gd name="T17" fmla="*/ 2147483647 h 475"/>
              <a:gd name="T18" fmla="*/ 2147483647 w 1139"/>
              <a:gd name="T19" fmla="*/ 2147483647 h 475"/>
              <a:gd name="T20" fmla="*/ 2147483647 w 1139"/>
              <a:gd name="T21" fmla="*/ 2147483647 h 475"/>
              <a:gd name="T22" fmla="*/ 2147483647 w 1139"/>
              <a:gd name="T23" fmla="*/ 2147483647 h 475"/>
              <a:gd name="T24" fmla="*/ 2147483647 w 1139"/>
              <a:gd name="T25" fmla="*/ 2147483647 h 475"/>
              <a:gd name="T26" fmla="*/ 2147483647 w 1139"/>
              <a:gd name="T27" fmla="*/ 2147483647 h 475"/>
              <a:gd name="T28" fmla="*/ 2147483647 w 1139"/>
              <a:gd name="T29" fmla="*/ 2147483647 h 475"/>
              <a:gd name="T30" fmla="*/ 2147483647 w 1139"/>
              <a:gd name="T31" fmla="*/ 2147483647 h 475"/>
              <a:gd name="T32" fmla="*/ 2147483647 w 1139"/>
              <a:gd name="T33" fmla="*/ 2147483647 h 475"/>
              <a:gd name="T34" fmla="*/ 2147483647 w 1139"/>
              <a:gd name="T35" fmla="*/ 2147483647 h 475"/>
              <a:gd name="T36" fmla="*/ 2147483647 w 1139"/>
              <a:gd name="T37" fmla="*/ 2147483647 h 475"/>
              <a:gd name="T38" fmla="*/ 2147483647 w 1139"/>
              <a:gd name="T39" fmla="*/ 2147483647 h 475"/>
              <a:gd name="T40" fmla="*/ 2147483647 w 1139"/>
              <a:gd name="T41" fmla="*/ 2147483647 h 475"/>
              <a:gd name="T42" fmla="*/ 2147483647 w 1139"/>
              <a:gd name="T43" fmla="*/ 2147483647 h 475"/>
              <a:gd name="T44" fmla="*/ 2147483647 w 1139"/>
              <a:gd name="T45" fmla="*/ 2147483647 h 475"/>
              <a:gd name="T46" fmla="*/ 2147483647 w 1139"/>
              <a:gd name="T47" fmla="*/ 2147483647 h 475"/>
              <a:gd name="T48" fmla="*/ 2147483647 w 1139"/>
              <a:gd name="T49" fmla="*/ 2147483647 h 475"/>
              <a:gd name="T50" fmla="*/ 2147483647 w 1139"/>
              <a:gd name="T51" fmla="*/ 2147483647 h 475"/>
              <a:gd name="T52" fmla="*/ 2147483647 w 1139"/>
              <a:gd name="T53" fmla="*/ 2147483647 h 475"/>
              <a:gd name="T54" fmla="*/ 2147483647 w 1139"/>
              <a:gd name="T55" fmla="*/ 2147483647 h 475"/>
              <a:gd name="T56" fmla="*/ 2147483647 w 1139"/>
              <a:gd name="T57" fmla="*/ 2147483647 h 475"/>
              <a:gd name="T58" fmla="*/ 2147483647 w 1139"/>
              <a:gd name="T59" fmla="*/ 2147483647 h 475"/>
              <a:gd name="T60" fmla="*/ 2147483647 w 1139"/>
              <a:gd name="T61" fmla="*/ 2147483647 h 475"/>
              <a:gd name="T62" fmla="*/ 2147483647 w 1139"/>
              <a:gd name="T63" fmla="*/ 2147483647 h 475"/>
              <a:gd name="T64" fmla="*/ 2147483647 w 1139"/>
              <a:gd name="T65" fmla="*/ 2147483647 h 475"/>
              <a:gd name="T66" fmla="*/ 2147483647 w 1139"/>
              <a:gd name="T67" fmla="*/ 2147483647 h 475"/>
              <a:gd name="T68" fmla="*/ 2147483647 w 1139"/>
              <a:gd name="T69" fmla="*/ 2147483647 h 475"/>
              <a:gd name="T70" fmla="*/ 2147483647 w 1139"/>
              <a:gd name="T71" fmla="*/ 2147483647 h 475"/>
              <a:gd name="T72" fmla="*/ 2147483647 w 1139"/>
              <a:gd name="T73" fmla="*/ 2147483647 h 475"/>
              <a:gd name="T74" fmla="*/ 2147483647 w 1139"/>
              <a:gd name="T75" fmla="*/ 2147483647 h 475"/>
              <a:gd name="T76" fmla="*/ 2147483647 w 1139"/>
              <a:gd name="T77" fmla="*/ 2147483647 h 475"/>
              <a:gd name="T78" fmla="*/ 2147483647 w 1139"/>
              <a:gd name="T79" fmla="*/ 2147483647 h 475"/>
              <a:gd name="T80" fmla="*/ 2147483647 w 1139"/>
              <a:gd name="T81" fmla="*/ 2147483647 h 475"/>
              <a:gd name="T82" fmla="*/ 2147483647 w 1139"/>
              <a:gd name="T83" fmla="*/ 2147483647 h 475"/>
              <a:gd name="T84" fmla="*/ 2147483647 w 1139"/>
              <a:gd name="T85" fmla="*/ 2147483647 h 475"/>
              <a:gd name="T86" fmla="*/ 2147483647 w 1139"/>
              <a:gd name="T87" fmla="*/ 2147483647 h 475"/>
              <a:gd name="T88" fmla="*/ 2147483647 w 1139"/>
              <a:gd name="T89" fmla="*/ 2147483647 h 475"/>
              <a:gd name="T90" fmla="*/ 2147483647 w 1139"/>
              <a:gd name="T91" fmla="*/ 2147483647 h 475"/>
              <a:gd name="T92" fmla="*/ 2147483647 w 1139"/>
              <a:gd name="T93" fmla="*/ 2147483647 h 475"/>
              <a:gd name="T94" fmla="*/ 2147483647 w 1139"/>
              <a:gd name="T95" fmla="*/ 2147483647 h 475"/>
              <a:gd name="T96" fmla="*/ 2147483647 w 1139"/>
              <a:gd name="T97" fmla="*/ 2147483647 h 475"/>
              <a:gd name="T98" fmla="*/ 2147483647 w 1139"/>
              <a:gd name="T99" fmla="*/ 2147483647 h 475"/>
              <a:gd name="T100" fmla="*/ 2147483647 w 1139"/>
              <a:gd name="T101" fmla="*/ 2147483647 h 475"/>
              <a:gd name="T102" fmla="*/ 2147483647 w 1139"/>
              <a:gd name="T103" fmla="*/ 2147483647 h 475"/>
              <a:gd name="T104" fmla="*/ 2147483647 w 1139"/>
              <a:gd name="T105" fmla="*/ 2147483647 h 475"/>
              <a:gd name="T106" fmla="*/ 2147483647 w 1139"/>
              <a:gd name="T107" fmla="*/ 2147483647 h 475"/>
              <a:gd name="T108" fmla="*/ 2147483647 w 1139"/>
              <a:gd name="T109" fmla="*/ 2147483647 h 475"/>
              <a:gd name="T110" fmla="*/ 2147483647 w 1139"/>
              <a:gd name="T111" fmla="*/ 2147483647 h 475"/>
              <a:gd name="T112" fmla="*/ 2147483647 w 1139"/>
              <a:gd name="T113" fmla="*/ 2147483647 h 47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39"/>
              <a:gd name="T172" fmla="*/ 0 h 475"/>
              <a:gd name="T173" fmla="*/ 1139 w 1139"/>
              <a:gd name="T174" fmla="*/ 475 h 47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39" h="475">
                <a:moveTo>
                  <a:pt x="488" y="246"/>
                </a:moveTo>
                <a:lnTo>
                  <a:pt x="477" y="245"/>
                </a:lnTo>
                <a:lnTo>
                  <a:pt x="466" y="245"/>
                </a:lnTo>
                <a:lnTo>
                  <a:pt x="457" y="247"/>
                </a:lnTo>
                <a:lnTo>
                  <a:pt x="447" y="249"/>
                </a:lnTo>
                <a:lnTo>
                  <a:pt x="438" y="251"/>
                </a:lnTo>
                <a:lnTo>
                  <a:pt x="428" y="252"/>
                </a:lnTo>
                <a:lnTo>
                  <a:pt x="418" y="253"/>
                </a:lnTo>
                <a:lnTo>
                  <a:pt x="408" y="252"/>
                </a:lnTo>
                <a:lnTo>
                  <a:pt x="398" y="250"/>
                </a:lnTo>
                <a:lnTo>
                  <a:pt x="387" y="249"/>
                </a:lnTo>
                <a:lnTo>
                  <a:pt x="378" y="248"/>
                </a:lnTo>
                <a:lnTo>
                  <a:pt x="368" y="248"/>
                </a:lnTo>
                <a:lnTo>
                  <a:pt x="359" y="248"/>
                </a:lnTo>
                <a:lnTo>
                  <a:pt x="350" y="248"/>
                </a:lnTo>
                <a:lnTo>
                  <a:pt x="340" y="249"/>
                </a:lnTo>
                <a:lnTo>
                  <a:pt x="331" y="250"/>
                </a:lnTo>
                <a:lnTo>
                  <a:pt x="328" y="251"/>
                </a:lnTo>
                <a:lnTo>
                  <a:pt x="324" y="252"/>
                </a:lnTo>
                <a:lnTo>
                  <a:pt x="320" y="252"/>
                </a:lnTo>
                <a:lnTo>
                  <a:pt x="317" y="254"/>
                </a:lnTo>
                <a:lnTo>
                  <a:pt x="313" y="256"/>
                </a:lnTo>
                <a:lnTo>
                  <a:pt x="311" y="257"/>
                </a:lnTo>
                <a:lnTo>
                  <a:pt x="308" y="259"/>
                </a:lnTo>
                <a:lnTo>
                  <a:pt x="306" y="261"/>
                </a:lnTo>
                <a:lnTo>
                  <a:pt x="302" y="270"/>
                </a:lnTo>
                <a:lnTo>
                  <a:pt x="293" y="277"/>
                </a:lnTo>
                <a:lnTo>
                  <a:pt x="284" y="281"/>
                </a:lnTo>
                <a:lnTo>
                  <a:pt x="273" y="284"/>
                </a:lnTo>
                <a:lnTo>
                  <a:pt x="262" y="284"/>
                </a:lnTo>
                <a:lnTo>
                  <a:pt x="250" y="282"/>
                </a:lnTo>
                <a:lnTo>
                  <a:pt x="239" y="280"/>
                </a:lnTo>
                <a:lnTo>
                  <a:pt x="229" y="276"/>
                </a:lnTo>
                <a:lnTo>
                  <a:pt x="232" y="295"/>
                </a:lnTo>
                <a:lnTo>
                  <a:pt x="237" y="297"/>
                </a:lnTo>
                <a:lnTo>
                  <a:pt x="242" y="299"/>
                </a:lnTo>
                <a:lnTo>
                  <a:pt x="248" y="301"/>
                </a:lnTo>
                <a:lnTo>
                  <a:pt x="255" y="301"/>
                </a:lnTo>
                <a:lnTo>
                  <a:pt x="260" y="303"/>
                </a:lnTo>
                <a:lnTo>
                  <a:pt x="268" y="303"/>
                </a:lnTo>
                <a:lnTo>
                  <a:pt x="274" y="303"/>
                </a:lnTo>
                <a:lnTo>
                  <a:pt x="281" y="303"/>
                </a:lnTo>
                <a:lnTo>
                  <a:pt x="286" y="302"/>
                </a:lnTo>
                <a:lnTo>
                  <a:pt x="293" y="301"/>
                </a:lnTo>
                <a:lnTo>
                  <a:pt x="299" y="298"/>
                </a:lnTo>
                <a:lnTo>
                  <a:pt x="304" y="296"/>
                </a:lnTo>
                <a:lnTo>
                  <a:pt x="309" y="293"/>
                </a:lnTo>
                <a:lnTo>
                  <a:pt x="313" y="289"/>
                </a:lnTo>
                <a:lnTo>
                  <a:pt x="317" y="285"/>
                </a:lnTo>
                <a:lnTo>
                  <a:pt x="319" y="280"/>
                </a:lnTo>
                <a:lnTo>
                  <a:pt x="321" y="277"/>
                </a:lnTo>
                <a:lnTo>
                  <a:pt x="324" y="275"/>
                </a:lnTo>
                <a:lnTo>
                  <a:pt x="329" y="273"/>
                </a:lnTo>
                <a:lnTo>
                  <a:pt x="333" y="271"/>
                </a:lnTo>
                <a:lnTo>
                  <a:pt x="338" y="269"/>
                </a:lnTo>
                <a:lnTo>
                  <a:pt x="340" y="268"/>
                </a:lnTo>
                <a:lnTo>
                  <a:pt x="342" y="267"/>
                </a:lnTo>
                <a:lnTo>
                  <a:pt x="341" y="267"/>
                </a:lnTo>
                <a:lnTo>
                  <a:pt x="348" y="267"/>
                </a:lnTo>
                <a:lnTo>
                  <a:pt x="357" y="267"/>
                </a:lnTo>
                <a:lnTo>
                  <a:pt x="368" y="267"/>
                </a:lnTo>
                <a:lnTo>
                  <a:pt x="381" y="268"/>
                </a:lnTo>
                <a:lnTo>
                  <a:pt x="392" y="268"/>
                </a:lnTo>
                <a:lnTo>
                  <a:pt x="402" y="268"/>
                </a:lnTo>
                <a:lnTo>
                  <a:pt x="409" y="268"/>
                </a:lnTo>
                <a:lnTo>
                  <a:pt x="411" y="268"/>
                </a:lnTo>
                <a:lnTo>
                  <a:pt x="422" y="270"/>
                </a:lnTo>
                <a:lnTo>
                  <a:pt x="435" y="270"/>
                </a:lnTo>
                <a:lnTo>
                  <a:pt x="447" y="270"/>
                </a:lnTo>
                <a:lnTo>
                  <a:pt x="458" y="269"/>
                </a:lnTo>
                <a:lnTo>
                  <a:pt x="468" y="268"/>
                </a:lnTo>
                <a:lnTo>
                  <a:pt x="476" y="267"/>
                </a:lnTo>
                <a:lnTo>
                  <a:pt x="482" y="266"/>
                </a:lnTo>
                <a:lnTo>
                  <a:pt x="484" y="266"/>
                </a:lnTo>
                <a:lnTo>
                  <a:pt x="476" y="273"/>
                </a:lnTo>
                <a:lnTo>
                  <a:pt x="470" y="280"/>
                </a:lnTo>
                <a:lnTo>
                  <a:pt x="467" y="287"/>
                </a:lnTo>
                <a:lnTo>
                  <a:pt x="465" y="295"/>
                </a:lnTo>
                <a:lnTo>
                  <a:pt x="464" y="304"/>
                </a:lnTo>
                <a:lnTo>
                  <a:pt x="464" y="313"/>
                </a:lnTo>
                <a:lnTo>
                  <a:pt x="463" y="323"/>
                </a:lnTo>
                <a:lnTo>
                  <a:pt x="463" y="333"/>
                </a:lnTo>
                <a:lnTo>
                  <a:pt x="461" y="341"/>
                </a:lnTo>
                <a:lnTo>
                  <a:pt x="458" y="348"/>
                </a:lnTo>
                <a:lnTo>
                  <a:pt x="454" y="355"/>
                </a:lnTo>
                <a:lnTo>
                  <a:pt x="448" y="362"/>
                </a:lnTo>
                <a:lnTo>
                  <a:pt x="441" y="368"/>
                </a:lnTo>
                <a:lnTo>
                  <a:pt x="434" y="373"/>
                </a:lnTo>
                <a:lnTo>
                  <a:pt x="425" y="377"/>
                </a:lnTo>
                <a:lnTo>
                  <a:pt x="413" y="380"/>
                </a:lnTo>
                <a:lnTo>
                  <a:pt x="417" y="389"/>
                </a:lnTo>
                <a:lnTo>
                  <a:pt x="416" y="396"/>
                </a:lnTo>
                <a:lnTo>
                  <a:pt x="412" y="401"/>
                </a:lnTo>
                <a:lnTo>
                  <a:pt x="405" y="406"/>
                </a:lnTo>
                <a:lnTo>
                  <a:pt x="398" y="409"/>
                </a:lnTo>
                <a:lnTo>
                  <a:pt x="387" y="412"/>
                </a:lnTo>
                <a:lnTo>
                  <a:pt x="378" y="415"/>
                </a:lnTo>
                <a:lnTo>
                  <a:pt x="369" y="418"/>
                </a:lnTo>
                <a:lnTo>
                  <a:pt x="368" y="420"/>
                </a:lnTo>
                <a:lnTo>
                  <a:pt x="366" y="422"/>
                </a:lnTo>
                <a:lnTo>
                  <a:pt x="365" y="425"/>
                </a:lnTo>
                <a:lnTo>
                  <a:pt x="364" y="428"/>
                </a:lnTo>
                <a:lnTo>
                  <a:pt x="363" y="432"/>
                </a:lnTo>
                <a:lnTo>
                  <a:pt x="362" y="435"/>
                </a:lnTo>
                <a:lnTo>
                  <a:pt x="360" y="437"/>
                </a:lnTo>
                <a:lnTo>
                  <a:pt x="359" y="439"/>
                </a:lnTo>
                <a:lnTo>
                  <a:pt x="350" y="444"/>
                </a:lnTo>
                <a:lnTo>
                  <a:pt x="340" y="447"/>
                </a:lnTo>
                <a:lnTo>
                  <a:pt x="329" y="449"/>
                </a:lnTo>
                <a:lnTo>
                  <a:pt x="318" y="451"/>
                </a:lnTo>
                <a:lnTo>
                  <a:pt x="306" y="453"/>
                </a:lnTo>
                <a:lnTo>
                  <a:pt x="295" y="456"/>
                </a:lnTo>
                <a:lnTo>
                  <a:pt x="285" y="460"/>
                </a:lnTo>
                <a:lnTo>
                  <a:pt x="275" y="467"/>
                </a:lnTo>
                <a:lnTo>
                  <a:pt x="272" y="470"/>
                </a:lnTo>
                <a:lnTo>
                  <a:pt x="267" y="472"/>
                </a:lnTo>
                <a:lnTo>
                  <a:pt x="262" y="473"/>
                </a:lnTo>
                <a:lnTo>
                  <a:pt x="256" y="474"/>
                </a:lnTo>
                <a:lnTo>
                  <a:pt x="250" y="474"/>
                </a:lnTo>
                <a:lnTo>
                  <a:pt x="245" y="473"/>
                </a:lnTo>
                <a:lnTo>
                  <a:pt x="239" y="472"/>
                </a:lnTo>
                <a:lnTo>
                  <a:pt x="235" y="470"/>
                </a:lnTo>
                <a:lnTo>
                  <a:pt x="231" y="470"/>
                </a:lnTo>
                <a:lnTo>
                  <a:pt x="229" y="469"/>
                </a:lnTo>
                <a:lnTo>
                  <a:pt x="226" y="469"/>
                </a:lnTo>
                <a:lnTo>
                  <a:pt x="222" y="469"/>
                </a:lnTo>
                <a:lnTo>
                  <a:pt x="220" y="469"/>
                </a:lnTo>
                <a:lnTo>
                  <a:pt x="218" y="468"/>
                </a:lnTo>
                <a:lnTo>
                  <a:pt x="217" y="466"/>
                </a:lnTo>
                <a:lnTo>
                  <a:pt x="218" y="463"/>
                </a:lnTo>
                <a:lnTo>
                  <a:pt x="211" y="464"/>
                </a:lnTo>
                <a:lnTo>
                  <a:pt x="204" y="464"/>
                </a:lnTo>
                <a:lnTo>
                  <a:pt x="197" y="464"/>
                </a:lnTo>
                <a:lnTo>
                  <a:pt x="191" y="464"/>
                </a:lnTo>
                <a:lnTo>
                  <a:pt x="184" y="464"/>
                </a:lnTo>
                <a:lnTo>
                  <a:pt x="177" y="464"/>
                </a:lnTo>
                <a:lnTo>
                  <a:pt x="169" y="463"/>
                </a:lnTo>
                <a:lnTo>
                  <a:pt x="163" y="462"/>
                </a:lnTo>
                <a:lnTo>
                  <a:pt x="156" y="460"/>
                </a:lnTo>
                <a:lnTo>
                  <a:pt x="149" y="459"/>
                </a:lnTo>
                <a:lnTo>
                  <a:pt x="143" y="456"/>
                </a:lnTo>
                <a:lnTo>
                  <a:pt x="137" y="454"/>
                </a:lnTo>
                <a:lnTo>
                  <a:pt x="130" y="451"/>
                </a:lnTo>
                <a:lnTo>
                  <a:pt x="124" y="447"/>
                </a:lnTo>
                <a:lnTo>
                  <a:pt x="119" y="442"/>
                </a:lnTo>
                <a:lnTo>
                  <a:pt x="114" y="438"/>
                </a:lnTo>
                <a:lnTo>
                  <a:pt x="107" y="434"/>
                </a:lnTo>
                <a:lnTo>
                  <a:pt x="100" y="431"/>
                </a:lnTo>
                <a:lnTo>
                  <a:pt x="89" y="430"/>
                </a:lnTo>
                <a:lnTo>
                  <a:pt x="80" y="429"/>
                </a:lnTo>
                <a:lnTo>
                  <a:pt x="70" y="428"/>
                </a:lnTo>
                <a:lnTo>
                  <a:pt x="60" y="426"/>
                </a:lnTo>
                <a:lnTo>
                  <a:pt x="51" y="422"/>
                </a:lnTo>
                <a:lnTo>
                  <a:pt x="44" y="415"/>
                </a:lnTo>
                <a:lnTo>
                  <a:pt x="42" y="412"/>
                </a:lnTo>
                <a:lnTo>
                  <a:pt x="42" y="408"/>
                </a:lnTo>
                <a:lnTo>
                  <a:pt x="42" y="403"/>
                </a:lnTo>
                <a:lnTo>
                  <a:pt x="43" y="399"/>
                </a:lnTo>
                <a:lnTo>
                  <a:pt x="43" y="394"/>
                </a:lnTo>
                <a:lnTo>
                  <a:pt x="42" y="390"/>
                </a:lnTo>
                <a:lnTo>
                  <a:pt x="40" y="387"/>
                </a:lnTo>
                <a:lnTo>
                  <a:pt x="35" y="384"/>
                </a:lnTo>
                <a:lnTo>
                  <a:pt x="32" y="383"/>
                </a:lnTo>
                <a:lnTo>
                  <a:pt x="29" y="382"/>
                </a:lnTo>
                <a:lnTo>
                  <a:pt x="25" y="381"/>
                </a:lnTo>
                <a:lnTo>
                  <a:pt x="23" y="379"/>
                </a:lnTo>
                <a:lnTo>
                  <a:pt x="21" y="378"/>
                </a:lnTo>
                <a:lnTo>
                  <a:pt x="17" y="376"/>
                </a:lnTo>
                <a:lnTo>
                  <a:pt x="16" y="374"/>
                </a:lnTo>
                <a:lnTo>
                  <a:pt x="15" y="373"/>
                </a:lnTo>
                <a:lnTo>
                  <a:pt x="14" y="367"/>
                </a:lnTo>
                <a:lnTo>
                  <a:pt x="15" y="361"/>
                </a:lnTo>
                <a:lnTo>
                  <a:pt x="19" y="355"/>
                </a:lnTo>
                <a:lnTo>
                  <a:pt x="23" y="349"/>
                </a:lnTo>
                <a:lnTo>
                  <a:pt x="26" y="344"/>
                </a:lnTo>
                <a:lnTo>
                  <a:pt x="30" y="339"/>
                </a:lnTo>
                <a:lnTo>
                  <a:pt x="29" y="335"/>
                </a:lnTo>
                <a:lnTo>
                  <a:pt x="25" y="330"/>
                </a:lnTo>
                <a:lnTo>
                  <a:pt x="19" y="325"/>
                </a:lnTo>
                <a:lnTo>
                  <a:pt x="13" y="321"/>
                </a:lnTo>
                <a:lnTo>
                  <a:pt x="7" y="315"/>
                </a:lnTo>
                <a:lnTo>
                  <a:pt x="3" y="309"/>
                </a:lnTo>
                <a:lnTo>
                  <a:pt x="1" y="303"/>
                </a:lnTo>
                <a:lnTo>
                  <a:pt x="0" y="296"/>
                </a:lnTo>
                <a:lnTo>
                  <a:pt x="1" y="289"/>
                </a:lnTo>
                <a:lnTo>
                  <a:pt x="6" y="280"/>
                </a:lnTo>
                <a:lnTo>
                  <a:pt x="8" y="276"/>
                </a:lnTo>
                <a:lnTo>
                  <a:pt x="11" y="271"/>
                </a:lnTo>
                <a:lnTo>
                  <a:pt x="12" y="266"/>
                </a:lnTo>
                <a:lnTo>
                  <a:pt x="13" y="261"/>
                </a:lnTo>
                <a:lnTo>
                  <a:pt x="13" y="256"/>
                </a:lnTo>
                <a:lnTo>
                  <a:pt x="14" y="250"/>
                </a:lnTo>
                <a:lnTo>
                  <a:pt x="14" y="245"/>
                </a:lnTo>
                <a:lnTo>
                  <a:pt x="14" y="240"/>
                </a:lnTo>
                <a:lnTo>
                  <a:pt x="14" y="235"/>
                </a:lnTo>
                <a:lnTo>
                  <a:pt x="15" y="230"/>
                </a:lnTo>
                <a:lnTo>
                  <a:pt x="15" y="226"/>
                </a:lnTo>
                <a:lnTo>
                  <a:pt x="17" y="222"/>
                </a:lnTo>
                <a:lnTo>
                  <a:pt x="19" y="218"/>
                </a:lnTo>
                <a:lnTo>
                  <a:pt x="21" y="215"/>
                </a:lnTo>
                <a:lnTo>
                  <a:pt x="24" y="212"/>
                </a:lnTo>
                <a:lnTo>
                  <a:pt x="28" y="210"/>
                </a:lnTo>
                <a:lnTo>
                  <a:pt x="34" y="207"/>
                </a:lnTo>
                <a:lnTo>
                  <a:pt x="40" y="204"/>
                </a:lnTo>
                <a:lnTo>
                  <a:pt x="44" y="200"/>
                </a:lnTo>
                <a:lnTo>
                  <a:pt x="48" y="196"/>
                </a:lnTo>
                <a:lnTo>
                  <a:pt x="50" y="192"/>
                </a:lnTo>
                <a:lnTo>
                  <a:pt x="52" y="188"/>
                </a:lnTo>
                <a:lnTo>
                  <a:pt x="53" y="184"/>
                </a:lnTo>
                <a:lnTo>
                  <a:pt x="55" y="179"/>
                </a:lnTo>
                <a:lnTo>
                  <a:pt x="56" y="175"/>
                </a:lnTo>
                <a:lnTo>
                  <a:pt x="57" y="169"/>
                </a:lnTo>
                <a:lnTo>
                  <a:pt x="59" y="165"/>
                </a:lnTo>
                <a:lnTo>
                  <a:pt x="60" y="159"/>
                </a:lnTo>
                <a:lnTo>
                  <a:pt x="62" y="155"/>
                </a:lnTo>
                <a:lnTo>
                  <a:pt x="65" y="149"/>
                </a:lnTo>
                <a:lnTo>
                  <a:pt x="68" y="144"/>
                </a:lnTo>
                <a:lnTo>
                  <a:pt x="74" y="139"/>
                </a:lnTo>
                <a:lnTo>
                  <a:pt x="78" y="135"/>
                </a:lnTo>
                <a:lnTo>
                  <a:pt x="83" y="133"/>
                </a:lnTo>
                <a:lnTo>
                  <a:pt x="89" y="132"/>
                </a:lnTo>
                <a:lnTo>
                  <a:pt x="95" y="131"/>
                </a:lnTo>
                <a:lnTo>
                  <a:pt x="101" y="131"/>
                </a:lnTo>
                <a:lnTo>
                  <a:pt x="106" y="130"/>
                </a:lnTo>
                <a:lnTo>
                  <a:pt x="111" y="129"/>
                </a:lnTo>
                <a:lnTo>
                  <a:pt x="115" y="127"/>
                </a:lnTo>
                <a:lnTo>
                  <a:pt x="123" y="122"/>
                </a:lnTo>
                <a:lnTo>
                  <a:pt x="129" y="117"/>
                </a:lnTo>
                <a:lnTo>
                  <a:pt x="134" y="111"/>
                </a:lnTo>
                <a:lnTo>
                  <a:pt x="139" y="105"/>
                </a:lnTo>
                <a:lnTo>
                  <a:pt x="143" y="99"/>
                </a:lnTo>
                <a:lnTo>
                  <a:pt x="148" y="92"/>
                </a:lnTo>
                <a:lnTo>
                  <a:pt x="152" y="86"/>
                </a:lnTo>
                <a:lnTo>
                  <a:pt x="159" y="79"/>
                </a:lnTo>
                <a:lnTo>
                  <a:pt x="161" y="76"/>
                </a:lnTo>
                <a:lnTo>
                  <a:pt x="166" y="76"/>
                </a:lnTo>
                <a:lnTo>
                  <a:pt x="170" y="75"/>
                </a:lnTo>
                <a:lnTo>
                  <a:pt x="175" y="76"/>
                </a:lnTo>
                <a:lnTo>
                  <a:pt x="181" y="75"/>
                </a:lnTo>
                <a:lnTo>
                  <a:pt x="185" y="74"/>
                </a:lnTo>
                <a:lnTo>
                  <a:pt x="191" y="71"/>
                </a:lnTo>
                <a:lnTo>
                  <a:pt x="195" y="65"/>
                </a:lnTo>
                <a:lnTo>
                  <a:pt x="197" y="64"/>
                </a:lnTo>
                <a:lnTo>
                  <a:pt x="200" y="62"/>
                </a:lnTo>
                <a:lnTo>
                  <a:pt x="202" y="60"/>
                </a:lnTo>
                <a:lnTo>
                  <a:pt x="206" y="59"/>
                </a:lnTo>
                <a:lnTo>
                  <a:pt x="210" y="58"/>
                </a:lnTo>
                <a:lnTo>
                  <a:pt x="213" y="58"/>
                </a:lnTo>
                <a:lnTo>
                  <a:pt x="217" y="58"/>
                </a:lnTo>
                <a:lnTo>
                  <a:pt x="220" y="58"/>
                </a:lnTo>
                <a:lnTo>
                  <a:pt x="227" y="59"/>
                </a:lnTo>
                <a:lnTo>
                  <a:pt x="232" y="60"/>
                </a:lnTo>
                <a:lnTo>
                  <a:pt x="239" y="62"/>
                </a:lnTo>
                <a:lnTo>
                  <a:pt x="245" y="62"/>
                </a:lnTo>
                <a:lnTo>
                  <a:pt x="250" y="64"/>
                </a:lnTo>
                <a:lnTo>
                  <a:pt x="255" y="64"/>
                </a:lnTo>
                <a:lnTo>
                  <a:pt x="260" y="65"/>
                </a:lnTo>
                <a:lnTo>
                  <a:pt x="266" y="66"/>
                </a:lnTo>
                <a:lnTo>
                  <a:pt x="271" y="66"/>
                </a:lnTo>
                <a:lnTo>
                  <a:pt x="275" y="66"/>
                </a:lnTo>
                <a:lnTo>
                  <a:pt x="281" y="66"/>
                </a:lnTo>
                <a:lnTo>
                  <a:pt x="285" y="66"/>
                </a:lnTo>
                <a:lnTo>
                  <a:pt x="291" y="66"/>
                </a:lnTo>
                <a:lnTo>
                  <a:pt x="295" y="65"/>
                </a:lnTo>
                <a:lnTo>
                  <a:pt x="301" y="64"/>
                </a:lnTo>
                <a:lnTo>
                  <a:pt x="306" y="62"/>
                </a:lnTo>
                <a:lnTo>
                  <a:pt x="312" y="60"/>
                </a:lnTo>
                <a:lnTo>
                  <a:pt x="317" y="59"/>
                </a:lnTo>
                <a:lnTo>
                  <a:pt x="322" y="57"/>
                </a:lnTo>
                <a:lnTo>
                  <a:pt x="328" y="56"/>
                </a:lnTo>
                <a:lnTo>
                  <a:pt x="333" y="55"/>
                </a:lnTo>
                <a:lnTo>
                  <a:pt x="340" y="54"/>
                </a:lnTo>
                <a:lnTo>
                  <a:pt x="345" y="54"/>
                </a:lnTo>
                <a:lnTo>
                  <a:pt x="351" y="54"/>
                </a:lnTo>
                <a:lnTo>
                  <a:pt x="357" y="54"/>
                </a:lnTo>
                <a:lnTo>
                  <a:pt x="363" y="54"/>
                </a:lnTo>
                <a:lnTo>
                  <a:pt x="368" y="54"/>
                </a:lnTo>
                <a:lnTo>
                  <a:pt x="373" y="56"/>
                </a:lnTo>
                <a:lnTo>
                  <a:pt x="378" y="56"/>
                </a:lnTo>
                <a:lnTo>
                  <a:pt x="384" y="58"/>
                </a:lnTo>
                <a:lnTo>
                  <a:pt x="390" y="59"/>
                </a:lnTo>
                <a:lnTo>
                  <a:pt x="395" y="61"/>
                </a:lnTo>
                <a:lnTo>
                  <a:pt x="404" y="64"/>
                </a:lnTo>
                <a:lnTo>
                  <a:pt x="413" y="64"/>
                </a:lnTo>
                <a:lnTo>
                  <a:pt x="422" y="64"/>
                </a:lnTo>
                <a:lnTo>
                  <a:pt x="432" y="63"/>
                </a:lnTo>
                <a:lnTo>
                  <a:pt x="443" y="60"/>
                </a:lnTo>
                <a:lnTo>
                  <a:pt x="452" y="58"/>
                </a:lnTo>
                <a:lnTo>
                  <a:pt x="461" y="55"/>
                </a:lnTo>
                <a:lnTo>
                  <a:pt x="470" y="52"/>
                </a:lnTo>
                <a:lnTo>
                  <a:pt x="477" y="50"/>
                </a:lnTo>
                <a:lnTo>
                  <a:pt x="485" y="50"/>
                </a:lnTo>
                <a:lnTo>
                  <a:pt x="493" y="51"/>
                </a:lnTo>
                <a:lnTo>
                  <a:pt x="501" y="53"/>
                </a:lnTo>
                <a:lnTo>
                  <a:pt x="510" y="56"/>
                </a:lnTo>
                <a:lnTo>
                  <a:pt x="519" y="59"/>
                </a:lnTo>
                <a:lnTo>
                  <a:pt x="528" y="63"/>
                </a:lnTo>
                <a:lnTo>
                  <a:pt x="537" y="66"/>
                </a:lnTo>
                <a:lnTo>
                  <a:pt x="544" y="68"/>
                </a:lnTo>
                <a:lnTo>
                  <a:pt x="551" y="68"/>
                </a:lnTo>
                <a:lnTo>
                  <a:pt x="557" y="68"/>
                </a:lnTo>
                <a:lnTo>
                  <a:pt x="564" y="68"/>
                </a:lnTo>
                <a:lnTo>
                  <a:pt x="570" y="66"/>
                </a:lnTo>
                <a:lnTo>
                  <a:pt x="576" y="63"/>
                </a:lnTo>
                <a:lnTo>
                  <a:pt x="583" y="60"/>
                </a:lnTo>
                <a:lnTo>
                  <a:pt x="590" y="56"/>
                </a:lnTo>
                <a:lnTo>
                  <a:pt x="591" y="56"/>
                </a:lnTo>
                <a:lnTo>
                  <a:pt x="592" y="56"/>
                </a:lnTo>
                <a:lnTo>
                  <a:pt x="595" y="56"/>
                </a:lnTo>
                <a:lnTo>
                  <a:pt x="599" y="56"/>
                </a:lnTo>
                <a:lnTo>
                  <a:pt x="602" y="56"/>
                </a:lnTo>
                <a:lnTo>
                  <a:pt x="606" y="56"/>
                </a:lnTo>
                <a:lnTo>
                  <a:pt x="610" y="56"/>
                </a:lnTo>
                <a:lnTo>
                  <a:pt x="613" y="56"/>
                </a:lnTo>
                <a:lnTo>
                  <a:pt x="624" y="56"/>
                </a:lnTo>
                <a:lnTo>
                  <a:pt x="635" y="58"/>
                </a:lnTo>
                <a:lnTo>
                  <a:pt x="645" y="60"/>
                </a:lnTo>
                <a:lnTo>
                  <a:pt x="655" y="64"/>
                </a:lnTo>
                <a:lnTo>
                  <a:pt x="666" y="67"/>
                </a:lnTo>
                <a:lnTo>
                  <a:pt x="674" y="69"/>
                </a:lnTo>
                <a:lnTo>
                  <a:pt x="682" y="70"/>
                </a:lnTo>
                <a:lnTo>
                  <a:pt x="688" y="69"/>
                </a:lnTo>
                <a:lnTo>
                  <a:pt x="689" y="68"/>
                </a:lnTo>
                <a:lnTo>
                  <a:pt x="692" y="66"/>
                </a:lnTo>
                <a:lnTo>
                  <a:pt x="696" y="63"/>
                </a:lnTo>
                <a:lnTo>
                  <a:pt x="699" y="59"/>
                </a:lnTo>
                <a:lnTo>
                  <a:pt x="702" y="56"/>
                </a:lnTo>
                <a:lnTo>
                  <a:pt x="708" y="52"/>
                </a:lnTo>
                <a:lnTo>
                  <a:pt x="714" y="48"/>
                </a:lnTo>
                <a:lnTo>
                  <a:pt x="720" y="46"/>
                </a:lnTo>
                <a:lnTo>
                  <a:pt x="725" y="45"/>
                </a:lnTo>
                <a:lnTo>
                  <a:pt x="729" y="45"/>
                </a:lnTo>
                <a:lnTo>
                  <a:pt x="735" y="46"/>
                </a:lnTo>
                <a:lnTo>
                  <a:pt x="741" y="46"/>
                </a:lnTo>
                <a:lnTo>
                  <a:pt x="748" y="48"/>
                </a:lnTo>
                <a:lnTo>
                  <a:pt x="755" y="49"/>
                </a:lnTo>
                <a:lnTo>
                  <a:pt x="763" y="50"/>
                </a:lnTo>
                <a:lnTo>
                  <a:pt x="771" y="51"/>
                </a:lnTo>
                <a:lnTo>
                  <a:pt x="780" y="51"/>
                </a:lnTo>
                <a:lnTo>
                  <a:pt x="789" y="51"/>
                </a:lnTo>
                <a:lnTo>
                  <a:pt x="797" y="50"/>
                </a:lnTo>
                <a:lnTo>
                  <a:pt x="806" y="47"/>
                </a:lnTo>
                <a:lnTo>
                  <a:pt x="815" y="44"/>
                </a:lnTo>
                <a:lnTo>
                  <a:pt x="824" y="39"/>
                </a:lnTo>
                <a:lnTo>
                  <a:pt x="832" y="33"/>
                </a:lnTo>
                <a:lnTo>
                  <a:pt x="841" y="25"/>
                </a:lnTo>
                <a:lnTo>
                  <a:pt x="845" y="22"/>
                </a:lnTo>
                <a:lnTo>
                  <a:pt x="851" y="21"/>
                </a:lnTo>
                <a:lnTo>
                  <a:pt x="857" y="21"/>
                </a:lnTo>
                <a:lnTo>
                  <a:pt x="865" y="22"/>
                </a:lnTo>
                <a:lnTo>
                  <a:pt x="873" y="23"/>
                </a:lnTo>
                <a:lnTo>
                  <a:pt x="880" y="24"/>
                </a:lnTo>
                <a:lnTo>
                  <a:pt x="887" y="24"/>
                </a:lnTo>
                <a:lnTo>
                  <a:pt x="891" y="24"/>
                </a:lnTo>
                <a:lnTo>
                  <a:pt x="911" y="20"/>
                </a:lnTo>
                <a:lnTo>
                  <a:pt x="929" y="16"/>
                </a:lnTo>
                <a:lnTo>
                  <a:pt x="943" y="12"/>
                </a:lnTo>
                <a:lnTo>
                  <a:pt x="954" y="9"/>
                </a:lnTo>
                <a:lnTo>
                  <a:pt x="964" y="6"/>
                </a:lnTo>
                <a:lnTo>
                  <a:pt x="972" y="4"/>
                </a:lnTo>
                <a:lnTo>
                  <a:pt x="979" y="2"/>
                </a:lnTo>
                <a:lnTo>
                  <a:pt x="985" y="1"/>
                </a:lnTo>
                <a:lnTo>
                  <a:pt x="990" y="0"/>
                </a:lnTo>
                <a:lnTo>
                  <a:pt x="996" y="0"/>
                </a:lnTo>
                <a:lnTo>
                  <a:pt x="1001" y="1"/>
                </a:lnTo>
                <a:lnTo>
                  <a:pt x="1009" y="2"/>
                </a:lnTo>
                <a:lnTo>
                  <a:pt x="1018" y="4"/>
                </a:lnTo>
                <a:lnTo>
                  <a:pt x="1028" y="7"/>
                </a:lnTo>
                <a:lnTo>
                  <a:pt x="1042" y="10"/>
                </a:lnTo>
                <a:lnTo>
                  <a:pt x="1059" y="15"/>
                </a:lnTo>
                <a:lnTo>
                  <a:pt x="1068" y="16"/>
                </a:lnTo>
                <a:lnTo>
                  <a:pt x="1079" y="17"/>
                </a:lnTo>
                <a:lnTo>
                  <a:pt x="1089" y="17"/>
                </a:lnTo>
                <a:lnTo>
                  <a:pt x="1099" y="18"/>
                </a:lnTo>
                <a:lnTo>
                  <a:pt x="1108" y="18"/>
                </a:lnTo>
                <a:lnTo>
                  <a:pt x="1117" y="21"/>
                </a:lnTo>
                <a:lnTo>
                  <a:pt x="1126" y="25"/>
                </a:lnTo>
                <a:lnTo>
                  <a:pt x="1133" y="32"/>
                </a:lnTo>
                <a:lnTo>
                  <a:pt x="1135" y="35"/>
                </a:lnTo>
                <a:lnTo>
                  <a:pt x="1136" y="39"/>
                </a:lnTo>
                <a:lnTo>
                  <a:pt x="1138" y="42"/>
                </a:lnTo>
                <a:lnTo>
                  <a:pt x="1138" y="46"/>
                </a:lnTo>
                <a:lnTo>
                  <a:pt x="1138" y="50"/>
                </a:lnTo>
                <a:lnTo>
                  <a:pt x="1138" y="52"/>
                </a:lnTo>
                <a:lnTo>
                  <a:pt x="1135" y="54"/>
                </a:lnTo>
                <a:lnTo>
                  <a:pt x="1132" y="56"/>
                </a:lnTo>
                <a:lnTo>
                  <a:pt x="1126" y="57"/>
                </a:lnTo>
                <a:lnTo>
                  <a:pt x="1121" y="58"/>
                </a:lnTo>
                <a:lnTo>
                  <a:pt x="1116" y="60"/>
                </a:lnTo>
                <a:lnTo>
                  <a:pt x="1111" y="61"/>
                </a:lnTo>
                <a:lnTo>
                  <a:pt x="1106" y="62"/>
                </a:lnTo>
                <a:lnTo>
                  <a:pt x="1100" y="63"/>
                </a:lnTo>
                <a:lnTo>
                  <a:pt x="1096" y="63"/>
                </a:lnTo>
                <a:lnTo>
                  <a:pt x="1090" y="62"/>
                </a:lnTo>
                <a:lnTo>
                  <a:pt x="1089" y="65"/>
                </a:lnTo>
                <a:lnTo>
                  <a:pt x="1088" y="68"/>
                </a:lnTo>
                <a:lnTo>
                  <a:pt x="1087" y="71"/>
                </a:lnTo>
                <a:lnTo>
                  <a:pt x="1086" y="74"/>
                </a:lnTo>
                <a:lnTo>
                  <a:pt x="1084" y="76"/>
                </a:lnTo>
                <a:lnTo>
                  <a:pt x="1081" y="79"/>
                </a:lnTo>
                <a:lnTo>
                  <a:pt x="1079" y="81"/>
                </a:lnTo>
                <a:lnTo>
                  <a:pt x="1077" y="82"/>
                </a:lnTo>
                <a:lnTo>
                  <a:pt x="1072" y="86"/>
                </a:lnTo>
                <a:lnTo>
                  <a:pt x="1068" y="89"/>
                </a:lnTo>
                <a:lnTo>
                  <a:pt x="1063" y="92"/>
                </a:lnTo>
                <a:lnTo>
                  <a:pt x="1058" y="95"/>
                </a:lnTo>
                <a:lnTo>
                  <a:pt x="1053" y="98"/>
                </a:lnTo>
                <a:lnTo>
                  <a:pt x="1048" y="101"/>
                </a:lnTo>
                <a:lnTo>
                  <a:pt x="1042" y="104"/>
                </a:lnTo>
                <a:lnTo>
                  <a:pt x="1037" y="106"/>
                </a:lnTo>
                <a:lnTo>
                  <a:pt x="1031" y="109"/>
                </a:lnTo>
                <a:lnTo>
                  <a:pt x="1025" y="111"/>
                </a:lnTo>
                <a:lnTo>
                  <a:pt x="1019" y="112"/>
                </a:lnTo>
                <a:lnTo>
                  <a:pt x="1014" y="114"/>
                </a:lnTo>
                <a:lnTo>
                  <a:pt x="1007" y="115"/>
                </a:lnTo>
                <a:lnTo>
                  <a:pt x="1001" y="115"/>
                </a:lnTo>
                <a:lnTo>
                  <a:pt x="995" y="115"/>
                </a:lnTo>
                <a:lnTo>
                  <a:pt x="988" y="115"/>
                </a:lnTo>
                <a:lnTo>
                  <a:pt x="988" y="121"/>
                </a:lnTo>
                <a:lnTo>
                  <a:pt x="988" y="126"/>
                </a:lnTo>
                <a:lnTo>
                  <a:pt x="986" y="131"/>
                </a:lnTo>
                <a:lnTo>
                  <a:pt x="983" y="135"/>
                </a:lnTo>
                <a:lnTo>
                  <a:pt x="979" y="139"/>
                </a:lnTo>
                <a:lnTo>
                  <a:pt x="974" y="143"/>
                </a:lnTo>
                <a:lnTo>
                  <a:pt x="970" y="145"/>
                </a:lnTo>
                <a:lnTo>
                  <a:pt x="963" y="149"/>
                </a:lnTo>
                <a:lnTo>
                  <a:pt x="958" y="151"/>
                </a:lnTo>
                <a:lnTo>
                  <a:pt x="951" y="153"/>
                </a:lnTo>
                <a:lnTo>
                  <a:pt x="944" y="155"/>
                </a:lnTo>
                <a:lnTo>
                  <a:pt x="936" y="156"/>
                </a:lnTo>
                <a:lnTo>
                  <a:pt x="929" y="158"/>
                </a:lnTo>
                <a:lnTo>
                  <a:pt x="923" y="159"/>
                </a:lnTo>
                <a:lnTo>
                  <a:pt x="916" y="160"/>
                </a:lnTo>
                <a:lnTo>
                  <a:pt x="909" y="161"/>
                </a:lnTo>
                <a:lnTo>
                  <a:pt x="906" y="162"/>
                </a:lnTo>
                <a:lnTo>
                  <a:pt x="902" y="165"/>
                </a:lnTo>
                <a:lnTo>
                  <a:pt x="902" y="168"/>
                </a:lnTo>
                <a:lnTo>
                  <a:pt x="901" y="171"/>
                </a:lnTo>
                <a:lnTo>
                  <a:pt x="900" y="174"/>
                </a:lnTo>
                <a:lnTo>
                  <a:pt x="899" y="177"/>
                </a:lnTo>
                <a:lnTo>
                  <a:pt x="897" y="180"/>
                </a:lnTo>
                <a:lnTo>
                  <a:pt x="893" y="181"/>
                </a:lnTo>
                <a:lnTo>
                  <a:pt x="887" y="183"/>
                </a:lnTo>
                <a:lnTo>
                  <a:pt x="879" y="185"/>
                </a:lnTo>
                <a:lnTo>
                  <a:pt x="872" y="186"/>
                </a:lnTo>
                <a:lnTo>
                  <a:pt x="864" y="187"/>
                </a:lnTo>
                <a:lnTo>
                  <a:pt x="857" y="189"/>
                </a:lnTo>
                <a:lnTo>
                  <a:pt x="850" y="190"/>
                </a:lnTo>
                <a:lnTo>
                  <a:pt x="843" y="192"/>
                </a:lnTo>
                <a:lnTo>
                  <a:pt x="835" y="194"/>
                </a:lnTo>
                <a:lnTo>
                  <a:pt x="828" y="196"/>
                </a:lnTo>
                <a:lnTo>
                  <a:pt x="820" y="199"/>
                </a:lnTo>
                <a:lnTo>
                  <a:pt x="815" y="202"/>
                </a:lnTo>
                <a:lnTo>
                  <a:pt x="808" y="205"/>
                </a:lnTo>
                <a:lnTo>
                  <a:pt x="802" y="209"/>
                </a:lnTo>
                <a:lnTo>
                  <a:pt x="798" y="214"/>
                </a:lnTo>
                <a:lnTo>
                  <a:pt x="793" y="218"/>
                </a:lnTo>
                <a:lnTo>
                  <a:pt x="790" y="224"/>
                </a:lnTo>
                <a:lnTo>
                  <a:pt x="789" y="225"/>
                </a:lnTo>
                <a:lnTo>
                  <a:pt x="788" y="226"/>
                </a:lnTo>
                <a:lnTo>
                  <a:pt x="786" y="227"/>
                </a:lnTo>
                <a:lnTo>
                  <a:pt x="783" y="228"/>
                </a:lnTo>
                <a:lnTo>
                  <a:pt x="781" y="228"/>
                </a:lnTo>
                <a:lnTo>
                  <a:pt x="778" y="229"/>
                </a:lnTo>
                <a:lnTo>
                  <a:pt x="775" y="230"/>
                </a:lnTo>
                <a:lnTo>
                  <a:pt x="773" y="231"/>
                </a:lnTo>
                <a:lnTo>
                  <a:pt x="766" y="231"/>
                </a:lnTo>
                <a:lnTo>
                  <a:pt x="760" y="231"/>
                </a:lnTo>
                <a:lnTo>
                  <a:pt x="754" y="230"/>
                </a:lnTo>
                <a:lnTo>
                  <a:pt x="748" y="229"/>
                </a:lnTo>
                <a:lnTo>
                  <a:pt x="742" y="229"/>
                </a:lnTo>
                <a:lnTo>
                  <a:pt x="736" y="229"/>
                </a:lnTo>
                <a:lnTo>
                  <a:pt x="730" y="229"/>
                </a:lnTo>
                <a:lnTo>
                  <a:pt x="724" y="231"/>
                </a:lnTo>
                <a:lnTo>
                  <a:pt x="718" y="234"/>
                </a:lnTo>
                <a:lnTo>
                  <a:pt x="714" y="237"/>
                </a:lnTo>
                <a:lnTo>
                  <a:pt x="709" y="240"/>
                </a:lnTo>
                <a:lnTo>
                  <a:pt x="705" y="243"/>
                </a:lnTo>
                <a:lnTo>
                  <a:pt x="701" y="246"/>
                </a:lnTo>
                <a:lnTo>
                  <a:pt x="698" y="248"/>
                </a:lnTo>
                <a:lnTo>
                  <a:pt x="694" y="249"/>
                </a:lnTo>
                <a:lnTo>
                  <a:pt x="690" y="250"/>
                </a:lnTo>
                <a:lnTo>
                  <a:pt x="681" y="250"/>
                </a:lnTo>
                <a:lnTo>
                  <a:pt x="672" y="252"/>
                </a:lnTo>
                <a:lnTo>
                  <a:pt x="664" y="254"/>
                </a:lnTo>
                <a:lnTo>
                  <a:pt x="657" y="256"/>
                </a:lnTo>
                <a:lnTo>
                  <a:pt x="648" y="258"/>
                </a:lnTo>
                <a:lnTo>
                  <a:pt x="640" y="260"/>
                </a:lnTo>
                <a:lnTo>
                  <a:pt x="631" y="261"/>
                </a:lnTo>
                <a:lnTo>
                  <a:pt x="621" y="261"/>
                </a:lnTo>
                <a:lnTo>
                  <a:pt x="616" y="260"/>
                </a:lnTo>
                <a:lnTo>
                  <a:pt x="610" y="257"/>
                </a:lnTo>
                <a:lnTo>
                  <a:pt x="603" y="255"/>
                </a:lnTo>
                <a:lnTo>
                  <a:pt x="599" y="252"/>
                </a:lnTo>
                <a:lnTo>
                  <a:pt x="592" y="250"/>
                </a:lnTo>
                <a:lnTo>
                  <a:pt x="586" y="249"/>
                </a:lnTo>
                <a:lnTo>
                  <a:pt x="580" y="249"/>
                </a:lnTo>
                <a:lnTo>
                  <a:pt x="573" y="250"/>
                </a:lnTo>
                <a:lnTo>
                  <a:pt x="571" y="251"/>
                </a:lnTo>
                <a:lnTo>
                  <a:pt x="567" y="252"/>
                </a:lnTo>
                <a:lnTo>
                  <a:pt x="565" y="254"/>
                </a:lnTo>
                <a:lnTo>
                  <a:pt x="563" y="254"/>
                </a:lnTo>
                <a:lnTo>
                  <a:pt x="561" y="256"/>
                </a:lnTo>
                <a:lnTo>
                  <a:pt x="560" y="256"/>
                </a:lnTo>
                <a:lnTo>
                  <a:pt x="558" y="257"/>
                </a:lnTo>
                <a:lnTo>
                  <a:pt x="557" y="257"/>
                </a:lnTo>
                <a:lnTo>
                  <a:pt x="552" y="258"/>
                </a:lnTo>
                <a:lnTo>
                  <a:pt x="546" y="258"/>
                </a:lnTo>
                <a:lnTo>
                  <a:pt x="539" y="258"/>
                </a:lnTo>
                <a:lnTo>
                  <a:pt x="534" y="258"/>
                </a:lnTo>
                <a:lnTo>
                  <a:pt x="528" y="257"/>
                </a:lnTo>
                <a:lnTo>
                  <a:pt x="521" y="256"/>
                </a:lnTo>
                <a:lnTo>
                  <a:pt x="516" y="256"/>
                </a:lnTo>
                <a:lnTo>
                  <a:pt x="510" y="255"/>
                </a:lnTo>
                <a:lnTo>
                  <a:pt x="488" y="246"/>
                </a:lnTo>
              </a:path>
            </a:pathLst>
          </a:custGeom>
          <a:solidFill>
            <a:srgbClr val="FF7979"/>
          </a:solidFill>
          <a:ln w="9525" cap="rnd">
            <a:solidFill>
              <a:srgbClr val="000099"/>
            </a:solidFill>
            <a:round/>
            <a:headEnd/>
            <a:tailEnd/>
          </a:ln>
        </p:spPr>
        <p:txBody>
          <a:bodyPr/>
          <a:lstStyle/>
          <a:p>
            <a:endParaRPr lang="cs-CZ" sz="1800" b="0">
              <a:solidFill>
                <a:srgbClr val="000000"/>
              </a:solidFill>
              <a:latin typeface="Arial" panose="020B0604020202020204" pitchFamily="34" charset="0"/>
            </a:endParaRPr>
          </a:p>
        </p:txBody>
      </p:sp>
      <p:graphicFrame>
        <p:nvGraphicFramePr>
          <p:cNvPr id="43019" name="Object 11"/>
          <p:cNvGraphicFramePr>
            <a:graphicFrameLocks/>
          </p:cNvGraphicFramePr>
          <p:nvPr/>
        </p:nvGraphicFramePr>
        <p:xfrm>
          <a:off x="2696770" y="5126044"/>
          <a:ext cx="1297781" cy="642937"/>
        </p:xfrm>
        <a:graphic>
          <a:graphicData uri="http://schemas.openxmlformats.org/presentationml/2006/ole">
            <mc:AlternateContent xmlns:mc="http://schemas.openxmlformats.org/markup-compatibility/2006">
              <mc:Choice xmlns:v="urn:schemas-microsoft-com:vml" Requires="v">
                <p:oleObj spid="_x0000_s8209" name="CorelDRAW" r:id="rId4" imgW="2460625" imgH="703263" progId="">
                  <p:embed/>
                </p:oleObj>
              </mc:Choice>
              <mc:Fallback>
                <p:oleObj name="CorelDRAW" r:id="rId4" imgW="2460625" imgH="703263"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6770" y="5126044"/>
                        <a:ext cx="1297781" cy="642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43020" name="Group 32"/>
          <p:cNvGrpSpPr>
            <a:grpSpLocks/>
          </p:cNvGrpSpPr>
          <p:nvPr/>
        </p:nvGrpSpPr>
        <p:grpSpPr bwMode="auto">
          <a:xfrm>
            <a:off x="2000251" y="5214942"/>
            <a:ext cx="644129" cy="779463"/>
            <a:chOff x="4368" y="3360"/>
            <a:chExt cx="668" cy="675"/>
          </a:xfrm>
        </p:grpSpPr>
        <p:grpSp>
          <p:nvGrpSpPr>
            <p:cNvPr id="43074" name="Group 33"/>
            <p:cNvGrpSpPr>
              <a:grpSpLocks/>
            </p:cNvGrpSpPr>
            <p:nvPr/>
          </p:nvGrpSpPr>
          <p:grpSpPr bwMode="auto">
            <a:xfrm>
              <a:off x="4512" y="3360"/>
              <a:ext cx="423" cy="675"/>
              <a:chOff x="4512" y="3360"/>
              <a:chExt cx="423" cy="675"/>
            </a:xfrm>
          </p:grpSpPr>
          <p:sp>
            <p:nvSpPr>
              <p:cNvPr id="43094" name="Oval 34"/>
              <p:cNvSpPr>
                <a:spLocks noChangeArrowheads="1"/>
              </p:cNvSpPr>
              <p:nvPr/>
            </p:nvSpPr>
            <p:spPr bwMode="auto">
              <a:xfrm>
                <a:off x="4608" y="3360"/>
                <a:ext cx="162"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eaLnBrk="1" hangingPunct="1">
                  <a:spcBef>
                    <a:spcPct val="0"/>
                  </a:spcBef>
                  <a:buClrTx/>
                  <a:buFontTx/>
                  <a:buNone/>
                </a:pPr>
                <a:endParaRPr lang="en-US" altLang="cs-CZ" sz="1800" b="0">
                  <a:solidFill>
                    <a:srgbClr val="001965"/>
                  </a:solidFill>
                  <a:cs typeface="Arial" pitchFamily="34" charset="0"/>
                </a:endParaRPr>
              </a:p>
            </p:txBody>
          </p:sp>
          <p:sp>
            <p:nvSpPr>
              <p:cNvPr id="43095" name="Oval 35"/>
              <p:cNvSpPr>
                <a:spLocks noChangeArrowheads="1"/>
              </p:cNvSpPr>
              <p:nvPr/>
            </p:nvSpPr>
            <p:spPr bwMode="auto">
              <a:xfrm>
                <a:off x="4560" y="3891"/>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96" name="Oval 36"/>
              <p:cNvSpPr>
                <a:spLocks noChangeArrowheads="1"/>
              </p:cNvSpPr>
              <p:nvPr/>
            </p:nvSpPr>
            <p:spPr bwMode="auto">
              <a:xfrm>
                <a:off x="4512" y="3795"/>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97" name="Oval 37"/>
              <p:cNvSpPr>
                <a:spLocks noChangeArrowheads="1"/>
              </p:cNvSpPr>
              <p:nvPr/>
            </p:nvSpPr>
            <p:spPr bwMode="auto">
              <a:xfrm>
                <a:off x="4630" y="3529"/>
                <a:ext cx="162"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98" name="Oval 38"/>
              <p:cNvSpPr>
                <a:spLocks noChangeArrowheads="1"/>
              </p:cNvSpPr>
              <p:nvPr/>
            </p:nvSpPr>
            <p:spPr bwMode="auto">
              <a:xfrm>
                <a:off x="4772" y="3769"/>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99" name="Oval 39"/>
              <p:cNvSpPr>
                <a:spLocks noChangeArrowheads="1"/>
              </p:cNvSpPr>
              <p:nvPr/>
            </p:nvSpPr>
            <p:spPr bwMode="auto">
              <a:xfrm>
                <a:off x="4608" y="3700"/>
                <a:ext cx="162"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100" name="Oval 40"/>
              <p:cNvSpPr>
                <a:spLocks noChangeArrowheads="1"/>
              </p:cNvSpPr>
              <p:nvPr/>
            </p:nvSpPr>
            <p:spPr bwMode="auto">
              <a:xfrm>
                <a:off x="4752" y="3531"/>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grpSp>
        <p:grpSp>
          <p:nvGrpSpPr>
            <p:cNvPr id="43075" name="Group 41"/>
            <p:cNvGrpSpPr>
              <a:grpSpLocks/>
            </p:cNvGrpSpPr>
            <p:nvPr/>
          </p:nvGrpSpPr>
          <p:grpSpPr bwMode="auto">
            <a:xfrm>
              <a:off x="4368" y="3375"/>
              <a:ext cx="668" cy="641"/>
              <a:chOff x="4368" y="3375"/>
              <a:chExt cx="668" cy="641"/>
            </a:xfrm>
          </p:grpSpPr>
          <p:sp>
            <p:nvSpPr>
              <p:cNvPr id="43076" name="Oval 42"/>
              <p:cNvSpPr>
                <a:spLocks noChangeArrowheads="1"/>
              </p:cNvSpPr>
              <p:nvPr/>
            </p:nvSpPr>
            <p:spPr bwMode="auto">
              <a:xfrm>
                <a:off x="4459" y="3751"/>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grpSp>
            <p:nvGrpSpPr>
              <p:cNvPr id="43077" name="Group 43"/>
              <p:cNvGrpSpPr>
                <a:grpSpLocks/>
              </p:cNvGrpSpPr>
              <p:nvPr/>
            </p:nvGrpSpPr>
            <p:grpSpPr bwMode="auto">
              <a:xfrm>
                <a:off x="4368" y="3375"/>
                <a:ext cx="668" cy="641"/>
                <a:chOff x="4368" y="3375"/>
                <a:chExt cx="668" cy="641"/>
              </a:xfrm>
            </p:grpSpPr>
            <p:sp>
              <p:nvSpPr>
                <p:cNvPr id="43078" name="Oval 44"/>
                <p:cNvSpPr>
                  <a:spLocks noChangeArrowheads="1"/>
                </p:cNvSpPr>
                <p:nvPr/>
              </p:nvSpPr>
              <p:spPr bwMode="auto">
                <a:xfrm>
                  <a:off x="4424" y="3664"/>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grpSp>
              <p:nvGrpSpPr>
                <p:cNvPr id="43079" name="Group 45"/>
                <p:cNvGrpSpPr>
                  <a:grpSpLocks/>
                </p:cNvGrpSpPr>
                <p:nvPr/>
              </p:nvGrpSpPr>
              <p:grpSpPr bwMode="auto">
                <a:xfrm>
                  <a:off x="4368" y="3375"/>
                  <a:ext cx="668" cy="641"/>
                  <a:chOff x="4368" y="3375"/>
                  <a:chExt cx="668" cy="641"/>
                </a:xfrm>
              </p:grpSpPr>
              <p:sp>
                <p:nvSpPr>
                  <p:cNvPr id="43080" name="Oval 46"/>
                  <p:cNvSpPr>
                    <a:spLocks noChangeArrowheads="1"/>
                  </p:cNvSpPr>
                  <p:nvPr/>
                </p:nvSpPr>
                <p:spPr bwMode="auto">
                  <a:xfrm>
                    <a:off x="4476" y="3872"/>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81" name="Oval 47"/>
                  <p:cNvSpPr>
                    <a:spLocks noChangeArrowheads="1"/>
                  </p:cNvSpPr>
                  <p:nvPr/>
                </p:nvSpPr>
                <p:spPr bwMode="auto">
                  <a:xfrm>
                    <a:off x="4663" y="3847"/>
                    <a:ext cx="162"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82" name="Oval 48"/>
                  <p:cNvSpPr>
                    <a:spLocks noChangeArrowheads="1"/>
                  </p:cNvSpPr>
                  <p:nvPr/>
                </p:nvSpPr>
                <p:spPr bwMode="auto">
                  <a:xfrm>
                    <a:off x="4656" y="3744"/>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83" name="Oval 49"/>
                  <p:cNvSpPr>
                    <a:spLocks noChangeArrowheads="1"/>
                  </p:cNvSpPr>
                  <p:nvPr/>
                </p:nvSpPr>
                <p:spPr bwMode="auto">
                  <a:xfrm>
                    <a:off x="4499" y="3375"/>
                    <a:ext cx="164"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84" name="Oval 50"/>
                  <p:cNvSpPr>
                    <a:spLocks noChangeArrowheads="1"/>
                  </p:cNvSpPr>
                  <p:nvPr/>
                </p:nvSpPr>
                <p:spPr bwMode="auto">
                  <a:xfrm>
                    <a:off x="4368" y="3583"/>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85" name="Oval 51"/>
                  <p:cNvSpPr>
                    <a:spLocks noChangeArrowheads="1"/>
                  </p:cNvSpPr>
                  <p:nvPr/>
                </p:nvSpPr>
                <p:spPr bwMode="auto">
                  <a:xfrm>
                    <a:off x="4785" y="3703"/>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86" name="Oval 52"/>
                  <p:cNvSpPr>
                    <a:spLocks noChangeArrowheads="1"/>
                  </p:cNvSpPr>
                  <p:nvPr/>
                </p:nvSpPr>
                <p:spPr bwMode="auto">
                  <a:xfrm>
                    <a:off x="4744" y="3456"/>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87" name="Oval 53"/>
                  <p:cNvSpPr>
                    <a:spLocks noChangeArrowheads="1"/>
                  </p:cNvSpPr>
                  <p:nvPr/>
                </p:nvSpPr>
                <p:spPr bwMode="auto">
                  <a:xfrm>
                    <a:off x="4445" y="3504"/>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88" name="Oval 54"/>
                  <p:cNvSpPr>
                    <a:spLocks noChangeArrowheads="1"/>
                  </p:cNvSpPr>
                  <p:nvPr/>
                </p:nvSpPr>
                <p:spPr bwMode="auto">
                  <a:xfrm>
                    <a:off x="4499" y="3648"/>
                    <a:ext cx="164"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89" name="Oval 55"/>
                  <p:cNvSpPr>
                    <a:spLocks noChangeArrowheads="1"/>
                  </p:cNvSpPr>
                  <p:nvPr/>
                </p:nvSpPr>
                <p:spPr bwMode="auto">
                  <a:xfrm>
                    <a:off x="4513" y="3505"/>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90" name="Oval 56"/>
                  <p:cNvSpPr>
                    <a:spLocks noChangeArrowheads="1"/>
                  </p:cNvSpPr>
                  <p:nvPr/>
                </p:nvSpPr>
                <p:spPr bwMode="auto">
                  <a:xfrm>
                    <a:off x="4713" y="3599"/>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91" name="Oval 57"/>
                  <p:cNvSpPr>
                    <a:spLocks noChangeArrowheads="1"/>
                  </p:cNvSpPr>
                  <p:nvPr/>
                </p:nvSpPr>
                <p:spPr bwMode="auto">
                  <a:xfrm>
                    <a:off x="4640" y="3431"/>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92" name="Oval 58"/>
                  <p:cNvSpPr>
                    <a:spLocks noChangeArrowheads="1"/>
                  </p:cNvSpPr>
                  <p:nvPr/>
                </p:nvSpPr>
                <p:spPr bwMode="auto">
                  <a:xfrm>
                    <a:off x="4590" y="3583"/>
                    <a:ext cx="162"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sp>
                <p:nvSpPr>
                  <p:cNvPr id="43093" name="Oval 59"/>
                  <p:cNvSpPr>
                    <a:spLocks noChangeArrowheads="1"/>
                  </p:cNvSpPr>
                  <p:nvPr/>
                </p:nvSpPr>
                <p:spPr bwMode="auto">
                  <a:xfrm>
                    <a:off x="4873" y="3609"/>
                    <a:ext cx="163" cy="144"/>
                  </a:xfrm>
                  <a:prstGeom prst="ellipse">
                    <a:avLst/>
                  </a:prstGeom>
                  <a:solidFill>
                    <a:srgbClr val="FFFF00"/>
                  </a:solidFill>
                  <a:ln w="12700">
                    <a:solidFill>
                      <a:srgbClr val="000000"/>
                    </a:solidFill>
                    <a:round/>
                    <a:headEnd/>
                    <a:tailEnd/>
                  </a:ln>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0"/>
                      </a:spcBef>
                      <a:buClrTx/>
                      <a:buFontTx/>
                      <a:buNone/>
                    </a:pPr>
                    <a:endParaRPr lang="ja-JP" altLang="en-US" sz="2000" b="0">
                      <a:solidFill>
                        <a:srgbClr val="ECCCDA"/>
                      </a:solidFill>
                      <a:latin typeface="News Gothic MT" pitchFamily="34" charset="0"/>
                      <a:cs typeface="Arial" pitchFamily="34" charset="0"/>
                    </a:endParaRPr>
                  </a:p>
                </p:txBody>
              </p:sp>
            </p:grpSp>
          </p:grpSp>
        </p:grpSp>
      </p:grpSp>
      <p:sp>
        <p:nvSpPr>
          <p:cNvPr id="43021" name="Line 60"/>
          <p:cNvSpPr>
            <a:spLocks noChangeShapeType="1"/>
          </p:cNvSpPr>
          <p:nvPr/>
        </p:nvSpPr>
        <p:spPr bwMode="auto">
          <a:xfrm flipV="1">
            <a:off x="5291138" y="2501904"/>
            <a:ext cx="544116" cy="390525"/>
          </a:xfrm>
          <a:prstGeom prst="line">
            <a:avLst/>
          </a:prstGeom>
          <a:noFill/>
          <a:ln w="38100">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22" name="Line 61"/>
          <p:cNvSpPr>
            <a:spLocks noChangeShapeType="1"/>
          </p:cNvSpPr>
          <p:nvPr/>
        </p:nvSpPr>
        <p:spPr bwMode="auto">
          <a:xfrm flipV="1">
            <a:off x="4477945" y="2400300"/>
            <a:ext cx="10715" cy="33020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23" name="Line 62"/>
          <p:cNvSpPr>
            <a:spLocks noChangeShapeType="1"/>
          </p:cNvSpPr>
          <p:nvPr/>
        </p:nvSpPr>
        <p:spPr bwMode="auto">
          <a:xfrm flipH="1" flipV="1">
            <a:off x="3400426" y="2700344"/>
            <a:ext cx="425054" cy="465137"/>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24" name="Line 63"/>
          <p:cNvSpPr>
            <a:spLocks noChangeShapeType="1"/>
          </p:cNvSpPr>
          <p:nvPr/>
        </p:nvSpPr>
        <p:spPr bwMode="auto">
          <a:xfrm>
            <a:off x="5238754" y="4135439"/>
            <a:ext cx="584597" cy="379412"/>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25" name="Text Box 64"/>
          <p:cNvSpPr txBox="1">
            <a:spLocks noChangeArrowheads="1"/>
          </p:cNvSpPr>
          <p:nvPr/>
        </p:nvSpPr>
        <p:spPr bwMode="auto">
          <a:xfrm>
            <a:off x="1331119" y="5037142"/>
            <a:ext cx="86796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a:solidFill>
                  <a:srgbClr val="001965"/>
                </a:solidFill>
                <a:cs typeface="Arial" pitchFamily="34" charset="0"/>
              </a:rPr>
              <a:t>Adipose tissue</a:t>
            </a:r>
            <a:endParaRPr lang="en-US" altLang="cs-CZ" sz="1200">
              <a:solidFill>
                <a:srgbClr val="001965"/>
              </a:solidFill>
              <a:cs typeface="Arial" pitchFamily="34" charset="0"/>
            </a:endParaRPr>
          </a:p>
        </p:txBody>
      </p:sp>
      <p:sp>
        <p:nvSpPr>
          <p:cNvPr id="43026" name="Text Box 65"/>
          <p:cNvSpPr txBox="1">
            <a:spLocks noChangeArrowheads="1"/>
          </p:cNvSpPr>
          <p:nvPr/>
        </p:nvSpPr>
        <p:spPr bwMode="auto">
          <a:xfrm>
            <a:off x="3041450" y="1377955"/>
            <a:ext cx="113288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dirty="0">
                <a:solidFill>
                  <a:srgbClr val="001965"/>
                </a:solidFill>
                <a:cs typeface="Arial" pitchFamily="34" charset="0"/>
              </a:rPr>
              <a:t>Brain</a:t>
            </a:r>
            <a:endParaRPr lang="en-US" altLang="cs-CZ" sz="1200" dirty="0">
              <a:solidFill>
                <a:srgbClr val="001965"/>
              </a:solidFill>
              <a:cs typeface="Arial" pitchFamily="34" charset="0"/>
            </a:endParaRPr>
          </a:p>
        </p:txBody>
      </p:sp>
      <p:sp>
        <p:nvSpPr>
          <p:cNvPr id="43027" name="Text Box 66"/>
          <p:cNvSpPr txBox="1">
            <a:spLocks noChangeArrowheads="1"/>
          </p:cNvSpPr>
          <p:nvPr/>
        </p:nvSpPr>
        <p:spPr bwMode="auto">
          <a:xfrm>
            <a:off x="1554960" y="3698879"/>
            <a:ext cx="6322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a:solidFill>
                  <a:srgbClr val="001965"/>
                </a:solidFill>
                <a:cs typeface="Arial" pitchFamily="34" charset="0"/>
              </a:rPr>
              <a:t>Liver</a:t>
            </a:r>
            <a:endParaRPr lang="en-US" altLang="cs-CZ" sz="1200">
              <a:solidFill>
                <a:srgbClr val="001965"/>
              </a:solidFill>
              <a:cs typeface="Arial" pitchFamily="34" charset="0"/>
            </a:endParaRPr>
          </a:p>
        </p:txBody>
      </p:sp>
      <p:sp>
        <p:nvSpPr>
          <p:cNvPr id="43028" name="Text Box 67"/>
          <p:cNvSpPr txBox="1">
            <a:spLocks noChangeArrowheads="1"/>
          </p:cNvSpPr>
          <p:nvPr/>
        </p:nvSpPr>
        <p:spPr bwMode="auto">
          <a:xfrm>
            <a:off x="5943600" y="3921130"/>
            <a:ext cx="9906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a:solidFill>
                  <a:srgbClr val="001965"/>
                </a:solidFill>
                <a:cs typeface="Arial" pitchFamily="34" charset="0"/>
              </a:rPr>
              <a:t>Pancreas</a:t>
            </a:r>
            <a:endParaRPr lang="en-US" altLang="cs-CZ" sz="1200">
              <a:solidFill>
                <a:srgbClr val="001965"/>
              </a:solidFill>
              <a:cs typeface="Arial" pitchFamily="34" charset="0"/>
            </a:endParaRPr>
          </a:p>
        </p:txBody>
      </p:sp>
      <p:sp>
        <p:nvSpPr>
          <p:cNvPr id="43029" name="Text Box 68"/>
          <p:cNvSpPr txBox="1">
            <a:spLocks noChangeArrowheads="1"/>
          </p:cNvSpPr>
          <p:nvPr/>
        </p:nvSpPr>
        <p:spPr bwMode="auto">
          <a:xfrm>
            <a:off x="2480936" y="4762505"/>
            <a:ext cx="9004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dirty="0" err="1">
                <a:solidFill>
                  <a:srgbClr val="001965"/>
                </a:solidFill>
                <a:cs typeface="Arial" pitchFamily="34" charset="0"/>
              </a:rPr>
              <a:t>Muscle</a:t>
            </a:r>
            <a:endParaRPr lang="en-US" altLang="cs-CZ" sz="1200" dirty="0">
              <a:solidFill>
                <a:srgbClr val="001965"/>
              </a:solidFill>
              <a:cs typeface="Arial" pitchFamily="34" charset="0"/>
            </a:endParaRPr>
          </a:p>
        </p:txBody>
      </p:sp>
      <p:sp>
        <p:nvSpPr>
          <p:cNvPr id="43030" name="Text Box 69"/>
          <p:cNvSpPr txBox="1">
            <a:spLocks noChangeArrowheads="1"/>
          </p:cNvSpPr>
          <p:nvPr/>
        </p:nvSpPr>
        <p:spPr bwMode="auto">
          <a:xfrm>
            <a:off x="6438901" y="1512611"/>
            <a:ext cx="14088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dirty="0" err="1">
                <a:solidFill>
                  <a:srgbClr val="001965"/>
                </a:solidFill>
                <a:cs typeface="Arial" pitchFamily="34" charset="0"/>
              </a:rPr>
              <a:t>Stomach</a:t>
            </a:r>
            <a:endParaRPr lang="en-US" altLang="cs-CZ" sz="1200" dirty="0">
              <a:solidFill>
                <a:srgbClr val="001965"/>
              </a:solidFill>
              <a:cs typeface="Arial" pitchFamily="34" charset="0"/>
            </a:endParaRPr>
          </a:p>
        </p:txBody>
      </p:sp>
      <p:sp>
        <p:nvSpPr>
          <p:cNvPr id="43031" name="Text Box 70"/>
          <p:cNvSpPr txBox="1">
            <a:spLocks noChangeArrowheads="1"/>
          </p:cNvSpPr>
          <p:nvPr/>
        </p:nvSpPr>
        <p:spPr bwMode="auto">
          <a:xfrm>
            <a:off x="2556272" y="5843593"/>
            <a:ext cx="115133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a:solidFill>
                  <a:srgbClr val="001965"/>
                </a:solidFill>
                <a:cs typeface="Arial" pitchFamily="34" charset="0"/>
                <a:sym typeface="Symbol" pitchFamily="18" charset="2"/>
              </a:rPr>
              <a:t> Glucose uptake</a:t>
            </a:r>
            <a:endParaRPr lang="en-US" altLang="cs-CZ" sz="1200">
              <a:solidFill>
                <a:srgbClr val="001965"/>
              </a:solidFill>
              <a:cs typeface="Arial" pitchFamily="34" charset="0"/>
            </a:endParaRPr>
          </a:p>
        </p:txBody>
      </p:sp>
      <p:sp>
        <p:nvSpPr>
          <p:cNvPr id="43032" name="Text Box 71"/>
          <p:cNvSpPr txBox="1">
            <a:spLocks noChangeArrowheads="1"/>
          </p:cNvSpPr>
          <p:nvPr/>
        </p:nvSpPr>
        <p:spPr bwMode="auto">
          <a:xfrm>
            <a:off x="4267200" y="4643442"/>
            <a:ext cx="129599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dirty="0">
                <a:solidFill>
                  <a:srgbClr val="000099"/>
                </a:solidFill>
                <a:cs typeface="Arial" pitchFamily="34" charset="0"/>
              </a:rPr>
              <a:t>Insulin sensitivity</a:t>
            </a:r>
            <a:endParaRPr lang="en-US" altLang="cs-CZ" sz="1200" dirty="0">
              <a:solidFill>
                <a:srgbClr val="000099"/>
              </a:solidFill>
              <a:cs typeface="Arial" pitchFamily="34" charset="0"/>
            </a:endParaRPr>
          </a:p>
        </p:txBody>
      </p:sp>
      <p:sp>
        <p:nvSpPr>
          <p:cNvPr id="43033" name="Line 72"/>
          <p:cNvSpPr>
            <a:spLocks noChangeShapeType="1"/>
          </p:cNvSpPr>
          <p:nvPr/>
        </p:nvSpPr>
        <p:spPr bwMode="auto">
          <a:xfrm flipV="1">
            <a:off x="4246963" y="4716468"/>
            <a:ext cx="1190" cy="320675"/>
          </a:xfrm>
          <a:prstGeom prst="line">
            <a:avLst/>
          </a:prstGeom>
          <a:noFill/>
          <a:ln w="9525">
            <a:solidFill>
              <a:srgbClr val="000099"/>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34" name="Text Box 73"/>
          <p:cNvSpPr txBox="1">
            <a:spLocks noChangeArrowheads="1"/>
          </p:cNvSpPr>
          <p:nvPr/>
        </p:nvSpPr>
        <p:spPr bwMode="auto">
          <a:xfrm>
            <a:off x="5943601" y="4892681"/>
            <a:ext cx="2090738"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a:solidFill>
                  <a:srgbClr val="001965"/>
                </a:solidFill>
                <a:cs typeface="Arial" pitchFamily="34" charset="0"/>
                <a:sym typeface="Symbol" pitchFamily="18" charset="2"/>
              </a:rPr>
              <a:t> Insulin secretion</a:t>
            </a:r>
            <a:endParaRPr lang="en-US" altLang="cs-CZ" sz="1200">
              <a:solidFill>
                <a:srgbClr val="001965"/>
              </a:solidFill>
              <a:cs typeface="Arial" pitchFamily="34" charset="0"/>
            </a:endParaRPr>
          </a:p>
          <a:p>
            <a:pPr>
              <a:spcBef>
                <a:spcPct val="50000"/>
              </a:spcBef>
              <a:buClrTx/>
              <a:buFontTx/>
              <a:buNone/>
            </a:pPr>
            <a:r>
              <a:rPr lang="cs-CZ" altLang="cs-CZ" sz="1200">
                <a:solidFill>
                  <a:srgbClr val="001965"/>
                </a:solidFill>
                <a:cs typeface="Arial" pitchFamily="34" charset="0"/>
                <a:sym typeface="Symbol" pitchFamily="18" charset="2"/>
              </a:rPr>
              <a:t></a:t>
            </a:r>
            <a:r>
              <a:rPr lang="cs-CZ" altLang="cs-CZ" sz="1200" b="0">
                <a:solidFill>
                  <a:srgbClr val="001965"/>
                </a:solidFill>
                <a:cs typeface="Arial" pitchFamily="34" charset="0"/>
                <a:sym typeface="Symbol" pitchFamily="18" charset="2"/>
              </a:rPr>
              <a:t> </a:t>
            </a:r>
            <a:r>
              <a:rPr lang="cs-CZ" altLang="cs-CZ" sz="1200">
                <a:solidFill>
                  <a:srgbClr val="001965"/>
                </a:solidFill>
                <a:cs typeface="Arial" pitchFamily="34" charset="0"/>
                <a:sym typeface="Symbol" pitchFamily="18" charset="2"/>
              </a:rPr>
              <a:t>Glucagon secretion</a:t>
            </a:r>
            <a:endParaRPr lang="en-US" altLang="cs-CZ" sz="1200">
              <a:solidFill>
                <a:srgbClr val="001965"/>
              </a:solidFill>
              <a:cs typeface="Arial" pitchFamily="34" charset="0"/>
            </a:endParaRPr>
          </a:p>
          <a:p>
            <a:pPr>
              <a:spcBef>
                <a:spcPct val="50000"/>
              </a:spcBef>
              <a:buClrTx/>
              <a:buFontTx/>
              <a:buNone/>
            </a:pPr>
            <a:r>
              <a:rPr lang="cs-CZ" altLang="cs-CZ" sz="1200">
                <a:solidFill>
                  <a:srgbClr val="001965"/>
                </a:solidFill>
                <a:cs typeface="Arial" pitchFamily="34" charset="0"/>
                <a:sym typeface="Symbol" pitchFamily="18" charset="2"/>
              </a:rPr>
              <a:t> Insulin biosynthesis</a:t>
            </a:r>
            <a:endParaRPr lang="en-US" altLang="cs-CZ" sz="1200">
              <a:solidFill>
                <a:srgbClr val="001965"/>
              </a:solidFill>
              <a:cs typeface="Arial" pitchFamily="34" charset="0"/>
            </a:endParaRPr>
          </a:p>
          <a:p>
            <a:pPr>
              <a:spcBef>
                <a:spcPct val="50000"/>
              </a:spcBef>
              <a:buClrTx/>
              <a:buFontTx/>
              <a:buNone/>
            </a:pPr>
            <a:r>
              <a:rPr lang="cs-CZ" altLang="cs-CZ" sz="1200">
                <a:solidFill>
                  <a:srgbClr val="001965"/>
                </a:solidFill>
                <a:cs typeface="Arial" pitchFamily="34" charset="0"/>
                <a:sym typeface="Symbol" pitchFamily="18" charset="2"/>
              </a:rPr>
              <a:t> </a:t>
            </a:r>
            <a:r>
              <a:rPr lang="el-GR" altLang="cs-CZ" sz="1200">
                <a:solidFill>
                  <a:srgbClr val="001965"/>
                </a:solidFill>
                <a:cs typeface="Arial" pitchFamily="34" charset="0"/>
              </a:rPr>
              <a:t>β</a:t>
            </a:r>
            <a:r>
              <a:rPr lang="cs-CZ" altLang="cs-CZ" sz="1200">
                <a:solidFill>
                  <a:srgbClr val="001965"/>
                </a:solidFill>
                <a:cs typeface="Arial" pitchFamily="34" charset="0"/>
              </a:rPr>
              <a:t>-cell proliferation</a:t>
            </a:r>
            <a:endParaRPr lang="en-US" altLang="cs-CZ" sz="1200">
              <a:solidFill>
                <a:srgbClr val="001965"/>
              </a:solidFill>
              <a:cs typeface="Arial" pitchFamily="34" charset="0"/>
            </a:endParaRPr>
          </a:p>
          <a:p>
            <a:pPr>
              <a:spcBef>
                <a:spcPct val="50000"/>
              </a:spcBef>
              <a:buClrTx/>
              <a:buFontTx/>
              <a:buNone/>
            </a:pPr>
            <a:r>
              <a:rPr lang="cs-CZ" altLang="cs-CZ" sz="1200">
                <a:solidFill>
                  <a:srgbClr val="001965"/>
                </a:solidFill>
                <a:cs typeface="Arial" pitchFamily="34" charset="0"/>
                <a:sym typeface="Symbol" pitchFamily="18" charset="2"/>
              </a:rPr>
              <a:t></a:t>
            </a:r>
            <a:r>
              <a:rPr lang="cs-CZ" altLang="cs-CZ" sz="1200" b="0">
                <a:solidFill>
                  <a:srgbClr val="001965"/>
                </a:solidFill>
                <a:cs typeface="Arial" pitchFamily="34" charset="0"/>
                <a:sym typeface="Symbol" pitchFamily="18" charset="2"/>
              </a:rPr>
              <a:t> </a:t>
            </a:r>
            <a:r>
              <a:rPr lang="el-GR" altLang="cs-CZ" sz="1200">
                <a:solidFill>
                  <a:srgbClr val="001965"/>
                </a:solidFill>
                <a:cs typeface="Arial" pitchFamily="34" charset="0"/>
              </a:rPr>
              <a:t>β</a:t>
            </a:r>
            <a:r>
              <a:rPr lang="cs-CZ" altLang="cs-CZ" sz="1200">
                <a:solidFill>
                  <a:srgbClr val="001965"/>
                </a:solidFill>
                <a:cs typeface="Arial" pitchFamily="34" charset="0"/>
              </a:rPr>
              <a:t>-cell apoptosis</a:t>
            </a:r>
            <a:endParaRPr lang="en-US" altLang="cs-CZ" sz="1200">
              <a:solidFill>
                <a:srgbClr val="001965"/>
              </a:solidFill>
              <a:cs typeface="Arial" pitchFamily="34" charset="0"/>
            </a:endParaRPr>
          </a:p>
          <a:p>
            <a:pPr>
              <a:spcBef>
                <a:spcPct val="50000"/>
              </a:spcBef>
              <a:buClrTx/>
              <a:buFontTx/>
              <a:buNone/>
            </a:pPr>
            <a:endParaRPr lang="en-US" altLang="cs-CZ" sz="1200">
              <a:solidFill>
                <a:srgbClr val="001965"/>
              </a:solidFill>
              <a:cs typeface="Arial" pitchFamily="34" charset="0"/>
            </a:endParaRPr>
          </a:p>
        </p:txBody>
      </p:sp>
      <p:sp>
        <p:nvSpPr>
          <p:cNvPr id="43035" name="Line 74"/>
          <p:cNvSpPr>
            <a:spLocks noChangeShapeType="1"/>
          </p:cNvSpPr>
          <p:nvPr/>
        </p:nvSpPr>
        <p:spPr bwMode="auto">
          <a:xfrm flipV="1">
            <a:off x="5664995" y="5184779"/>
            <a:ext cx="1191" cy="5873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wrap="none"/>
          <a:lstStyle/>
          <a:p>
            <a:endParaRPr lang="cs-CZ" sz="1800" b="0">
              <a:solidFill>
                <a:srgbClr val="000000"/>
              </a:solidFill>
              <a:latin typeface="Arial" panose="020B0604020202020204" pitchFamily="34" charset="0"/>
            </a:endParaRPr>
          </a:p>
        </p:txBody>
      </p:sp>
      <p:sp>
        <p:nvSpPr>
          <p:cNvPr id="43036" name="Line 75"/>
          <p:cNvSpPr>
            <a:spLocks noChangeShapeType="1"/>
          </p:cNvSpPr>
          <p:nvPr/>
        </p:nvSpPr>
        <p:spPr bwMode="auto">
          <a:xfrm flipV="1">
            <a:off x="5619751" y="5113342"/>
            <a:ext cx="1191" cy="144463"/>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37" name="Line 76"/>
          <p:cNvSpPr>
            <a:spLocks noChangeShapeType="1"/>
          </p:cNvSpPr>
          <p:nvPr/>
        </p:nvSpPr>
        <p:spPr bwMode="auto">
          <a:xfrm flipV="1">
            <a:off x="5631656" y="5665793"/>
            <a:ext cx="1191" cy="144463"/>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38" name="Line 77"/>
          <p:cNvSpPr>
            <a:spLocks noChangeShapeType="1"/>
          </p:cNvSpPr>
          <p:nvPr/>
        </p:nvSpPr>
        <p:spPr bwMode="auto">
          <a:xfrm flipV="1">
            <a:off x="5642376" y="5954718"/>
            <a:ext cx="1190" cy="144463"/>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39" name="Line 78"/>
          <p:cNvSpPr>
            <a:spLocks noChangeShapeType="1"/>
          </p:cNvSpPr>
          <p:nvPr/>
        </p:nvSpPr>
        <p:spPr bwMode="auto">
          <a:xfrm flipH="1" flipV="1">
            <a:off x="5062537" y="5016504"/>
            <a:ext cx="329804" cy="287339"/>
          </a:xfrm>
          <a:prstGeom prst="line">
            <a:avLst/>
          </a:prstGeom>
          <a:noFill/>
          <a:ln w="38100">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40" name="Line 79"/>
          <p:cNvSpPr>
            <a:spLocks noChangeShapeType="1"/>
          </p:cNvSpPr>
          <p:nvPr/>
        </p:nvSpPr>
        <p:spPr bwMode="auto">
          <a:xfrm>
            <a:off x="6292457" y="2794004"/>
            <a:ext cx="10715" cy="161925"/>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41" name="Text Box 80"/>
          <p:cNvSpPr txBox="1">
            <a:spLocks noChangeArrowheads="1"/>
          </p:cNvSpPr>
          <p:nvPr/>
        </p:nvSpPr>
        <p:spPr bwMode="auto">
          <a:xfrm>
            <a:off x="6354366" y="3194056"/>
            <a:ext cx="12763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a:solidFill>
                  <a:srgbClr val="001965"/>
                </a:solidFill>
                <a:cs typeface="Arial" pitchFamily="34" charset="0"/>
                <a:sym typeface="Symbol" pitchFamily="18" charset="2"/>
              </a:rPr>
              <a:t></a:t>
            </a:r>
            <a:r>
              <a:rPr lang="cs-CZ" altLang="cs-CZ" sz="1200" b="0">
                <a:solidFill>
                  <a:srgbClr val="001965"/>
                </a:solidFill>
                <a:cs typeface="Arial" pitchFamily="34" charset="0"/>
                <a:sym typeface="Symbol" pitchFamily="18" charset="2"/>
              </a:rPr>
              <a:t> Stomach emptying</a:t>
            </a:r>
            <a:endParaRPr lang="en-US" altLang="cs-CZ" sz="1200" b="0">
              <a:solidFill>
                <a:srgbClr val="001965"/>
              </a:solidFill>
              <a:cs typeface="Arial" pitchFamily="34" charset="0"/>
            </a:endParaRPr>
          </a:p>
        </p:txBody>
      </p:sp>
      <p:sp>
        <p:nvSpPr>
          <p:cNvPr id="43042" name="Text Box 81"/>
          <p:cNvSpPr txBox="1">
            <a:spLocks noChangeArrowheads="1"/>
          </p:cNvSpPr>
          <p:nvPr/>
        </p:nvSpPr>
        <p:spPr bwMode="auto">
          <a:xfrm>
            <a:off x="4838701" y="2093915"/>
            <a:ext cx="95845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b="0">
                <a:solidFill>
                  <a:srgbClr val="001965"/>
                </a:solidFill>
                <a:cs typeface="Arial" pitchFamily="34" charset="0"/>
                <a:sym typeface="Symbol" pitchFamily="18" charset="2"/>
              </a:rPr>
              <a:t> Food intake</a:t>
            </a:r>
            <a:endParaRPr lang="en-US" altLang="cs-CZ" sz="1200" b="0">
              <a:solidFill>
                <a:srgbClr val="001965"/>
              </a:solidFill>
              <a:cs typeface="Arial" pitchFamily="34" charset="0"/>
            </a:endParaRPr>
          </a:p>
        </p:txBody>
      </p:sp>
      <p:sp>
        <p:nvSpPr>
          <p:cNvPr id="43043" name="Line 82"/>
          <p:cNvSpPr>
            <a:spLocks noChangeShapeType="1"/>
          </p:cNvSpPr>
          <p:nvPr/>
        </p:nvSpPr>
        <p:spPr bwMode="auto">
          <a:xfrm flipV="1">
            <a:off x="4836320" y="1965328"/>
            <a:ext cx="1191" cy="144463"/>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44" name="Text Box 83"/>
          <p:cNvSpPr txBox="1">
            <a:spLocks noChangeArrowheads="1"/>
          </p:cNvSpPr>
          <p:nvPr/>
        </p:nvSpPr>
        <p:spPr bwMode="auto">
          <a:xfrm>
            <a:off x="4812365" y="1854213"/>
            <a:ext cx="16801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b="0" dirty="0" err="1">
                <a:solidFill>
                  <a:srgbClr val="001965"/>
                </a:solidFill>
                <a:cs typeface="Arial" pitchFamily="34" charset="0"/>
              </a:rPr>
              <a:t>Neuroprotectivity</a:t>
            </a:r>
            <a:endParaRPr lang="en-US" altLang="cs-CZ" sz="1200" b="0" dirty="0">
              <a:solidFill>
                <a:srgbClr val="001965"/>
              </a:solidFill>
              <a:cs typeface="Arial" pitchFamily="34" charset="0"/>
            </a:endParaRPr>
          </a:p>
        </p:txBody>
      </p:sp>
      <p:sp>
        <p:nvSpPr>
          <p:cNvPr id="43045" name="Text Box 84"/>
          <p:cNvSpPr txBox="1">
            <a:spLocks noChangeArrowheads="1"/>
          </p:cNvSpPr>
          <p:nvPr/>
        </p:nvSpPr>
        <p:spPr bwMode="auto">
          <a:xfrm>
            <a:off x="2557375" y="2485993"/>
            <a:ext cx="15789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000" b="0" dirty="0">
                <a:solidFill>
                  <a:srgbClr val="001965"/>
                </a:solidFill>
                <a:cs typeface="Arial" pitchFamily="34" charset="0"/>
              </a:rPr>
              <a:t> </a:t>
            </a:r>
            <a:r>
              <a:rPr lang="cs-CZ" altLang="cs-CZ" sz="1000" b="0" dirty="0" err="1">
                <a:solidFill>
                  <a:srgbClr val="001965"/>
                </a:solidFill>
                <a:cs typeface="Arial" pitchFamily="34" charset="0"/>
              </a:rPr>
              <a:t>C</a:t>
            </a:r>
            <a:r>
              <a:rPr lang="cs-CZ" altLang="cs-CZ" sz="1200" b="0" dirty="0" err="1">
                <a:solidFill>
                  <a:srgbClr val="001965"/>
                </a:solidFill>
                <a:cs typeface="Arial" pitchFamily="34" charset="0"/>
              </a:rPr>
              <a:t>ardioprotectivity</a:t>
            </a:r>
            <a:endParaRPr lang="en-US" altLang="cs-CZ" sz="1200" b="0" dirty="0">
              <a:solidFill>
                <a:srgbClr val="001965"/>
              </a:solidFill>
              <a:cs typeface="Arial" pitchFamily="34" charset="0"/>
            </a:endParaRPr>
          </a:p>
        </p:txBody>
      </p:sp>
      <p:sp>
        <p:nvSpPr>
          <p:cNvPr id="43046" name="Text Box 85"/>
          <p:cNvSpPr txBox="1">
            <a:spLocks noChangeArrowheads="1"/>
          </p:cNvSpPr>
          <p:nvPr/>
        </p:nvSpPr>
        <p:spPr bwMode="auto">
          <a:xfrm>
            <a:off x="2627710" y="2152655"/>
            <a:ext cx="124182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b="0">
                <a:solidFill>
                  <a:srgbClr val="001965"/>
                </a:solidFill>
                <a:cs typeface="Arial" pitchFamily="34" charset="0"/>
              </a:rPr>
              <a:t>Heart function</a:t>
            </a:r>
            <a:endParaRPr lang="en-US" altLang="cs-CZ" sz="1200" b="0">
              <a:solidFill>
                <a:srgbClr val="001965"/>
              </a:solidFill>
              <a:cs typeface="Arial" pitchFamily="34" charset="0"/>
            </a:endParaRPr>
          </a:p>
        </p:txBody>
      </p:sp>
      <p:sp>
        <p:nvSpPr>
          <p:cNvPr id="43047" name="Line 86"/>
          <p:cNvSpPr>
            <a:spLocks noChangeShapeType="1"/>
          </p:cNvSpPr>
          <p:nvPr/>
        </p:nvSpPr>
        <p:spPr bwMode="auto">
          <a:xfrm flipV="1">
            <a:off x="2646763" y="2203455"/>
            <a:ext cx="1190" cy="14446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48" name="Line 87"/>
          <p:cNvSpPr>
            <a:spLocks noChangeShapeType="1"/>
          </p:cNvSpPr>
          <p:nvPr/>
        </p:nvSpPr>
        <p:spPr bwMode="auto">
          <a:xfrm flipV="1">
            <a:off x="2658670" y="2462218"/>
            <a:ext cx="1190" cy="144463"/>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49" name="Text Box 88"/>
          <p:cNvSpPr txBox="1">
            <a:spLocks noChangeArrowheads="1"/>
          </p:cNvSpPr>
          <p:nvPr/>
        </p:nvSpPr>
        <p:spPr bwMode="auto">
          <a:xfrm>
            <a:off x="2445546" y="4221169"/>
            <a:ext cx="14847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a:solidFill>
                  <a:srgbClr val="001965"/>
                </a:solidFill>
                <a:cs typeface="Arial" pitchFamily="34" charset="0"/>
                <a:sym typeface="Symbol" pitchFamily="18" charset="2"/>
              </a:rPr>
              <a:t></a:t>
            </a:r>
            <a:r>
              <a:rPr lang="cs-CZ" altLang="cs-CZ" sz="1200" b="0">
                <a:solidFill>
                  <a:srgbClr val="001965"/>
                </a:solidFill>
                <a:cs typeface="Arial" pitchFamily="34" charset="0"/>
                <a:sym typeface="Symbol" pitchFamily="18" charset="2"/>
              </a:rPr>
              <a:t> Glucose production</a:t>
            </a:r>
            <a:endParaRPr lang="en-US" altLang="cs-CZ" sz="1200" b="0">
              <a:solidFill>
                <a:srgbClr val="001965"/>
              </a:solidFill>
              <a:cs typeface="Arial" pitchFamily="34" charset="0"/>
            </a:endParaRPr>
          </a:p>
        </p:txBody>
      </p:sp>
      <p:sp>
        <p:nvSpPr>
          <p:cNvPr id="43050" name="Line 89"/>
          <p:cNvSpPr>
            <a:spLocks noChangeShapeType="1"/>
          </p:cNvSpPr>
          <p:nvPr/>
        </p:nvSpPr>
        <p:spPr bwMode="auto">
          <a:xfrm>
            <a:off x="5620945" y="5391155"/>
            <a:ext cx="1190" cy="131763"/>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51" name="Line 90"/>
          <p:cNvSpPr>
            <a:spLocks noChangeShapeType="1"/>
          </p:cNvSpPr>
          <p:nvPr/>
        </p:nvSpPr>
        <p:spPr bwMode="auto">
          <a:xfrm>
            <a:off x="5632851" y="6092829"/>
            <a:ext cx="1190" cy="131763"/>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52" name="Line 91"/>
          <p:cNvSpPr>
            <a:spLocks noChangeShapeType="1"/>
          </p:cNvSpPr>
          <p:nvPr/>
        </p:nvSpPr>
        <p:spPr bwMode="auto">
          <a:xfrm>
            <a:off x="4836320" y="2182817"/>
            <a:ext cx="1191" cy="131763"/>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53" name="Line 92"/>
          <p:cNvSpPr>
            <a:spLocks noChangeShapeType="1"/>
          </p:cNvSpPr>
          <p:nvPr/>
        </p:nvSpPr>
        <p:spPr bwMode="auto">
          <a:xfrm>
            <a:off x="2456263" y="4294192"/>
            <a:ext cx="1190" cy="131763"/>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54" name="Line 93"/>
          <p:cNvSpPr>
            <a:spLocks noChangeShapeType="1"/>
          </p:cNvSpPr>
          <p:nvPr/>
        </p:nvSpPr>
        <p:spPr bwMode="auto">
          <a:xfrm flipV="1">
            <a:off x="2572945" y="5902330"/>
            <a:ext cx="1190" cy="144463"/>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55" name="Line 94"/>
          <p:cNvSpPr>
            <a:spLocks noChangeShapeType="1"/>
          </p:cNvSpPr>
          <p:nvPr/>
        </p:nvSpPr>
        <p:spPr bwMode="auto">
          <a:xfrm flipH="1">
            <a:off x="3399236" y="4857750"/>
            <a:ext cx="519113" cy="179388"/>
          </a:xfrm>
          <a:prstGeom prst="line">
            <a:avLst/>
          </a:prstGeom>
          <a:noFill/>
          <a:ln w="38100">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56" name="Line 95"/>
          <p:cNvSpPr>
            <a:spLocks noChangeShapeType="1"/>
          </p:cNvSpPr>
          <p:nvPr/>
        </p:nvSpPr>
        <p:spPr bwMode="auto">
          <a:xfrm flipH="1" flipV="1">
            <a:off x="3512344" y="4522793"/>
            <a:ext cx="533400" cy="219075"/>
          </a:xfrm>
          <a:prstGeom prst="line">
            <a:avLst/>
          </a:prstGeom>
          <a:noFill/>
          <a:ln w="38100">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a:lstStyle/>
          <a:p>
            <a:endParaRPr lang="cs-CZ" sz="1800" b="0">
              <a:solidFill>
                <a:srgbClr val="000000"/>
              </a:solidFill>
              <a:latin typeface="Arial" panose="020B0604020202020204" pitchFamily="34" charset="0"/>
            </a:endParaRPr>
          </a:p>
        </p:txBody>
      </p:sp>
      <p:sp>
        <p:nvSpPr>
          <p:cNvPr id="43057" name="Text Box 96"/>
          <p:cNvSpPr txBox="1">
            <a:spLocks noChangeArrowheads="1"/>
          </p:cNvSpPr>
          <p:nvPr/>
        </p:nvSpPr>
        <p:spPr bwMode="auto">
          <a:xfrm>
            <a:off x="2570558" y="1825628"/>
            <a:ext cx="9417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cs-CZ" altLang="cs-CZ" sz="1200" dirty="0" err="1">
                <a:solidFill>
                  <a:srgbClr val="001965"/>
                </a:solidFill>
                <a:cs typeface="Arial" pitchFamily="34" charset="0"/>
              </a:rPr>
              <a:t>Heart</a:t>
            </a:r>
            <a:endParaRPr lang="en-US" altLang="cs-CZ" sz="1200" dirty="0">
              <a:solidFill>
                <a:srgbClr val="001965"/>
              </a:solidFill>
              <a:cs typeface="Arial" pitchFamily="34" charset="0"/>
            </a:endParaRPr>
          </a:p>
        </p:txBody>
      </p:sp>
      <p:sp>
        <p:nvSpPr>
          <p:cNvPr id="11316" name="Text Box 97"/>
          <p:cNvSpPr txBox="1">
            <a:spLocks noChangeArrowheads="1"/>
          </p:cNvSpPr>
          <p:nvPr/>
        </p:nvSpPr>
        <p:spPr bwMode="auto">
          <a:xfrm>
            <a:off x="4077166" y="3241293"/>
            <a:ext cx="955148" cy="707886"/>
          </a:xfrm>
          <a:prstGeom prst="rect">
            <a:avLst/>
          </a:prstGeom>
          <a:noFill/>
          <a:ln w="9525">
            <a:noFill/>
            <a:miter lim="800000"/>
            <a:headEnd/>
            <a:tailEnd/>
          </a:ln>
        </p:spPr>
        <p:txBody>
          <a:bodyPr>
            <a:spAutoFit/>
          </a:bodyPr>
          <a:lstStyle/>
          <a:p>
            <a:pPr algn="ctr" eaLnBrk="0" fontAlgn="auto" hangingPunct="0">
              <a:spcBef>
                <a:spcPct val="50000"/>
              </a:spcBef>
              <a:spcAft>
                <a:spcPts val="0"/>
              </a:spcAft>
              <a:defRPr/>
            </a:pPr>
            <a:r>
              <a:rPr lang="en-US" sz="2000" dirty="0">
                <a:ln>
                  <a:solidFill>
                    <a:srgbClr val="001423"/>
                  </a:solidFill>
                </a:ln>
                <a:solidFill>
                  <a:srgbClr val="FFFFFF"/>
                </a:solidFill>
                <a:latin typeface="Verdana"/>
                <a:cs typeface="Arial" pitchFamily="34" charset="0"/>
              </a:rPr>
              <a:t>GLP-1</a:t>
            </a:r>
          </a:p>
        </p:txBody>
      </p:sp>
      <p:sp>
        <p:nvSpPr>
          <p:cNvPr id="43059" name="Text Box 98"/>
          <p:cNvSpPr txBox="1">
            <a:spLocks noChangeArrowheads="1"/>
          </p:cNvSpPr>
          <p:nvPr/>
        </p:nvSpPr>
        <p:spPr bwMode="auto">
          <a:xfrm>
            <a:off x="3885086" y="2671168"/>
            <a:ext cx="12133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a:spcBef>
                <a:spcPct val="50000"/>
              </a:spcBef>
              <a:buClrTx/>
              <a:buFontTx/>
              <a:buNone/>
            </a:pPr>
            <a:r>
              <a:rPr lang="cs-CZ" altLang="cs-CZ" sz="1200" dirty="0" err="1">
                <a:solidFill>
                  <a:srgbClr val="001965"/>
                </a:solidFill>
                <a:cs typeface="Arial" pitchFamily="34" charset="0"/>
              </a:rPr>
              <a:t>Intestine</a:t>
            </a:r>
            <a:endParaRPr lang="en-US" altLang="cs-CZ" sz="1200" dirty="0">
              <a:solidFill>
                <a:srgbClr val="001965"/>
              </a:solidFill>
              <a:cs typeface="Arial" pitchFamily="34" charset="0"/>
            </a:endParaRPr>
          </a:p>
        </p:txBody>
      </p:sp>
      <p:sp>
        <p:nvSpPr>
          <p:cNvPr id="43060" name="Text Box 99"/>
          <p:cNvSpPr txBox="1">
            <a:spLocks noChangeArrowheads="1"/>
          </p:cNvSpPr>
          <p:nvPr/>
        </p:nvSpPr>
        <p:spPr bwMode="auto">
          <a:xfrm>
            <a:off x="5404247" y="5037142"/>
            <a:ext cx="609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spcBef>
                <a:spcPct val="50000"/>
              </a:spcBef>
              <a:buClrTx/>
              <a:buFontTx/>
              <a:buNone/>
            </a:pPr>
            <a:r>
              <a:rPr lang="en-US" altLang="cs-CZ">
                <a:solidFill>
                  <a:srgbClr val="FFFFFF"/>
                </a:solidFill>
                <a:cs typeface="Arial" pitchFamily="34" charset="0"/>
              </a:rPr>
              <a:t>{</a:t>
            </a:r>
          </a:p>
        </p:txBody>
      </p:sp>
      <p:pic>
        <p:nvPicPr>
          <p:cNvPr id="43061" name="Picture 100" descr="coronar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87131" y="1555754"/>
            <a:ext cx="754856" cy="1138239"/>
          </a:xfrm>
          <a:prstGeom prst="rect">
            <a:avLst/>
          </a:prstGeom>
          <a:solidFill>
            <a:srgbClr val="001965"/>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43062" name="Rectangle 101"/>
          <p:cNvSpPr>
            <a:spLocks noChangeArrowheads="1"/>
          </p:cNvSpPr>
          <p:nvPr/>
        </p:nvSpPr>
        <p:spPr bwMode="auto">
          <a:xfrm>
            <a:off x="1660923" y="1482730"/>
            <a:ext cx="796528"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eaLnBrk="1" hangingPunct="1">
              <a:spcBef>
                <a:spcPct val="0"/>
              </a:spcBef>
              <a:buClrTx/>
              <a:buFontTx/>
              <a:buNone/>
            </a:pPr>
            <a:endParaRPr lang="en-US" altLang="cs-CZ" sz="1800" b="0">
              <a:solidFill>
                <a:srgbClr val="001965"/>
              </a:solidFill>
              <a:cs typeface="Arial" pitchFamily="34" charset="0"/>
            </a:endParaRPr>
          </a:p>
        </p:txBody>
      </p:sp>
      <p:sp>
        <p:nvSpPr>
          <p:cNvPr id="43063" name="Freeform 102"/>
          <p:cNvSpPr>
            <a:spLocks/>
          </p:cNvSpPr>
          <p:nvPr/>
        </p:nvSpPr>
        <p:spPr bwMode="auto">
          <a:xfrm>
            <a:off x="2035970" y="1647826"/>
            <a:ext cx="586979" cy="1125539"/>
          </a:xfrm>
          <a:custGeom>
            <a:avLst/>
            <a:gdLst>
              <a:gd name="T0" fmla="*/ 2147483647 w 493"/>
              <a:gd name="T1" fmla="*/ 2147483647 h 709"/>
              <a:gd name="T2" fmla="*/ 2147483647 w 493"/>
              <a:gd name="T3" fmla="*/ 2147483647 h 709"/>
              <a:gd name="T4" fmla="*/ 2147483647 w 493"/>
              <a:gd name="T5" fmla="*/ 2147483647 h 709"/>
              <a:gd name="T6" fmla="*/ 2147483647 w 493"/>
              <a:gd name="T7" fmla="*/ 2147483647 h 709"/>
              <a:gd name="T8" fmla="*/ 2147483647 w 493"/>
              <a:gd name="T9" fmla="*/ 2147483647 h 709"/>
              <a:gd name="T10" fmla="*/ 2147483647 w 493"/>
              <a:gd name="T11" fmla="*/ 2147483647 h 709"/>
              <a:gd name="T12" fmla="*/ 2147483647 w 493"/>
              <a:gd name="T13" fmla="*/ 2147483647 h 709"/>
              <a:gd name="T14" fmla="*/ 2147483647 w 493"/>
              <a:gd name="T15" fmla="*/ 2147483647 h 709"/>
              <a:gd name="T16" fmla="*/ 2147483647 w 493"/>
              <a:gd name="T17" fmla="*/ 2147483647 h 709"/>
              <a:gd name="T18" fmla="*/ 2147483647 w 493"/>
              <a:gd name="T19" fmla="*/ 2147483647 h 709"/>
              <a:gd name="T20" fmla="*/ 2147483647 w 493"/>
              <a:gd name="T21" fmla="*/ 2147483647 h 709"/>
              <a:gd name="T22" fmla="*/ 2147483647 w 493"/>
              <a:gd name="T23" fmla="*/ 2147483647 h 709"/>
              <a:gd name="T24" fmla="*/ 2147483647 w 493"/>
              <a:gd name="T25" fmla="*/ 2147483647 h 709"/>
              <a:gd name="T26" fmla="*/ 2147483647 w 493"/>
              <a:gd name="T27" fmla="*/ 2147483647 h 709"/>
              <a:gd name="T28" fmla="*/ 2147483647 w 493"/>
              <a:gd name="T29" fmla="*/ 2147483647 h 709"/>
              <a:gd name="T30" fmla="*/ 2147483647 w 493"/>
              <a:gd name="T31" fmla="*/ 2147483647 h 709"/>
              <a:gd name="T32" fmla="*/ 2147483647 w 493"/>
              <a:gd name="T33" fmla="*/ 2147483647 h 709"/>
              <a:gd name="T34" fmla="*/ 2147483647 w 493"/>
              <a:gd name="T35" fmla="*/ 2147483647 h 709"/>
              <a:gd name="T36" fmla="*/ 2147483647 w 493"/>
              <a:gd name="T37" fmla="*/ 2147483647 h 709"/>
              <a:gd name="T38" fmla="*/ 2147483647 w 493"/>
              <a:gd name="T39" fmla="*/ 2147483647 h 709"/>
              <a:gd name="T40" fmla="*/ 2147483647 w 493"/>
              <a:gd name="T41" fmla="*/ 2147483647 h 709"/>
              <a:gd name="T42" fmla="*/ 2147483647 w 493"/>
              <a:gd name="T43" fmla="*/ 2147483647 h 709"/>
              <a:gd name="T44" fmla="*/ 2147483647 w 493"/>
              <a:gd name="T45" fmla="*/ 2147483647 h 709"/>
              <a:gd name="T46" fmla="*/ 2147483647 w 493"/>
              <a:gd name="T47" fmla="*/ 2147483647 h 709"/>
              <a:gd name="T48" fmla="*/ 2147483647 w 493"/>
              <a:gd name="T49" fmla="*/ 2147483647 h 709"/>
              <a:gd name="T50" fmla="*/ 2147483647 w 493"/>
              <a:gd name="T51" fmla="*/ 2147483647 h 709"/>
              <a:gd name="T52" fmla="*/ 2147483647 w 493"/>
              <a:gd name="T53" fmla="*/ 2147483647 h 709"/>
              <a:gd name="T54" fmla="*/ 2147483647 w 493"/>
              <a:gd name="T55" fmla="*/ 2147483647 h 709"/>
              <a:gd name="T56" fmla="*/ 2147483647 w 493"/>
              <a:gd name="T57" fmla="*/ 2147483647 h 709"/>
              <a:gd name="T58" fmla="*/ 2147483647 w 493"/>
              <a:gd name="T59" fmla="*/ 2147483647 h 709"/>
              <a:gd name="T60" fmla="*/ 2147483647 w 493"/>
              <a:gd name="T61" fmla="*/ 2147483647 h 709"/>
              <a:gd name="T62" fmla="*/ 2147483647 w 493"/>
              <a:gd name="T63" fmla="*/ 2147483647 h 709"/>
              <a:gd name="T64" fmla="*/ 2147483647 w 493"/>
              <a:gd name="T65" fmla="*/ 2147483647 h 709"/>
              <a:gd name="T66" fmla="*/ 2147483647 w 493"/>
              <a:gd name="T67" fmla="*/ 2147483647 h 709"/>
              <a:gd name="T68" fmla="*/ 2147483647 w 493"/>
              <a:gd name="T69" fmla="*/ 2147483647 h 709"/>
              <a:gd name="T70" fmla="*/ 2147483647 w 493"/>
              <a:gd name="T71" fmla="*/ 2147483647 h 709"/>
              <a:gd name="T72" fmla="*/ 2147483647 w 493"/>
              <a:gd name="T73" fmla="*/ 2147483647 h 709"/>
              <a:gd name="T74" fmla="*/ 2147483647 w 493"/>
              <a:gd name="T75" fmla="*/ 2147483647 h 709"/>
              <a:gd name="T76" fmla="*/ 2147483647 w 493"/>
              <a:gd name="T77" fmla="*/ 2147483647 h 709"/>
              <a:gd name="T78" fmla="*/ 2147483647 w 493"/>
              <a:gd name="T79" fmla="*/ 2147483647 h 709"/>
              <a:gd name="T80" fmla="*/ 2147483647 w 493"/>
              <a:gd name="T81" fmla="*/ 2147483647 h 709"/>
              <a:gd name="T82" fmla="*/ 2147483647 w 493"/>
              <a:gd name="T83" fmla="*/ 2147483647 h 709"/>
              <a:gd name="T84" fmla="*/ 2147483647 w 493"/>
              <a:gd name="T85" fmla="*/ 2147483647 h 709"/>
              <a:gd name="T86" fmla="*/ 2147483647 w 493"/>
              <a:gd name="T87" fmla="*/ 2147483647 h 709"/>
              <a:gd name="T88" fmla="*/ 2147483647 w 493"/>
              <a:gd name="T89" fmla="*/ 2147483647 h 709"/>
              <a:gd name="T90" fmla="*/ 2147483647 w 493"/>
              <a:gd name="T91" fmla="*/ 2147483647 h 709"/>
              <a:gd name="T92" fmla="*/ 2147483647 w 493"/>
              <a:gd name="T93" fmla="*/ 2147483647 h 709"/>
              <a:gd name="T94" fmla="*/ 2147483647 w 493"/>
              <a:gd name="T95" fmla="*/ 2147483647 h 709"/>
              <a:gd name="T96" fmla="*/ 2147483647 w 493"/>
              <a:gd name="T97" fmla="*/ 2147483647 h 7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93"/>
              <a:gd name="T148" fmla="*/ 0 h 709"/>
              <a:gd name="T149" fmla="*/ 493 w 493"/>
              <a:gd name="T150" fmla="*/ 709 h 70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93" h="709">
                <a:moveTo>
                  <a:pt x="233" y="625"/>
                </a:moveTo>
                <a:cubicBezTo>
                  <a:pt x="238" y="624"/>
                  <a:pt x="242" y="622"/>
                  <a:pt x="247" y="621"/>
                </a:cubicBezTo>
                <a:cubicBezTo>
                  <a:pt x="264" y="608"/>
                  <a:pt x="282" y="593"/>
                  <a:pt x="292" y="573"/>
                </a:cubicBezTo>
                <a:cubicBezTo>
                  <a:pt x="294" y="564"/>
                  <a:pt x="301" y="571"/>
                  <a:pt x="295" y="562"/>
                </a:cubicBezTo>
                <a:cubicBezTo>
                  <a:pt x="298" y="557"/>
                  <a:pt x="301" y="552"/>
                  <a:pt x="304" y="547"/>
                </a:cubicBezTo>
                <a:cubicBezTo>
                  <a:pt x="306" y="538"/>
                  <a:pt x="307" y="529"/>
                  <a:pt x="310" y="520"/>
                </a:cubicBezTo>
                <a:cubicBezTo>
                  <a:pt x="308" y="497"/>
                  <a:pt x="313" y="466"/>
                  <a:pt x="299" y="447"/>
                </a:cubicBezTo>
                <a:cubicBezTo>
                  <a:pt x="297" y="439"/>
                  <a:pt x="293" y="434"/>
                  <a:pt x="287" y="429"/>
                </a:cubicBezTo>
                <a:cubicBezTo>
                  <a:pt x="285" y="425"/>
                  <a:pt x="283" y="421"/>
                  <a:pt x="281" y="417"/>
                </a:cubicBezTo>
                <a:cubicBezTo>
                  <a:pt x="279" y="413"/>
                  <a:pt x="274" y="405"/>
                  <a:pt x="274" y="405"/>
                </a:cubicBezTo>
                <a:cubicBezTo>
                  <a:pt x="272" y="394"/>
                  <a:pt x="269" y="383"/>
                  <a:pt x="266" y="373"/>
                </a:cubicBezTo>
                <a:cubicBezTo>
                  <a:pt x="264" y="359"/>
                  <a:pt x="265" y="339"/>
                  <a:pt x="253" y="330"/>
                </a:cubicBezTo>
                <a:cubicBezTo>
                  <a:pt x="248" y="320"/>
                  <a:pt x="240" y="309"/>
                  <a:pt x="230" y="303"/>
                </a:cubicBezTo>
                <a:cubicBezTo>
                  <a:pt x="229" y="296"/>
                  <a:pt x="219" y="289"/>
                  <a:pt x="214" y="283"/>
                </a:cubicBezTo>
                <a:cubicBezTo>
                  <a:pt x="211" y="280"/>
                  <a:pt x="206" y="273"/>
                  <a:pt x="206" y="273"/>
                </a:cubicBezTo>
                <a:cubicBezTo>
                  <a:pt x="205" y="266"/>
                  <a:pt x="200" y="260"/>
                  <a:pt x="194" y="256"/>
                </a:cubicBezTo>
                <a:cubicBezTo>
                  <a:pt x="185" y="244"/>
                  <a:pt x="173" y="234"/>
                  <a:pt x="164" y="222"/>
                </a:cubicBezTo>
                <a:cubicBezTo>
                  <a:pt x="151" y="205"/>
                  <a:pt x="163" y="214"/>
                  <a:pt x="152" y="207"/>
                </a:cubicBezTo>
                <a:cubicBezTo>
                  <a:pt x="148" y="200"/>
                  <a:pt x="147" y="199"/>
                  <a:pt x="140" y="198"/>
                </a:cubicBezTo>
                <a:cubicBezTo>
                  <a:pt x="130" y="191"/>
                  <a:pt x="117" y="199"/>
                  <a:pt x="110" y="189"/>
                </a:cubicBezTo>
                <a:cubicBezTo>
                  <a:pt x="109" y="183"/>
                  <a:pt x="109" y="181"/>
                  <a:pt x="103" y="178"/>
                </a:cubicBezTo>
                <a:cubicBezTo>
                  <a:pt x="99" y="173"/>
                  <a:pt x="95" y="171"/>
                  <a:pt x="89" y="168"/>
                </a:cubicBezTo>
                <a:cubicBezTo>
                  <a:pt x="84" y="162"/>
                  <a:pt x="82" y="163"/>
                  <a:pt x="76" y="160"/>
                </a:cubicBezTo>
                <a:cubicBezTo>
                  <a:pt x="28" y="162"/>
                  <a:pt x="34" y="156"/>
                  <a:pt x="13" y="184"/>
                </a:cubicBezTo>
                <a:cubicBezTo>
                  <a:pt x="8" y="173"/>
                  <a:pt x="12" y="147"/>
                  <a:pt x="19" y="136"/>
                </a:cubicBezTo>
                <a:cubicBezTo>
                  <a:pt x="20" y="131"/>
                  <a:pt x="22" y="126"/>
                  <a:pt x="23" y="121"/>
                </a:cubicBezTo>
                <a:cubicBezTo>
                  <a:pt x="23" y="114"/>
                  <a:pt x="24" y="107"/>
                  <a:pt x="22" y="100"/>
                </a:cubicBezTo>
                <a:cubicBezTo>
                  <a:pt x="20" y="92"/>
                  <a:pt x="4" y="84"/>
                  <a:pt x="4" y="84"/>
                </a:cubicBezTo>
                <a:cubicBezTo>
                  <a:pt x="0" y="74"/>
                  <a:pt x="0" y="63"/>
                  <a:pt x="4" y="52"/>
                </a:cubicBezTo>
                <a:cubicBezTo>
                  <a:pt x="7" y="34"/>
                  <a:pt x="16" y="35"/>
                  <a:pt x="35" y="34"/>
                </a:cubicBezTo>
                <a:cubicBezTo>
                  <a:pt x="72" y="33"/>
                  <a:pt x="108" y="33"/>
                  <a:pt x="145" y="33"/>
                </a:cubicBezTo>
                <a:cubicBezTo>
                  <a:pt x="180" y="29"/>
                  <a:pt x="212" y="23"/>
                  <a:pt x="248" y="21"/>
                </a:cubicBezTo>
                <a:cubicBezTo>
                  <a:pt x="279" y="14"/>
                  <a:pt x="307" y="9"/>
                  <a:pt x="338" y="4"/>
                </a:cubicBezTo>
                <a:cubicBezTo>
                  <a:pt x="359" y="5"/>
                  <a:pt x="395" y="0"/>
                  <a:pt x="416" y="15"/>
                </a:cubicBezTo>
                <a:cubicBezTo>
                  <a:pt x="420" y="25"/>
                  <a:pt x="427" y="33"/>
                  <a:pt x="433" y="42"/>
                </a:cubicBezTo>
                <a:cubicBezTo>
                  <a:pt x="442" y="77"/>
                  <a:pt x="458" y="111"/>
                  <a:pt x="469" y="145"/>
                </a:cubicBezTo>
                <a:cubicBezTo>
                  <a:pt x="470" y="164"/>
                  <a:pt x="473" y="183"/>
                  <a:pt x="475" y="202"/>
                </a:cubicBezTo>
                <a:cubicBezTo>
                  <a:pt x="475" y="276"/>
                  <a:pt x="468" y="372"/>
                  <a:pt x="481" y="450"/>
                </a:cubicBezTo>
                <a:cubicBezTo>
                  <a:pt x="482" y="460"/>
                  <a:pt x="487" y="478"/>
                  <a:pt x="487" y="478"/>
                </a:cubicBezTo>
                <a:cubicBezTo>
                  <a:pt x="488" y="498"/>
                  <a:pt x="491" y="512"/>
                  <a:pt x="493" y="532"/>
                </a:cubicBezTo>
                <a:cubicBezTo>
                  <a:pt x="491" y="566"/>
                  <a:pt x="487" y="587"/>
                  <a:pt x="482" y="619"/>
                </a:cubicBezTo>
                <a:cubicBezTo>
                  <a:pt x="480" y="631"/>
                  <a:pt x="470" y="654"/>
                  <a:pt x="470" y="654"/>
                </a:cubicBezTo>
                <a:cubicBezTo>
                  <a:pt x="465" y="684"/>
                  <a:pt x="439" y="706"/>
                  <a:pt x="410" y="709"/>
                </a:cubicBezTo>
                <a:cubicBezTo>
                  <a:pt x="388" y="709"/>
                  <a:pt x="366" y="709"/>
                  <a:pt x="344" y="708"/>
                </a:cubicBezTo>
                <a:cubicBezTo>
                  <a:pt x="331" y="707"/>
                  <a:pt x="305" y="699"/>
                  <a:pt x="305" y="699"/>
                </a:cubicBezTo>
                <a:cubicBezTo>
                  <a:pt x="295" y="694"/>
                  <a:pt x="285" y="689"/>
                  <a:pt x="274" y="685"/>
                </a:cubicBezTo>
                <a:cubicBezTo>
                  <a:pt x="267" y="680"/>
                  <a:pt x="269" y="677"/>
                  <a:pt x="262" y="672"/>
                </a:cubicBezTo>
                <a:cubicBezTo>
                  <a:pt x="259" y="664"/>
                  <a:pt x="254" y="659"/>
                  <a:pt x="251" y="651"/>
                </a:cubicBezTo>
                <a:cubicBezTo>
                  <a:pt x="248" y="637"/>
                  <a:pt x="244" y="631"/>
                  <a:pt x="233" y="625"/>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cs-CZ" sz="1800" b="0">
              <a:solidFill>
                <a:srgbClr val="000000"/>
              </a:solidFill>
              <a:latin typeface="Arial" panose="020B0604020202020204" pitchFamily="34" charset="0"/>
            </a:endParaRPr>
          </a:p>
        </p:txBody>
      </p:sp>
      <p:sp>
        <p:nvSpPr>
          <p:cNvPr id="43064" name="Freeform 103"/>
          <p:cNvSpPr>
            <a:spLocks/>
          </p:cNvSpPr>
          <p:nvPr/>
        </p:nvSpPr>
        <p:spPr bwMode="auto">
          <a:xfrm>
            <a:off x="1952629" y="2586043"/>
            <a:ext cx="435769" cy="166687"/>
          </a:xfrm>
          <a:custGeom>
            <a:avLst/>
            <a:gdLst>
              <a:gd name="T0" fmla="*/ 0 w 366"/>
              <a:gd name="T1" fmla="*/ 2147483647 h 105"/>
              <a:gd name="T2" fmla="*/ 2147483647 w 366"/>
              <a:gd name="T3" fmla="*/ 2147483647 h 105"/>
              <a:gd name="T4" fmla="*/ 2147483647 w 366"/>
              <a:gd name="T5" fmla="*/ 2147483647 h 105"/>
              <a:gd name="T6" fmla="*/ 2147483647 w 366"/>
              <a:gd name="T7" fmla="*/ 2147483647 h 105"/>
              <a:gd name="T8" fmla="*/ 2147483647 w 366"/>
              <a:gd name="T9" fmla="*/ 2147483647 h 105"/>
              <a:gd name="T10" fmla="*/ 2147483647 w 366"/>
              <a:gd name="T11" fmla="*/ 2147483647 h 105"/>
              <a:gd name="T12" fmla="*/ 2147483647 w 366"/>
              <a:gd name="T13" fmla="*/ 2147483647 h 105"/>
              <a:gd name="T14" fmla="*/ 2147483647 w 366"/>
              <a:gd name="T15" fmla="*/ 2147483647 h 105"/>
              <a:gd name="T16" fmla="*/ 2147483647 w 366"/>
              <a:gd name="T17" fmla="*/ 2147483647 h 105"/>
              <a:gd name="T18" fmla="*/ 2147483647 w 366"/>
              <a:gd name="T19" fmla="*/ 2147483647 h 105"/>
              <a:gd name="T20" fmla="*/ 2147483647 w 366"/>
              <a:gd name="T21" fmla="*/ 2147483647 h 105"/>
              <a:gd name="T22" fmla="*/ 2147483647 w 366"/>
              <a:gd name="T23" fmla="*/ 2147483647 h 105"/>
              <a:gd name="T24" fmla="*/ 2147483647 w 366"/>
              <a:gd name="T25" fmla="*/ 2147483647 h 105"/>
              <a:gd name="T26" fmla="*/ 0 w 366"/>
              <a:gd name="T27" fmla="*/ 2147483647 h 10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66"/>
              <a:gd name="T43" fmla="*/ 0 h 105"/>
              <a:gd name="T44" fmla="*/ 366 w 366"/>
              <a:gd name="T45" fmla="*/ 105 h 10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66" h="105">
                <a:moveTo>
                  <a:pt x="0" y="60"/>
                </a:moveTo>
                <a:cubicBezTo>
                  <a:pt x="6" y="57"/>
                  <a:pt x="13" y="52"/>
                  <a:pt x="20" y="51"/>
                </a:cubicBezTo>
                <a:cubicBezTo>
                  <a:pt x="26" y="47"/>
                  <a:pt x="26" y="44"/>
                  <a:pt x="27" y="37"/>
                </a:cubicBezTo>
                <a:cubicBezTo>
                  <a:pt x="30" y="0"/>
                  <a:pt x="27" y="10"/>
                  <a:pt x="53" y="13"/>
                </a:cubicBezTo>
                <a:cubicBezTo>
                  <a:pt x="80" y="22"/>
                  <a:pt x="106" y="22"/>
                  <a:pt x="135" y="25"/>
                </a:cubicBezTo>
                <a:cubicBezTo>
                  <a:pt x="153" y="32"/>
                  <a:pt x="185" y="30"/>
                  <a:pt x="204" y="31"/>
                </a:cubicBezTo>
                <a:cubicBezTo>
                  <a:pt x="234" y="41"/>
                  <a:pt x="271" y="44"/>
                  <a:pt x="297" y="25"/>
                </a:cubicBezTo>
                <a:cubicBezTo>
                  <a:pt x="317" y="26"/>
                  <a:pt x="326" y="25"/>
                  <a:pt x="342" y="34"/>
                </a:cubicBezTo>
                <a:cubicBezTo>
                  <a:pt x="348" y="41"/>
                  <a:pt x="356" y="57"/>
                  <a:pt x="356" y="57"/>
                </a:cubicBezTo>
                <a:cubicBezTo>
                  <a:pt x="357" y="65"/>
                  <a:pt x="366" y="81"/>
                  <a:pt x="356" y="87"/>
                </a:cubicBezTo>
                <a:cubicBezTo>
                  <a:pt x="326" y="105"/>
                  <a:pt x="246" y="97"/>
                  <a:pt x="225" y="97"/>
                </a:cubicBezTo>
                <a:cubicBezTo>
                  <a:pt x="153" y="97"/>
                  <a:pt x="104" y="105"/>
                  <a:pt x="42" y="88"/>
                </a:cubicBezTo>
                <a:cubicBezTo>
                  <a:pt x="34" y="82"/>
                  <a:pt x="20" y="75"/>
                  <a:pt x="12" y="70"/>
                </a:cubicBezTo>
                <a:cubicBezTo>
                  <a:pt x="7" y="67"/>
                  <a:pt x="0" y="60"/>
                  <a:pt x="0" y="60"/>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cs-CZ" sz="1800" b="0">
              <a:solidFill>
                <a:srgbClr val="000000"/>
              </a:solidFill>
              <a:latin typeface="Arial" panose="020B0604020202020204" pitchFamily="34" charset="0"/>
            </a:endParaRPr>
          </a:p>
        </p:txBody>
      </p:sp>
      <p:sp>
        <p:nvSpPr>
          <p:cNvPr id="43065" name="Freeform 104"/>
          <p:cNvSpPr>
            <a:spLocks/>
          </p:cNvSpPr>
          <p:nvPr/>
        </p:nvSpPr>
        <p:spPr bwMode="auto">
          <a:xfrm>
            <a:off x="1714503" y="1593851"/>
            <a:ext cx="369094" cy="534988"/>
          </a:xfrm>
          <a:custGeom>
            <a:avLst/>
            <a:gdLst>
              <a:gd name="T0" fmla="*/ 2147483647 w 310"/>
              <a:gd name="T1" fmla="*/ 2147483647 h 337"/>
              <a:gd name="T2" fmla="*/ 2147483647 w 310"/>
              <a:gd name="T3" fmla="*/ 2147483647 h 337"/>
              <a:gd name="T4" fmla="*/ 2147483647 w 310"/>
              <a:gd name="T5" fmla="*/ 2147483647 h 337"/>
              <a:gd name="T6" fmla="*/ 2147483647 w 310"/>
              <a:gd name="T7" fmla="*/ 2147483647 h 337"/>
              <a:gd name="T8" fmla="*/ 2147483647 w 310"/>
              <a:gd name="T9" fmla="*/ 2147483647 h 337"/>
              <a:gd name="T10" fmla="*/ 2147483647 w 310"/>
              <a:gd name="T11" fmla="*/ 2147483647 h 337"/>
              <a:gd name="T12" fmla="*/ 2147483647 w 310"/>
              <a:gd name="T13" fmla="*/ 2147483647 h 337"/>
              <a:gd name="T14" fmla="*/ 2147483647 w 310"/>
              <a:gd name="T15" fmla="*/ 2147483647 h 337"/>
              <a:gd name="T16" fmla="*/ 2147483647 w 310"/>
              <a:gd name="T17" fmla="*/ 2147483647 h 337"/>
              <a:gd name="T18" fmla="*/ 2147483647 w 310"/>
              <a:gd name="T19" fmla="*/ 2147483647 h 337"/>
              <a:gd name="T20" fmla="*/ 2147483647 w 310"/>
              <a:gd name="T21" fmla="*/ 2147483647 h 337"/>
              <a:gd name="T22" fmla="*/ 2147483647 w 310"/>
              <a:gd name="T23" fmla="*/ 2147483647 h 337"/>
              <a:gd name="T24" fmla="*/ 2147483647 w 310"/>
              <a:gd name="T25" fmla="*/ 2147483647 h 337"/>
              <a:gd name="T26" fmla="*/ 2147483647 w 310"/>
              <a:gd name="T27" fmla="*/ 2147483647 h 337"/>
              <a:gd name="T28" fmla="*/ 2147483647 w 310"/>
              <a:gd name="T29" fmla="*/ 2147483647 h 337"/>
              <a:gd name="T30" fmla="*/ 2147483647 w 310"/>
              <a:gd name="T31" fmla="*/ 2147483647 h 337"/>
              <a:gd name="T32" fmla="*/ 2147483647 w 310"/>
              <a:gd name="T33" fmla="*/ 2147483647 h 337"/>
              <a:gd name="T34" fmla="*/ 2147483647 w 310"/>
              <a:gd name="T35" fmla="*/ 2147483647 h 3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0"/>
              <a:gd name="T55" fmla="*/ 0 h 337"/>
              <a:gd name="T56" fmla="*/ 310 w 310"/>
              <a:gd name="T57" fmla="*/ 337 h 33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0" h="337">
                <a:moveTo>
                  <a:pt x="284" y="118"/>
                </a:moveTo>
                <a:cubicBezTo>
                  <a:pt x="278" y="116"/>
                  <a:pt x="274" y="113"/>
                  <a:pt x="268" y="112"/>
                </a:cubicBezTo>
                <a:cubicBezTo>
                  <a:pt x="262" y="108"/>
                  <a:pt x="255" y="107"/>
                  <a:pt x="248" y="106"/>
                </a:cubicBezTo>
                <a:cubicBezTo>
                  <a:pt x="242" y="102"/>
                  <a:pt x="237" y="98"/>
                  <a:pt x="230" y="97"/>
                </a:cubicBezTo>
                <a:cubicBezTo>
                  <a:pt x="220" y="92"/>
                  <a:pt x="209" y="94"/>
                  <a:pt x="200" y="101"/>
                </a:cubicBezTo>
                <a:cubicBezTo>
                  <a:pt x="193" y="113"/>
                  <a:pt x="183" y="125"/>
                  <a:pt x="181" y="139"/>
                </a:cubicBezTo>
                <a:cubicBezTo>
                  <a:pt x="171" y="123"/>
                  <a:pt x="154" y="127"/>
                  <a:pt x="137" y="124"/>
                </a:cubicBezTo>
                <a:cubicBezTo>
                  <a:pt x="119" y="115"/>
                  <a:pt x="98" y="120"/>
                  <a:pt x="89" y="137"/>
                </a:cubicBezTo>
                <a:cubicBezTo>
                  <a:pt x="88" y="337"/>
                  <a:pt x="111" y="257"/>
                  <a:pt x="65" y="334"/>
                </a:cubicBezTo>
                <a:cubicBezTo>
                  <a:pt x="20" y="312"/>
                  <a:pt x="10" y="243"/>
                  <a:pt x="4" y="200"/>
                </a:cubicBezTo>
                <a:cubicBezTo>
                  <a:pt x="0" y="139"/>
                  <a:pt x="12" y="90"/>
                  <a:pt x="46" y="40"/>
                </a:cubicBezTo>
                <a:cubicBezTo>
                  <a:pt x="53" y="30"/>
                  <a:pt x="56" y="21"/>
                  <a:pt x="67" y="14"/>
                </a:cubicBezTo>
                <a:cubicBezTo>
                  <a:pt x="80" y="5"/>
                  <a:pt x="101" y="6"/>
                  <a:pt x="116" y="4"/>
                </a:cubicBezTo>
                <a:cubicBezTo>
                  <a:pt x="177" y="6"/>
                  <a:pt x="211" y="0"/>
                  <a:pt x="260" y="19"/>
                </a:cubicBezTo>
                <a:cubicBezTo>
                  <a:pt x="277" y="26"/>
                  <a:pt x="290" y="41"/>
                  <a:pt x="299" y="56"/>
                </a:cubicBezTo>
                <a:cubicBezTo>
                  <a:pt x="303" y="62"/>
                  <a:pt x="307" y="76"/>
                  <a:pt x="307" y="76"/>
                </a:cubicBezTo>
                <a:cubicBezTo>
                  <a:pt x="310" y="95"/>
                  <a:pt x="309" y="114"/>
                  <a:pt x="295" y="128"/>
                </a:cubicBezTo>
                <a:cubicBezTo>
                  <a:pt x="291" y="127"/>
                  <a:pt x="267" y="113"/>
                  <a:pt x="284" y="118"/>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cs-CZ" sz="1800" b="0">
              <a:solidFill>
                <a:srgbClr val="000000"/>
              </a:solidFill>
              <a:latin typeface="Arial" panose="020B0604020202020204" pitchFamily="34" charset="0"/>
            </a:endParaRPr>
          </a:p>
        </p:txBody>
      </p:sp>
      <p:sp>
        <p:nvSpPr>
          <p:cNvPr id="43066" name="Freeform 105"/>
          <p:cNvSpPr>
            <a:spLocks/>
          </p:cNvSpPr>
          <p:nvPr/>
        </p:nvSpPr>
        <p:spPr bwMode="auto">
          <a:xfrm>
            <a:off x="1726409" y="2052642"/>
            <a:ext cx="246460" cy="719137"/>
          </a:xfrm>
          <a:custGeom>
            <a:avLst/>
            <a:gdLst>
              <a:gd name="T0" fmla="*/ 2147483647 w 207"/>
              <a:gd name="T1" fmla="*/ 2147483647 h 453"/>
              <a:gd name="T2" fmla="*/ 2147483647 w 207"/>
              <a:gd name="T3" fmla="*/ 2147483647 h 453"/>
              <a:gd name="T4" fmla="*/ 2147483647 w 207"/>
              <a:gd name="T5" fmla="*/ 2147483647 h 453"/>
              <a:gd name="T6" fmla="*/ 2147483647 w 207"/>
              <a:gd name="T7" fmla="*/ 2147483647 h 453"/>
              <a:gd name="T8" fmla="*/ 2147483647 w 207"/>
              <a:gd name="T9" fmla="*/ 2147483647 h 453"/>
              <a:gd name="T10" fmla="*/ 2147483647 w 207"/>
              <a:gd name="T11" fmla="*/ 2147483647 h 453"/>
              <a:gd name="T12" fmla="*/ 2147483647 w 207"/>
              <a:gd name="T13" fmla="*/ 2147483647 h 453"/>
              <a:gd name="T14" fmla="*/ 2147483647 w 207"/>
              <a:gd name="T15" fmla="*/ 2147483647 h 453"/>
              <a:gd name="T16" fmla="*/ 2147483647 w 207"/>
              <a:gd name="T17" fmla="*/ 2147483647 h 453"/>
              <a:gd name="T18" fmla="*/ 2147483647 w 207"/>
              <a:gd name="T19" fmla="*/ 0 h 453"/>
              <a:gd name="T20" fmla="*/ 2147483647 w 207"/>
              <a:gd name="T21" fmla="*/ 2147483647 h 453"/>
              <a:gd name="T22" fmla="*/ 2147483647 w 207"/>
              <a:gd name="T23" fmla="*/ 2147483647 h 453"/>
              <a:gd name="T24" fmla="*/ 0 w 207"/>
              <a:gd name="T25" fmla="*/ 2147483647 h 453"/>
              <a:gd name="T26" fmla="*/ 2147483647 w 207"/>
              <a:gd name="T27" fmla="*/ 2147483647 h 453"/>
              <a:gd name="T28" fmla="*/ 2147483647 w 207"/>
              <a:gd name="T29" fmla="*/ 2147483647 h 453"/>
              <a:gd name="T30" fmla="*/ 2147483647 w 207"/>
              <a:gd name="T31" fmla="*/ 2147483647 h 453"/>
              <a:gd name="T32" fmla="*/ 2147483647 w 207"/>
              <a:gd name="T33" fmla="*/ 2147483647 h 4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7"/>
              <a:gd name="T52" fmla="*/ 0 h 453"/>
              <a:gd name="T53" fmla="*/ 207 w 207"/>
              <a:gd name="T54" fmla="*/ 453 h 4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7" h="453">
                <a:moveTo>
                  <a:pt x="196" y="397"/>
                </a:moveTo>
                <a:cubicBezTo>
                  <a:pt x="161" y="397"/>
                  <a:pt x="114" y="410"/>
                  <a:pt x="100" y="369"/>
                </a:cubicBezTo>
                <a:cubicBezTo>
                  <a:pt x="103" y="346"/>
                  <a:pt x="115" y="305"/>
                  <a:pt x="97" y="291"/>
                </a:cubicBezTo>
                <a:cubicBezTo>
                  <a:pt x="96" y="281"/>
                  <a:pt x="93" y="271"/>
                  <a:pt x="88" y="262"/>
                </a:cubicBezTo>
                <a:cubicBezTo>
                  <a:pt x="87" y="254"/>
                  <a:pt x="86" y="245"/>
                  <a:pt x="82" y="237"/>
                </a:cubicBezTo>
                <a:cubicBezTo>
                  <a:pt x="78" y="216"/>
                  <a:pt x="61" y="201"/>
                  <a:pt x="57" y="180"/>
                </a:cubicBezTo>
                <a:cubicBezTo>
                  <a:pt x="58" y="135"/>
                  <a:pt x="58" y="97"/>
                  <a:pt x="63" y="54"/>
                </a:cubicBezTo>
                <a:cubicBezTo>
                  <a:pt x="64" y="46"/>
                  <a:pt x="65" y="37"/>
                  <a:pt x="72" y="33"/>
                </a:cubicBezTo>
                <a:cubicBezTo>
                  <a:pt x="76" y="28"/>
                  <a:pt x="78" y="25"/>
                  <a:pt x="79" y="19"/>
                </a:cubicBezTo>
                <a:cubicBezTo>
                  <a:pt x="78" y="4"/>
                  <a:pt x="78" y="7"/>
                  <a:pt x="67" y="0"/>
                </a:cubicBezTo>
                <a:cubicBezTo>
                  <a:pt x="39" y="5"/>
                  <a:pt x="40" y="7"/>
                  <a:pt x="28" y="31"/>
                </a:cubicBezTo>
                <a:cubicBezTo>
                  <a:pt x="20" y="47"/>
                  <a:pt x="12" y="81"/>
                  <a:pt x="12" y="81"/>
                </a:cubicBezTo>
                <a:cubicBezTo>
                  <a:pt x="8" y="112"/>
                  <a:pt x="2" y="140"/>
                  <a:pt x="0" y="171"/>
                </a:cubicBezTo>
                <a:cubicBezTo>
                  <a:pt x="1" y="253"/>
                  <a:pt x="5" y="309"/>
                  <a:pt x="36" y="384"/>
                </a:cubicBezTo>
                <a:cubicBezTo>
                  <a:pt x="46" y="409"/>
                  <a:pt x="58" y="441"/>
                  <a:pt x="84" y="453"/>
                </a:cubicBezTo>
                <a:cubicBezTo>
                  <a:pt x="130" y="449"/>
                  <a:pt x="172" y="432"/>
                  <a:pt x="207" y="403"/>
                </a:cubicBezTo>
                <a:cubicBezTo>
                  <a:pt x="202" y="391"/>
                  <a:pt x="189" y="397"/>
                  <a:pt x="177" y="397"/>
                </a:cubicBez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cs-CZ" sz="1800" b="0">
              <a:solidFill>
                <a:srgbClr val="000000"/>
              </a:solidFill>
              <a:latin typeface="Arial" panose="020B0604020202020204" pitchFamily="34" charset="0"/>
            </a:endParaRPr>
          </a:p>
        </p:txBody>
      </p:sp>
      <p:sp>
        <p:nvSpPr>
          <p:cNvPr id="43067" name="Rectangle 106"/>
          <p:cNvSpPr>
            <a:spLocks noChangeArrowheads="1"/>
          </p:cNvSpPr>
          <p:nvPr/>
        </p:nvSpPr>
        <p:spPr bwMode="auto">
          <a:xfrm>
            <a:off x="2305051" y="1533526"/>
            <a:ext cx="371475"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eaLnBrk="1" hangingPunct="1">
              <a:spcBef>
                <a:spcPct val="0"/>
              </a:spcBef>
              <a:buClrTx/>
              <a:buFontTx/>
              <a:buNone/>
            </a:pPr>
            <a:endParaRPr lang="en-US" altLang="cs-CZ" sz="1800" b="0">
              <a:solidFill>
                <a:srgbClr val="001965"/>
              </a:solidFill>
              <a:cs typeface="Arial" pitchFamily="34" charset="0"/>
            </a:endParaRPr>
          </a:p>
        </p:txBody>
      </p:sp>
      <p:sp>
        <p:nvSpPr>
          <p:cNvPr id="3" name="Obdélník 2"/>
          <p:cNvSpPr/>
          <p:nvPr/>
        </p:nvSpPr>
        <p:spPr>
          <a:xfrm>
            <a:off x="1660925" y="1516067"/>
            <a:ext cx="977503" cy="2079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cs-CZ" sz="1800" b="0">
              <a:solidFill>
                <a:srgbClr val="FFFFFF"/>
              </a:solidFill>
            </a:endParaRPr>
          </a:p>
        </p:txBody>
      </p:sp>
      <p:sp>
        <p:nvSpPr>
          <p:cNvPr id="5" name="Obdélník 4"/>
          <p:cNvSpPr/>
          <p:nvPr/>
        </p:nvSpPr>
        <p:spPr>
          <a:xfrm>
            <a:off x="2074072" y="1724025"/>
            <a:ext cx="564356" cy="10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cs-CZ" sz="1800" b="0">
              <a:solidFill>
                <a:srgbClr val="FFFFFF"/>
              </a:solidFill>
            </a:endParaRPr>
          </a:p>
        </p:txBody>
      </p:sp>
      <p:sp>
        <p:nvSpPr>
          <p:cNvPr id="6" name="Obdélník 5"/>
          <p:cNvSpPr/>
          <p:nvPr/>
        </p:nvSpPr>
        <p:spPr>
          <a:xfrm>
            <a:off x="2135985" y="1774826"/>
            <a:ext cx="502444"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cs-CZ" sz="1800" b="0">
              <a:solidFill>
                <a:srgbClr val="FFFFFF"/>
              </a:solidFill>
            </a:endParaRPr>
          </a:p>
        </p:txBody>
      </p:sp>
      <p:sp>
        <p:nvSpPr>
          <p:cNvPr id="7" name="Obdélník 6"/>
          <p:cNvSpPr/>
          <p:nvPr/>
        </p:nvSpPr>
        <p:spPr>
          <a:xfrm>
            <a:off x="2284810" y="1870080"/>
            <a:ext cx="275034" cy="182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cs-CZ" sz="1800" b="0">
              <a:solidFill>
                <a:srgbClr val="FFFFFF"/>
              </a:solidFill>
            </a:endParaRPr>
          </a:p>
        </p:txBody>
      </p:sp>
      <p:sp>
        <p:nvSpPr>
          <p:cNvPr id="43072" name="Text Box 121"/>
          <p:cNvSpPr txBox="1">
            <a:spLocks noChangeArrowheads="1"/>
          </p:cNvSpPr>
          <p:nvPr/>
        </p:nvSpPr>
        <p:spPr bwMode="auto">
          <a:xfrm>
            <a:off x="190919" y="2714630"/>
            <a:ext cx="418038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eaLnBrk="1" hangingPunct="1">
              <a:spcBef>
                <a:spcPct val="0"/>
              </a:spcBef>
              <a:buClrTx/>
              <a:buFontTx/>
              <a:buNone/>
            </a:pPr>
            <a:r>
              <a:rPr lang="cs-CZ" altLang="cs-CZ" sz="1200" b="0" dirty="0" err="1">
                <a:solidFill>
                  <a:srgbClr val="001965"/>
                </a:solidFill>
                <a:cs typeface="Arial" pitchFamily="34" charset="0"/>
              </a:rPr>
              <a:t>Improved</a:t>
            </a:r>
            <a:r>
              <a:rPr lang="cs-CZ" altLang="cs-CZ" sz="1200" b="0" dirty="0">
                <a:solidFill>
                  <a:srgbClr val="001965"/>
                </a:solidFill>
                <a:cs typeface="Arial" pitchFamily="34" charset="0"/>
              </a:rPr>
              <a:t> </a:t>
            </a:r>
            <a:r>
              <a:rPr lang="cs-CZ" altLang="cs-CZ" sz="1200" b="0" dirty="0" err="1">
                <a:solidFill>
                  <a:srgbClr val="001965"/>
                </a:solidFill>
                <a:cs typeface="Arial" pitchFamily="34" charset="0"/>
              </a:rPr>
              <a:t>glucose</a:t>
            </a:r>
            <a:r>
              <a:rPr lang="cs-CZ" altLang="cs-CZ" sz="1200" b="0" dirty="0">
                <a:solidFill>
                  <a:srgbClr val="001965"/>
                </a:solidFill>
                <a:cs typeface="Arial" pitchFamily="34" charset="0"/>
              </a:rPr>
              <a:t> </a:t>
            </a:r>
            <a:r>
              <a:rPr lang="cs-CZ" altLang="cs-CZ" sz="1200" b="0" dirty="0" err="1">
                <a:solidFill>
                  <a:srgbClr val="001965"/>
                </a:solidFill>
                <a:cs typeface="Arial" pitchFamily="34" charset="0"/>
              </a:rPr>
              <a:t>uptake</a:t>
            </a:r>
            <a:endParaRPr lang="cs-CZ" altLang="cs-CZ" sz="1200" b="0" dirty="0">
              <a:solidFill>
                <a:srgbClr val="001965"/>
              </a:solidFill>
              <a:cs typeface="Arial" pitchFamily="34" charset="0"/>
            </a:endParaRPr>
          </a:p>
          <a:p>
            <a:pPr eaLnBrk="1" hangingPunct="1">
              <a:spcBef>
                <a:spcPct val="0"/>
              </a:spcBef>
              <a:buClrTx/>
              <a:buFontTx/>
              <a:buNone/>
            </a:pPr>
            <a:r>
              <a:rPr lang="cs-CZ" altLang="cs-CZ" sz="1200" b="0" dirty="0">
                <a:solidFill>
                  <a:srgbClr val="001965"/>
                </a:solidFill>
                <a:cs typeface="Arial" pitchFamily="34" charset="0"/>
              </a:rPr>
              <a:t>Anti</a:t>
            </a:r>
            <a:r>
              <a:rPr lang="en-GB" altLang="cs-CZ" sz="1200" b="0" dirty="0">
                <a:solidFill>
                  <a:srgbClr val="001965"/>
                </a:solidFill>
                <a:cs typeface="Arial" pitchFamily="34" charset="0"/>
              </a:rPr>
              <a:t>-</a:t>
            </a:r>
            <a:r>
              <a:rPr lang="cs-CZ" altLang="cs-CZ" sz="1200" b="0" dirty="0" err="1">
                <a:solidFill>
                  <a:srgbClr val="001965"/>
                </a:solidFill>
                <a:cs typeface="Arial" pitchFamily="34" charset="0"/>
              </a:rPr>
              <a:t>apoptotic</a:t>
            </a:r>
            <a:r>
              <a:rPr lang="cs-CZ" altLang="cs-CZ" sz="1200" b="0" dirty="0">
                <a:solidFill>
                  <a:srgbClr val="001965"/>
                </a:solidFill>
                <a:cs typeface="Arial" pitchFamily="34" charset="0"/>
              </a:rPr>
              <a:t> and pro </a:t>
            </a:r>
            <a:r>
              <a:rPr lang="cs-CZ" altLang="cs-CZ" sz="1200" b="0" dirty="0" err="1">
                <a:solidFill>
                  <a:srgbClr val="001965"/>
                </a:solidFill>
                <a:cs typeface="Arial" pitchFamily="34" charset="0"/>
              </a:rPr>
              <a:t>survival</a:t>
            </a:r>
            <a:r>
              <a:rPr lang="cs-CZ" altLang="cs-CZ" sz="1200" b="0" dirty="0">
                <a:solidFill>
                  <a:srgbClr val="001965"/>
                </a:solidFill>
                <a:cs typeface="Arial" pitchFamily="34" charset="0"/>
              </a:rPr>
              <a:t> </a:t>
            </a:r>
            <a:r>
              <a:rPr lang="cs-CZ" altLang="cs-CZ" sz="1200" b="0" dirty="0" err="1">
                <a:solidFill>
                  <a:srgbClr val="001965"/>
                </a:solidFill>
                <a:cs typeface="Arial" pitchFamily="34" charset="0"/>
              </a:rPr>
              <a:t>effects</a:t>
            </a:r>
            <a:endParaRPr lang="cs-CZ" altLang="cs-CZ" sz="1200" b="0" dirty="0">
              <a:solidFill>
                <a:srgbClr val="001965"/>
              </a:solidFill>
              <a:cs typeface="Arial" pitchFamily="34" charset="0"/>
            </a:endParaRPr>
          </a:p>
        </p:txBody>
      </p:sp>
      <p:sp>
        <p:nvSpPr>
          <p:cNvPr id="1089" name="Title 1"/>
          <p:cNvSpPr txBox="1">
            <a:spLocks/>
          </p:cNvSpPr>
          <p:nvPr/>
        </p:nvSpPr>
        <p:spPr bwMode="auto">
          <a:xfrm>
            <a:off x="1343025" y="331794"/>
            <a:ext cx="638175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eaLnBrk="1" hangingPunct="1">
              <a:spcBef>
                <a:spcPct val="0"/>
              </a:spcBef>
              <a:buClrTx/>
              <a:buFontTx/>
              <a:buNone/>
              <a:defRPr/>
            </a:pPr>
            <a:r>
              <a:rPr lang="en-GB" altLang="cs-CZ" sz="3600" dirty="0" err="1">
                <a:solidFill>
                  <a:srgbClr val="808080">
                    <a:lumMod val="10000"/>
                  </a:srgbClr>
                </a:solidFill>
                <a:latin typeface="Arial"/>
                <a:cs typeface="Arial" pitchFamily="34" charset="0"/>
              </a:rPr>
              <a:t>Pleiotro</a:t>
            </a:r>
            <a:r>
              <a:rPr lang="cs-CZ" altLang="cs-CZ" sz="3600" dirty="0" err="1">
                <a:solidFill>
                  <a:srgbClr val="808080">
                    <a:lumMod val="10000"/>
                  </a:srgbClr>
                </a:solidFill>
                <a:latin typeface="Arial"/>
                <a:cs typeface="Arial" pitchFamily="34" charset="0"/>
              </a:rPr>
              <a:t>pní</a:t>
            </a:r>
            <a:r>
              <a:rPr lang="cs-CZ" altLang="cs-CZ" sz="3600" dirty="0">
                <a:solidFill>
                  <a:srgbClr val="808080">
                    <a:lumMod val="10000"/>
                  </a:srgbClr>
                </a:solidFill>
                <a:latin typeface="Arial"/>
                <a:cs typeface="Arial" pitchFamily="34" charset="0"/>
              </a:rPr>
              <a:t> účinky </a:t>
            </a:r>
            <a:r>
              <a:rPr lang="en-GB" altLang="cs-CZ" sz="3600" dirty="0">
                <a:solidFill>
                  <a:srgbClr val="808080">
                    <a:lumMod val="10000"/>
                  </a:srgbClr>
                </a:solidFill>
                <a:latin typeface="Arial"/>
                <a:cs typeface="Arial" pitchFamily="34" charset="0"/>
              </a:rPr>
              <a:t>GLP-1</a:t>
            </a:r>
            <a:endParaRPr lang="en-US" altLang="cs-CZ" sz="3600" dirty="0">
              <a:solidFill>
                <a:srgbClr val="808080">
                  <a:lumMod val="10000"/>
                </a:srgbClr>
              </a:solidFill>
              <a:latin typeface="Arial"/>
              <a:cs typeface="Arial" pitchFamily="34" charset="0"/>
            </a:endParaRPr>
          </a:p>
        </p:txBody>
      </p:sp>
      <p:sp>
        <p:nvSpPr>
          <p:cNvPr id="2" name="AutoShape 5" descr="Výsledek obrázku pro stomach"/>
          <p:cNvSpPr>
            <a:spLocks noChangeAspect="1" noChangeArrowheads="1"/>
          </p:cNvSpPr>
          <p:nvPr/>
        </p:nvSpPr>
        <p:spPr bwMode="auto">
          <a:xfrm>
            <a:off x="1259681" y="-144462"/>
            <a:ext cx="2286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1800" b="0">
              <a:solidFill>
                <a:srgbClr val="000000"/>
              </a:solidFill>
              <a:latin typeface="Arial" panose="020B0604020202020204" pitchFamily="34" charset="0"/>
            </a:endParaRPr>
          </a:p>
        </p:txBody>
      </p:sp>
      <p:pic>
        <p:nvPicPr>
          <p:cNvPr id="136198" name="Picture 6" descr="C:\Users\23939\Pictures\stomach.jpe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92478" y="1892300"/>
            <a:ext cx="779859" cy="1217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7060628"/>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4000" dirty="0">
                <a:solidFill>
                  <a:schemeClr val="bg2">
                    <a:lumMod val="10000"/>
                  </a:schemeClr>
                </a:solidFill>
              </a:rPr>
              <a:t>GLP-1 agonisté</a:t>
            </a:r>
          </a:p>
        </p:txBody>
      </p:sp>
      <p:sp>
        <p:nvSpPr>
          <p:cNvPr id="6" name="Zástupný symbol pro obsah 5"/>
          <p:cNvSpPr>
            <a:spLocks noGrp="1"/>
          </p:cNvSpPr>
          <p:nvPr>
            <p:ph idx="1"/>
          </p:nvPr>
        </p:nvSpPr>
        <p:spPr/>
        <p:txBody>
          <a:bodyPr/>
          <a:lstStyle/>
          <a:p>
            <a:r>
              <a:rPr lang="cs-CZ" sz="2800" dirty="0">
                <a:solidFill>
                  <a:schemeClr val="bg2">
                    <a:lumMod val="10000"/>
                  </a:schemeClr>
                </a:solidFill>
              </a:rPr>
              <a:t>Delší poločas než GLP-1 (možnost aplikace jen 1 x týdně)</a:t>
            </a:r>
          </a:p>
          <a:p>
            <a:r>
              <a:rPr lang="cs-CZ" sz="2800" dirty="0">
                <a:solidFill>
                  <a:schemeClr val="bg2">
                    <a:lumMod val="10000"/>
                  </a:schemeClr>
                </a:solidFill>
              </a:rPr>
              <a:t>Výborná </a:t>
            </a:r>
            <a:r>
              <a:rPr lang="cs-CZ" sz="2800" dirty="0" err="1">
                <a:solidFill>
                  <a:schemeClr val="bg2">
                    <a:lumMod val="10000"/>
                  </a:schemeClr>
                </a:solidFill>
              </a:rPr>
              <a:t>antidiabetická</a:t>
            </a:r>
            <a:r>
              <a:rPr lang="cs-CZ" sz="2800" dirty="0">
                <a:solidFill>
                  <a:schemeClr val="bg2">
                    <a:lumMod val="10000"/>
                  </a:schemeClr>
                </a:solidFill>
              </a:rPr>
              <a:t> účinnost</a:t>
            </a:r>
          </a:p>
          <a:p>
            <a:r>
              <a:rPr lang="cs-CZ" sz="2800" dirty="0">
                <a:solidFill>
                  <a:schemeClr val="bg2">
                    <a:lumMod val="10000"/>
                  </a:schemeClr>
                </a:solidFill>
              </a:rPr>
              <a:t>Snížení hmotnosti</a:t>
            </a:r>
          </a:p>
          <a:p>
            <a:r>
              <a:rPr lang="cs-CZ" sz="2800" dirty="0">
                <a:solidFill>
                  <a:schemeClr val="bg2">
                    <a:lumMod val="10000"/>
                  </a:schemeClr>
                </a:solidFill>
              </a:rPr>
              <a:t>Snížení TK </a:t>
            </a:r>
          </a:p>
          <a:p>
            <a:r>
              <a:rPr lang="cs-CZ" sz="2800" dirty="0">
                <a:solidFill>
                  <a:schemeClr val="bg2">
                    <a:lumMod val="10000"/>
                  </a:schemeClr>
                </a:solidFill>
              </a:rPr>
              <a:t>Zlepšení </a:t>
            </a:r>
            <a:r>
              <a:rPr lang="cs-CZ" sz="2800" dirty="0" err="1">
                <a:solidFill>
                  <a:schemeClr val="bg2">
                    <a:lumMod val="10000"/>
                  </a:schemeClr>
                </a:solidFill>
              </a:rPr>
              <a:t>lipidogramu</a:t>
            </a:r>
            <a:endParaRPr lang="cs-CZ" sz="2800" dirty="0">
              <a:solidFill>
                <a:schemeClr val="bg2">
                  <a:lumMod val="10000"/>
                </a:schemeClr>
              </a:solidFill>
            </a:endParaRPr>
          </a:p>
          <a:p>
            <a:r>
              <a:rPr lang="cs-CZ" sz="2800" dirty="0">
                <a:solidFill>
                  <a:schemeClr val="bg2">
                    <a:lumMod val="10000"/>
                  </a:schemeClr>
                </a:solidFill>
              </a:rPr>
              <a:t>Zlepšení funkce beta-buněk</a:t>
            </a:r>
          </a:p>
        </p:txBody>
      </p:sp>
    </p:spTree>
    <p:extLst>
      <p:ext uri="{BB962C8B-B14F-4D97-AF65-F5344CB8AC3E}">
        <p14:creationId xmlns:p14="http://schemas.microsoft.com/office/powerpoint/2010/main" val="4291200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C8mdwGwzUST1zK3liZx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7.xml><?xml version="1.0" encoding="utf-8"?>
<p:tagLst xmlns:a="http://schemas.openxmlformats.org/drawingml/2006/main" xmlns:r="http://schemas.openxmlformats.org/officeDocument/2006/relationships" xmlns:p="http://schemas.openxmlformats.org/presentationml/2006/main">
  <p:tag name="PXPICPATH" val="IMAGES\SLIDE0-036.J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qqxYxAxBU.lup0cNik3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sernDMtG0uiapKb6OdP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AZ Divider Slide Options - Colours">
  <a:themeElements>
    <a:clrScheme name="Custom 202">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Master Template 4x3 APPROVED.pptx" id="{5F072BB0-8CFA-4CA9-AFBD-A19A3ED74A65}" vid="{7E85B84B-22D6-4A24-872D-DBC25E53450A}"/>
    </a:ext>
  </a:extLst>
</a:theme>
</file>

<file path=ppt/theme/theme10.xml><?xml version="1.0" encoding="utf-8"?>
<a:theme xmlns:a="http://schemas.openxmlformats.org/drawingml/2006/main" name="1_Product">
  <a:themeElements>
    <a:clrScheme name="AZ MA Color Set">
      <a:dk1>
        <a:srgbClr val="000000"/>
      </a:dk1>
      <a:lt1>
        <a:srgbClr val="FFFFFF"/>
      </a:lt1>
      <a:dk2>
        <a:srgbClr val="3F4444"/>
      </a:dk2>
      <a:lt2>
        <a:srgbClr val="9DB0AC"/>
      </a:lt2>
      <a:accent1>
        <a:srgbClr val="7F134C"/>
      </a:accent1>
      <a:accent2>
        <a:srgbClr val="0D3759"/>
      </a:accent2>
      <a:accent3>
        <a:srgbClr val="65D2DF"/>
      </a:accent3>
      <a:accent4>
        <a:srgbClr val="3C1053"/>
      </a:accent4>
      <a:accent5>
        <a:srgbClr val="B5D820"/>
      </a:accent5>
      <a:accent6>
        <a:srgbClr val="F0AB00"/>
      </a:accent6>
      <a:hlink>
        <a:srgbClr val="7F134C"/>
      </a:hlink>
      <a:folHlink>
        <a:srgbClr val="9DB0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marL="228600" indent="-228600">
          <a:lnSpc>
            <a:spcPct val="90000"/>
          </a:lnSpc>
          <a:spcBef>
            <a:spcPts val="1200"/>
          </a:spcBef>
          <a:buClr>
            <a:schemeClr val="accent1"/>
          </a:buClr>
          <a:buFont typeface="Arial" panose="020B0604020202020204" pitchFamily="34" charset="0"/>
          <a:buChar char="•"/>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MIAB template">
  <a:themeElements>
    <a:clrScheme name="AstraZeneca theme">
      <a:dk1>
        <a:sysClr val="windowText" lastClr="000000"/>
      </a:dk1>
      <a:lt1>
        <a:sysClr val="window" lastClr="FFFFFF"/>
      </a:lt1>
      <a:dk2>
        <a:srgbClr val="000000"/>
      </a:dk2>
      <a:lt2>
        <a:srgbClr val="FFFFFF"/>
      </a:lt2>
      <a:accent1>
        <a:srgbClr val="830051"/>
      </a:accent1>
      <a:accent2>
        <a:srgbClr val="F0AB00"/>
      </a:accent2>
      <a:accent3>
        <a:srgbClr val="4B306A"/>
      </a:accent3>
      <a:accent4>
        <a:srgbClr val="7AB800"/>
      </a:accent4>
      <a:accent5>
        <a:srgbClr val="C7C2BA"/>
      </a:accent5>
      <a:accent6>
        <a:srgbClr val="F79646"/>
      </a:accent6>
      <a:hlink>
        <a:srgbClr val="0000FF"/>
      </a:hlink>
      <a:folHlink>
        <a:srgbClr val="800080"/>
      </a:folHlink>
    </a:clrScheme>
    <a:fontScheme name="4_Office Theme">
      <a:majorFont>
        <a:latin typeface=""/>
        <a:ea typeface="ＭＳ Ｐゴシック"/>
        <a:cs typeface="ＭＳ Ｐゴシック"/>
      </a:majorFont>
      <a:minorFont>
        <a:latin typeface=""/>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_AZ General Master Slide Options">
  <a:themeElements>
    <a:clrScheme name="Custom 202">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Master Template 4x3 APPROVED.pptx" id="{5F072BB0-8CFA-4CA9-AFBD-A19A3ED74A65}" vid="{4E8E891B-F375-4C32-BFCE-9A482246C874}"/>
    </a:ext>
  </a:extLst>
</a:theme>
</file>

<file path=ppt/theme/theme13.xml><?xml version="1.0" encoding="utf-8"?>
<a:theme xmlns:a="http://schemas.openxmlformats.org/drawingml/2006/main" name="8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0000"/>
        </a:solidFill>
        <a:ln w="9525">
          <a:noFill/>
        </a:ln>
      </a:spPr>
      <a:bodyPr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14.xml><?xml version="1.0" encoding="utf-8"?>
<a:theme xmlns:a="http://schemas.openxmlformats.org/drawingml/2006/main" name="9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rtlCol="0" anchor="ctr"/>
      <a:lstStyle>
        <a:defPPr algn="ctr">
          <a:defRPr/>
        </a:defPPr>
      </a:lstStyle>
      <a:style>
        <a:lnRef idx="2">
          <a:schemeClr val="accent5">
            <a:shade val="50000"/>
          </a:schemeClr>
        </a:lnRef>
        <a:fillRef idx="1">
          <a:schemeClr val="accent5"/>
        </a:fillRef>
        <a:effectRef idx="0">
          <a:schemeClr val="accent5"/>
        </a:effectRef>
        <a:fontRef idx="minor">
          <a:schemeClr val="lt1"/>
        </a:fontRef>
      </a:style>
    </a:spDef>
    <a:lnDef>
      <a:spPr>
        <a:ln w="12700">
          <a:solidFill>
            <a:srgbClr val="001965"/>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15.xml><?xml version="1.0" encoding="utf-8"?>
<a:theme xmlns:a="http://schemas.openxmlformats.org/drawingml/2006/main" name="2_Design">
  <a:themeElements>
    <a:clrScheme name="Custom 7">
      <a:dk1>
        <a:srgbClr val="000000"/>
      </a:dk1>
      <a:lt1>
        <a:srgbClr val="FFFFFF"/>
      </a:lt1>
      <a:dk2>
        <a:srgbClr val="42ACDB"/>
      </a:dk2>
      <a:lt2>
        <a:srgbClr val="000000"/>
      </a:lt2>
      <a:accent1>
        <a:srgbClr val="003366"/>
      </a:accent1>
      <a:accent2>
        <a:srgbClr val="E8920C"/>
      </a:accent2>
      <a:accent3>
        <a:srgbClr val="A50021"/>
      </a:accent3>
      <a:accent4>
        <a:srgbClr val="6413E8"/>
      </a:accent4>
      <a:accent5>
        <a:srgbClr val="339966"/>
      </a:accent5>
      <a:accent6>
        <a:srgbClr val="6666FF"/>
      </a:accent6>
      <a:hlink>
        <a:srgbClr val="003366"/>
      </a:hlink>
      <a:folHlink>
        <a:srgbClr val="336699"/>
      </a:folHlink>
    </a:clrScheme>
    <a:fontScheme name="tes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1" i="0" u="none" strike="noStrike" cap="none" normalizeH="0" baseline="0" dirty="0" err="1" smtClean="0">
            <a:ln>
              <a:noFill/>
            </a:ln>
            <a:solidFill>
              <a:schemeClr val="bg1"/>
            </a:solidFill>
            <a:effectLst/>
            <a:latin typeface="Arial" charset="0"/>
          </a:defRPr>
        </a:defPPr>
      </a:lstStyle>
    </a:spDef>
    <a:lnDef>
      <a:spPr bwMode="auto">
        <a:solidFill>
          <a:schemeClr val="accent1"/>
        </a:solidFill>
        <a:ln w="28575" cap="flat" cmpd="sng" algn="ctr">
          <a:solidFill>
            <a:schemeClr val="tx1"/>
          </a:solidFill>
          <a:prstDash val="solid"/>
          <a:miter lim="800000"/>
          <a:headEnd type="none" w="med" len="med"/>
          <a:tailEnd type="none" w="med" len="med"/>
        </a:ln>
        <a:effectLst/>
      </a:spPr>
      <a:bodyPr/>
      <a:lstStyle/>
    </a:lnDef>
  </a:objectDefaults>
  <a:extraClrSchemeLst>
    <a:extraClrScheme>
      <a:clrScheme name="Blank 1">
        <a:dk1>
          <a:srgbClr val="000000"/>
        </a:dk1>
        <a:lt1>
          <a:srgbClr val="FFFFFF"/>
        </a:lt1>
        <a:dk2>
          <a:srgbClr val="830051"/>
        </a:dk2>
        <a:lt2>
          <a:srgbClr val="F0AB00"/>
        </a:lt2>
        <a:accent1>
          <a:srgbClr val="830051"/>
        </a:accent1>
        <a:accent2>
          <a:srgbClr val="4B306A"/>
        </a:accent2>
        <a:accent3>
          <a:srgbClr val="FFFFFF"/>
        </a:accent3>
        <a:accent4>
          <a:srgbClr val="000000"/>
        </a:accent4>
        <a:accent5>
          <a:srgbClr val="C1AAB3"/>
        </a:accent5>
        <a:accent6>
          <a:srgbClr val="432A5F"/>
        </a:accent6>
        <a:hlink>
          <a:srgbClr val="4B306A"/>
        </a:hlink>
        <a:folHlink>
          <a:srgbClr val="C7C2BA"/>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5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rtlCol="0" anchor="ctr"/>
      <a:lstStyle>
        <a:defPPr algn="ctr">
          <a:defRPr/>
        </a:defPPr>
      </a:lstStyle>
      <a:style>
        <a:lnRef idx="2">
          <a:schemeClr val="accent5">
            <a:shade val="50000"/>
          </a:schemeClr>
        </a:lnRef>
        <a:fillRef idx="1">
          <a:schemeClr val="accent5"/>
        </a:fillRef>
        <a:effectRef idx="0">
          <a:schemeClr val="accent5"/>
        </a:effectRef>
        <a:fontRef idx="minor">
          <a:schemeClr val="lt1"/>
        </a:fontRef>
      </a:style>
    </a:spDef>
    <a:lnDef>
      <a:spPr>
        <a:ln w="12700">
          <a:solidFill>
            <a:srgbClr val="001965"/>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17.xml><?xml version="1.0" encoding="utf-8"?>
<a:theme xmlns:a="http://schemas.openxmlformats.org/drawingml/2006/main" name="3_NN_GSEM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800" dirty="0" smtClean="0"/>
        </a:defPPr>
      </a:lstStyle>
    </a:tx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18.xml><?xml version="1.0" encoding="utf-8"?>
<a:theme xmlns:a="http://schemas.openxmlformats.org/drawingml/2006/main" name="2_Product">
  <a:themeElements>
    <a:clrScheme name="AZ MA Color Set">
      <a:dk1>
        <a:srgbClr val="000000"/>
      </a:dk1>
      <a:lt1>
        <a:srgbClr val="FFFFFF"/>
      </a:lt1>
      <a:dk2>
        <a:srgbClr val="3F4444"/>
      </a:dk2>
      <a:lt2>
        <a:srgbClr val="9DB0AC"/>
      </a:lt2>
      <a:accent1>
        <a:srgbClr val="7F134C"/>
      </a:accent1>
      <a:accent2>
        <a:srgbClr val="0D3759"/>
      </a:accent2>
      <a:accent3>
        <a:srgbClr val="65D2DF"/>
      </a:accent3>
      <a:accent4>
        <a:srgbClr val="3C1053"/>
      </a:accent4>
      <a:accent5>
        <a:srgbClr val="B5D820"/>
      </a:accent5>
      <a:accent6>
        <a:srgbClr val="F0AB00"/>
      </a:accent6>
      <a:hlink>
        <a:srgbClr val="7F134C"/>
      </a:hlink>
      <a:folHlink>
        <a:srgbClr val="9DB0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marL="228600" indent="-228600">
          <a:lnSpc>
            <a:spcPct val="90000"/>
          </a:lnSpc>
          <a:spcBef>
            <a:spcPts val="1200"/>
          </a:spcBef>
          <a:buClr>
            <a:schemeClr val="accent1"/>
          </a:buClr>
          <a:buFont typeface="Arial" panose="020B0604020202020204" pitchFamily="34" charset="0"/>
          <a:buChar char="•"/>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MIAB template">
  <a:themeElements>
    <a:clrScheme name="AstraZeneca theme">
      <a:dk1>
        <a:sysClr val="windowText" lastClr="000000"/>
      </a:dk1>
      <a:lt1>
        <a:sysClr val="window" lastClr="FFFFFF"/>
      </a:lt1>
      <a:dk2>
        <a:srgbClr val="000000"/>
      </a:dk2>
      <a:lt2>
        <a:srgbClr val="FFFFFF"/>
      </a:lt2>
      <a:accent1>
        <a:srgbClr val="830051"/>
      </a:accent1>
      <a:accent2>
        <a:srgbClr val="F0AB00"/>
      </a:accent2>
      <a:accent3>
        <a:srgbClr val="4B306A"/>
      </a:accent3>
      <a:accent4>
        <a:srgbClr val="7AB800"/>
      </a:accent4>
      <a:accent5>
        <a:srgbClr val="C7C2BA"/>
      </a:accent5>
      <a:accent6>
        <a:srgbClr val="F79646"/>
      </a:accent6>
      <a:hlink>
        <a:srgbClr val="0000FF"/>
      </a:hlink>
      <a:folHlink>
        <a:srgbClr val="800080"/>
      </a:folHlink>
    </a:clrScheme>
    <a:fontScheme name="4_Office Theme">
      <a:majorFont>
        <a:latin typeface=""/>
        <a:ea typeface="ＭＳ Ｐゴシック"/>
        <a:cs typeface="ＭＳ Ｐゴシック"/>
      </a:majorFont>
      <a:minorFont>
        <a:latin typeface=""/>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AZ General Master Slide Options">
  <a:themeElements>
    <a:clrScheme name="Custom 202">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Master Template 4x3 APPROVED.pptx" id="{5F072BB0-8CFA-4CA9-AFBD-A19A3ED74A65}" vid="{4E8E891B-F375-4C32-BFCE-9A482246C874}"/>
    </a:ext>
  </a:extLst>
</a:theme>
</file>

<file path=ppt/theme/theme20.xml><?xml version="1.0" encoding="utf-8"?>
<a:theme xmlns:a="http://schemas.openxmlformats.org/drawingml/2006/main" name="1_AZ Divider Slide Options - Colours">
  <a:themeElements>
    <a:clrScheme name="Custom 202">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Master Template 4x3 APPROVED.pptx" id="{5F072BB0-8CFA-4CA9-AFBD-A19A3ED74A65}" vid="{7E85B84B-22D6-4A24-872D-DBC25E53450A}"/>
    </a:ext>
  </a:extLst>
</a:theme>
</file>

<file path=ppt/theme/theme21.xml><?xml version="1.0" encoding="utf-8"?>
<a:theme xmlns:a="http://schemas.openxmlformats.org/drawingml/2006/main" name="3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2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MIAB template">
  <a:themeElements>
    <a:clrScheme name="AstraZeneca theme">
      <a:dk1>
        <a:sysClr val="windowText" lastClr="000000"/>
      </a:dk1>
      <a:lt1>
        <a:sysClr val="window" lastClr="FFFFFF"/>
      </a:lt1>
      <a:dk2>
        <a:srgbClr val="000000"/>
      </a:dk2>
      <a:lt2>
        <a:srgbClr val="FFFFFF"/>
      </a:lt2>
      <a:accent1>
        <a:srgbClr val="830051"/>
      </a:accent1>
      <a:accent2>
        <a:srgbClr val="F0AB00"/>
      </a:accent2>
      <a:accent3>
        <a:srgbClr val="4B306A"/>
      </a:accent3>
      <a:accent4>
        <a:srgbClr val="7AB800"/>
      </a:accent4>
      <a:accent5>
        <a:srgbClr val="C7C2BA"/>
      </a:accent5>
      <a:accent6>
        <a:srgbClr val="F79646"/>
      </a:accent6>
      <a:hlink>
        <a:srgbClr val="0000FF"/>
      </a:hlink>
      <a:folHlink>
        <a:srgbClr val="800080"/>
      </a:folHlink>
    </a:clrScheme>
    <a:fontScheme name="4_Office Theme">
      <a:majorFont>
        <a:latin typeface=""/>
        <a:ea typeface="ＭＳ Ｐゴシック"/>
        <a:cs typeface="ＭＳ Ｐゴシック"/>
      </a:majorFont>
      <a:minorFont>
        <a:latin typeface=""/>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4_Office Theme">
  <a:themeElements>
    <a:clrScheme name="Custom 9">
      <a:dk1>
        <a:srgbClr val="58595B"/>
      </a:dk1>
      <a:lt1>
        <a:sysClr val="window" lastClr="FFFFFF"/>
      </a:lt1>
      <a:dk2>
        <a:srgbClr val="1F497D"/>
      </a:dk2>
      <a:lt2>
        <a:srgbClr val="9A9B9D"/>
      </a:lt2>
      <a:accent1>
        <a:srgbClr val="EF4135"/>
      </a:accent1>
      <a:accent2>
        <a:srgbClr val="0096DF"/>
      </a:accent2>
      <a:accent3>
        <a:srgbClr val="B7D110"/>
      </a:accent3>
      <a:accent4>
        <a:srgbClr val="8064A2"/>
      </a:accent4>
      <a:accent5>
        <a:srgbClr val="4BACC6"/>
      </a:accent5>
      <a:accent6>
        <a:srgbClr val="F79646"/>
      </a:accent6>
      <a:hlink>
        <a:srgbClr val="0000FF"/>
      </a:hlink>
      <a:folHlink>
        <a:srgbClr val="800080"/>
      </a:folHlink>
    </a:clrScheme>
    <a:fontScheme name="4_Office Theme">
      <a:majorFont>
        <a:latin typeface=""/>
        <a:ea typeface="ＭＳ Ｐゴシック"/>
        <a:cs typeface="ＭＳ Ｐゴシック"/>
      </a:majorFont>
      <a:minorFont>
        <a:latin typeface=""/>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Výchozí návrh">
  <a:themeElements>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ýchozí návrh">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ýchozí návrh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ýchozí návrh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ýchozí návrh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ýchozí návrh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ýchozí návrh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ýchozí návrh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ýchozí návrh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ýchozí návrh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ýchozí návrh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ýchozí návrh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ýchozí návrh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MIAB template">
  <a:themeElements>
    <a:clrScheme name="AstraZeneca theme">
      <a:dk1>
        <a:sysClr val="windowText" lastClr="000000"/>
      </a:dk1>
      <a:lt1>
        <a:sysClr val="window" lastClr="FFFFFF"/>
      </a:lt1>
      <a:dk2>
        <a:srgbClr val="000000"/>
      </a:dk2>
      <a:lt2>
        <a:srgbClr val="FFFFFF"/>
      </a:lt2>
      <a:accent1>
        <a:srgbClr val="830051"/>
      </a:accent1>
      <a:accent2>
        <a:srgbClr val="F0AB00"/>
      </a:accent2>
      <a:accent3>
        <a:srgbClr val="4B306A"/>
      </a:accent3>
      <a:accent4>
        <a:srgbClr val="7AB800"/>
      </a:accent4>
      <a:accent5>
        <a:srgbClr val="C7C2BA"/>
      </a:accent5>
      <a:accent6>
        <a:srgbClr val="F79646"/>
      </a:accent6>
      <a:hlink>
        <a:srgbClr val="0000FF"/>
      </a:hlink>
      <a:folHlink>
        <a:srgbClr val="800080"/>
      </a:folHlink>
    </a:clrScheme>
    <a:fontScheme name="4_Office Theme">
      <a:majorFont>
        <a:latin typeface=""/>
        <a:ea typeface="ＭＳ Ｐゴシック"/>
        <a:cs typeface="ＭＳ Ｐゴシック"/>
      </a:majorFont>
      <a:minorFont>
        <a:latin typeface=""/>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04D652D5-83BA-4C49-8C9E-B283E5C2DC94}"/>
    </a:ext>
  </a:extLst>
</a:theme>
</file>

<file path=ppt/theme/theme8.xml><?xml version="1.0" encoding="utf-8"?>
<a:theme xmlns:a="http://schemas.openxmlformats.org/drawingml/2006/main" name="Product">
  <a:themeElements>
    <a:clrScheme name="AZ MA Color Set">
      <a:dk1>
        <a:srgbClr val="000000"/>
      </a:dk1>
      <a:lt1>
        <a:srgbClr val="FFFFFF"/>
      </a:lt1>
      <a:dk2>
        <a:srgbClr val="3F4444"/>
      </a:dk2>
      <a:lt2>
        <a:srgbClr val="9DB0AC"/>
      </a:lt2>
      <a:accent1>
        <a:srgbClr val="7F134C"/>
      </a:accent1>
      <a:accent2>
        <a:srgbClr val="0D3759"/>
      </a:accent2>
      <a:accent3>
        <a:srgbClr val="65D2DF"/>
      </a:accent3>
      <a:accent4>
        <a:srgbClr val="3C1053"/>
      </a:accent4>
      <a:accent5>
        <a:srgbClr val="B5D820"/>
      </a:accent5>
      <a:accent6>
        <a:srgbClr val="F0AB00"/>
      </a:accent6>
      <a:hlink>
        <a:srgbClr val="7F134C"/>
      </a:hlink>
      <a:folHlink>
        <a:srgbClr val="9DB0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marL="228600" indent="-228600">
          <a:lnSpc>
            <a:spcPct val="90000"/>
          </a:lnSpc>
          <a:spcBef>
            <a:spcPts val="1200"/>
          </a:spcBef>
          <a:buClr>
            <a:schemeClr val="accent1"/>
          </a:buClr>
          <a:buFont typeface="Arial" panose="020B0604020202020204" pitchFamily="34" charset="0"/>
          <a:buChar char="•"/>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No Product">
  <a:themeElements>
    <a:clrScheme name="AZ MA Color Set">
      <a:dk1>
        <a:srgbClr val="000000"/>
      </a:dk1>
      <a:lt1>
        <a:srgbClr val="FFFFFF"/>
      </a:lt1>
      <a:dk2>
        <a:srgbClr val="3F4444"/>
      </a:dk2>
      <a:lt2>
        <a:srgbClr val="9DB0AC"/>
      </a:lt2>
      <a:accent1>
        <a:srgbClr val="7F134C"/>
      </a:accent1>
      <a:accent2>
        <a:srgbClr val="0D3759"/>
      </a:accent2>
      <a:accent3>
        <a:srgbClr val="65D2DF"/>
      </a:accent3>
      <a:accent4>
        <a:srgbClr val="3C1053"/>
      </a:accent4>
      <a:accent5>
        <a:srgbClr val="B5D820"/>
      </a:accent5>
      <a:accent6>
        <a:srgbClr val="F0AB00"/>
      </a:accent6>
      <a:hlink>
        <a:srgbClr val="7F134C"/>
      </a:hlink>
      <a:folHlink>
        <a:srgbClr val="9DB0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3F5EF46898244ABC079C7FA52E7AF8" ma:contentTypeVersion="8" ma:contentTypeDescription="Create a new document." ma:contentTypeScope="" ma:versionID="9b0643dd28495a90c82072824b027ee2">
  <xsd:schema xmlns:xsd="http://www.w3.org/2001/XMLSchema" xmlns:xs="http://www.w3.org/2001/XMLSchema" xmlns:p="http://schemas.microsoft.com/office/2006/metadata/properties" xmlns:ns2="f0b851f9-ed84-4dc5-a5c8-e890531268e9" xmlns:ns3="3eaf5598-9580-44fd-a95d-41367f2b6713" targetNamespace="http://schemas.microsoft.com/office/2006/metadata/properties" ma:root="true" ma:fieldsID="80174a4a79a6f18258b857cb908514a5" ns2:_="" ns3:_="">
    <xsd:import namespace="f0b851f9-ed84-4dc5-a5c8-e890531268e9"/>
    <xsd:import namespace="3eaf5598-9580-44fd-a95d-41367f2b6713"/>
    <xsd:element name="properties">
      <xsd:complexType>
        <xsd:sequence>
          <xsd:element name="documentManagement">
            <xsd:complexType>
              <xsd:all>
                <xsd:element ref="ns2:AZAudienceTaxHTField0" minOccurs="0"/>
                <xsd:element ref="ns3:TaxCatchAll" minOccurs="0"/>
                <xsd:element ref="ns2:SecurityLevelTaxHTField0" minOccurs="0"/>
                <xsd:element ref="ns2:AZSubjectTaxHTField0" minOccurs="0"/>
                <xsd:element ref="ns2:TypeTaxHTField0" minOccurs="0"/>
                <xsd:element ref="ns2:GRADCodeField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b851f9-ed84-4dc5-a5c8-e890531268e9" elementFormDefault="qualified">
    <xsd:import namespace="http://schemas.microsoft.com/office/2006/documentManagement/types"/>
    <xsd:import namespace="http://schemas.microsoft.com/office/infopath/2007/PartnerControls"/>
    <xsd:element name="AZAudienceTaxHTField0" ma:index="7" nillable="true" ma:displayName="AZAudience_0" ma:hidden="true" ma:internalName="AZAudienceTaxHTField0">
      <xsd:simpleType>
        <xsd:restriction base="dms:Note"/>
      </xsd:simpleType>
    </xsd:element>
    <xsd:element name="SecurityLevelTaxHTField0" ma:index="9" nillable="true" ma:displayName="SecurityLevel_0" ma:hidden="true" ma:internalName="SecurityLevelTaxHTField0">
      <xsd:simpleType>
        <xsd:restriction base="dms:Note"/>
      </xsd:simpleType>
    </xsd:element>
    <xsd:element name="AZSubjectTaxHTField0" ma:index="10" nillable="true" ma:displayName="AZSubject_0" ma:hidden="true" ma:internalName="AZSubjectTaxHTField0">
      <xsd:simpleType>
        <xsd:restriction base="dms:Note"/>
      </xsd:simpleType>
    </xsd:element>
    <xsd:element name="TypeTaxHTField0" ma:index="11" nillable="true" ma:displayName="Type_0" ma:hidden="true" ma:internalName="TypeTaxHTField0">
      <xsd:simpleType>
        <xsd:restriction base="dms:Note"/>
      </xsd:simpleType>
    </xsd:element>
    <xsd:element name="GRADCodeFieldTaxHTField0" ma:index="12" nillable="true" ma:displayName="GRADCode_0" ma:hidden="true" ma:internalName="GRADCodeFieldTaxHTField0">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eaf5598-9580-44fd-a95d-41367f2b6713"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b32bb759-c522-4da9-a053-24e2c0025363}" ma:internalName="TaxCatchAll" ma:showField="CatchAllData" ma:web="f0b851f9-ed84-4dc5-a5c8-e890531268e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ZSubjectTaxHTField0 xmlns="f0b851f9-ed84-4dc5-a5c8-e890531268e9" xsi:nil="true"/>
    <AZAudienceTaxHTField0 xmlns="f0b851f9-ed84-4dc5-a5c8-e890531268e9" xsi:nil="true"/>
    <TaxCatchAll xmlns="3eaf5598-9580-44fd-a95d-41367f2b6713">
      <Value>1</Value>
    </TaxCatchAll>
    <GRADCodeFieldTaxHTField0 xmlns="f0b851f9-ed84-4dc5-a5c8-e890531268e9" xsi:nil="true"/>
    <TypeTaxHTField0 xmlns="f0b851f9-ed84-4dc5-a5c8-e890531268e9" xsi:nil="true"/>
    <SecurityLevelTaxHTField0 xmlns="f0b851f9-ed84-4dc5-a5c8-e890531268e9">Unmarked or AstraZeneca Community Use Only|f75550dc-c360-4b14-9040-5712803b22e1</SecurityLevelTaxHTField0>
  </documentManagement>
</p:properties>
</file>

<file path=customXml/item4.xml><?xml version="1.0" encoding="utf-8"?>
<?mso-contentType ?>
<spe:Receivers xmlns:spe="http://schemas.microsoft.com/sharepoint/events"/>
</file>

<file path=customXml/itemProps1.xml><?xml version="1.0" encoding="utf-8"?>
<ds:datastoreItem xmlns:ds="http://schemas.openxmlformats.org/officeDocument/2006/customXml" ds:itemID="{6285A6F0-A3BD-4A3A-8B65-78C4DF305F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b851f9-ed84-4dc5-a5c8-e890531268e9"/>
    <ds:schemaRef ds:uri="3eaf5598-9580-44fd-a95d-41367f2b67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F53DAA5-F929-4DFC-AD15-2CEFB745658C}">
  <ds:schemaRefs>
    <ds:schemaRef ds:uri="http://schemas.microsoft.com/sharepoint/v3/contenttype/forms"/>
  </ds:schemaRefs>
</ds:datastoreItem>
</file>

<file path=customXml/itemProps3.xml><?xml version="1.0" encoding="utf-8"?>
<ds:datastoreItem xmlns:ds="http://schemas.openxmlformats.org/officeDocument/2006/customXml" ds:itemID="{410DF518-4862-4B60-B64C-991B934ABC12}">
  <ds:schemaRefs>
    <ds:schemaRef ds:uri="http://schemas.microsoft.com/office/2006/metadata/properties"/>
    <ds:schemaRef ds:uri="f0b851f9-ed84-4dc5-a5c8-e890531268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3eaf5598-9580-44fd-a95d-41367f2b6713"/>
    <ds:schemaRef ds:uri="http://purl.org/dc/terms/"/>
    <ds:schemaRef ds:uri="http://www.w3.org/XML/1998/namespace"/>
    <ds:schemaRef ds:uri="http://purl.org/dc/dcmitype/"/>
  </ds:schemaRefs>
</ds:datastoreItem>
</file>

<file path=customXml/itemProps4.xml><?xml version="1.0" encoding="utf-8"?>
<ds:datastoreItem xmlns:ds="http://schemas.openxmlformats.org/officeDocument/2006/customXml" ds:itemID="{164B2831-E49A-4DAF-961D-17D8D501E698}">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66694</TotalTime>
  <Words>3295</Words>
  <Application>Microsoft Office PowerPoint</Application>
  <PresentationFormat>Předvádění na obrazovce (4:3)</PresentationFormat>
  <Paragraphs>440</Paragraphs>
  <Slides>28</Slides>
  <Notes>14</Notes>
  <HiddenSlides>0</HiddenSlides>
  <MMClips>0</MMClips>
  <ScaleCrop>false</ScaleCrop>
  <HeadingPairs>
    <vt:vector size="8" baseType="variant">
      <vt:variant>
        <vt:lpstr>Použitá písma</vt:lpstr>
      </vt:variant>
      <vt:variant>
        <vt:i4>16</vt:i4>
      </vt:variant>
      <vt:variant>
        <vt:lpstr>Motiv</vt:lpstr>
      </vt:variant>
      <vt:variant>
        <vt:i4>22</vt:i4>
      </vt:variant>
      <vt:variant>
        <vt:lpstr>Vložené servery OLE</vt:lpstr>
      </vt:variant>
      <vt:variant>
        <vt:i4>2</vt:i4>
      </vt:variant>
      <vt:variant>
        <vt:lpstr>Nadpisy snímků</vt:lpstr>
      </vt:variant>
      <vt:variant>
        <vt:i4>28</vt:i4>
      </vt:variant>
    </vt:vector>
  </HeadingPairs>
  <TitlesOfParts>
    <vt:vector size="68" baseType="lpstr">
      <vt:lpstr>MS PGothic</vt:lpstr>
      <vt:lpstr>Arial</vt:lpstr>
      <vt:lpstr>Arial Black</vt:lpstr>
      <vt:lpstr>Arial Narrow</vt:lpstr>
      <vt:lpstr>Avenir 55</vt:lpstr>
      <vt:lpstr>Avenir LT Std 55 Roman</vt:lpstr>
      <vt:lpstr>Avenir LT Std 85 Heavy</vt:lpstr>
      <vt:lpstr>Calibri</vt:lpstr>
      <vt:lpstr>Calibri Light</vt:lpstr>
      <vt:lpstr>Cambria</vt:lpstr>
      <vt:lpstr>Century Gothic</vt:lpstr>
      <vt:lpstr>Courier New</vt:lpstr>
      <vt:lpstr>News Gothic MT</vt:lpstr>
      <vt:lpstr>Verdana</vt:lpstr>
      <vt:lpstr>Verdana (body)</vt:lpstr>
      <vt:lpstr>Wingdings</vt:lpstr>
      <vt:lpstr>AZ Divider Slide Options - Colours</vt:lpstr>
      <vt:lpstr>AZ General Master Slide Options</vt:lpstr>
      <vt:lpstr>2_MIAB template</vt:lpstr>
      <vt:lpstr>4_Office Theme</vt:lpstr>
      <vt:lpstr>Výchozí návrh</vt:lpstr>
      <vt:lpstr>MIAB template</vt:lpstr>
      <vt:lpstr>AZ Cover Slide Options</vt:lpstr>
      <vt:lpstr>Product</vt:lpstr>
      <vt:lpstr>No Product</vt:lpstr>
      <vt:lpstr>1_Product</vt:lpstr>
      <vt:lpstr>3_MIAB template</vt:lpstr>
      <vt:lpstr>1_AZ General Master Slide Options</vt:lpstr>
      <vt:lpstr>8_NN_Neutral_16-9</vt:lpstr>
      <vt:lpstr>9_NN_Neutral_16-9</vt:lpstr>
      <vt:lpstr>2_Design</vt:lpstr>
      <vt:lpstr>5_NN_Neutral_16-9</vt:lpstr>
      <vt:lpstr>3_NN_GSEM_16-9</vt:lpstr>
      <vt:lpstr>2_Product</vt:lpstr>
      <vt:lpstr>1_MIAB template</vt:lpstr>
      <vt:lpstr>1_AZ Divider Slide Options - Colours</vt:lpstr>
      <vt:lpstr>3_NN_Neutral_16-9</vt:lpstr>
      <vt:lpstr>Motiv Office</vt:lpstr>
      <vt:lpstr>think-cell Slide</vt:lpstr>
      <vt:lpstr>CorelDRAW</vt:lpstr>
      <vt:lpstr>    DIABETES JE VYŘEŠEN – SGLT2 INHIBITORY A GLP1 AGONISTÉ A JE TO….</vt:lpstr>
      <vt:lpstr>Prezentace aplikace PowerPoint</vt:lpstr>
      <vt:lpstr>Etiopatogeneza DM 2. typu a jeho komplikací je velmi komplexní</vt:lpstr>
      <vt:lpstr>Nová vs. klasická antidiabetika</vt:lpstr>
      <vt:lpstr>Starší antidiabetika (inzulín, deriváty SU) zlepšují mikrovaskulární komplikace, ale jejich vliv na KV komplikace je spíše neutrální</vt:lpstr>
      <vt:lpstr>Prezentace aplikace PowerPoint</vt:lpstr>
      <vt:lpstr>Dle nového nařízení regulačních agentur musejí mít všechna nová antidiabetika prokázánou KV bezpečnost</vt:lpstr>
      <vt:lpstr>Prezentace aplikace PowerPoint</vt:lpstr>
      <vt:lpstr>GLP-1 agonisté</vt:lpstr>
      <vt:lpstr>Liraglutid – studie LEADER: primární cíl Smrt z KV příčin, nefatální IM, nefatální CMP</vt:lpstr>
      <vt:lpstr>Semaglutid – studie SUSTAIN 6: primární cíl (smrt z KV příčin, nefatální IM nebo CMP)</vt:lpstr>
      <vt:lpstr>SUSTAIN 6: vznik nové nebo  zhoršení již přítomné nefropatie</vt:lpstr>
      <vt:lpstr>Albiglutid – studie HARMONY Albiglutide and cardiovascular outcomes in patients with type 2 diabetes and cardiovascular disease:</vt:lpstr>
      <vt:lpstr>REWIND press release</vt:lpstr>
      <vt:lpstr>Glifloziny v léčbě diabetu</vt:lpstr>
      <vt:lpstr>Dapagliflozin inhibuje SGLT2, a tím odstraňuje nadbytečnou glukózu močí nezávisle na působení inzulinu </vt:lpstr>
      <vt:lpstr>Vliv dapagliflozinu na známé KV rizikové faktory1-3 </vt:lpstr>
      <vt:lpstr>Prezentace aplikace PowerPoint</vt:lpstr>
      <vt:lpstr>Studie DECLARE: vliv dapagliflozinu KV komplikace1-3</vt:lpstr>
      <vt:lpstr>  Empagliflozin: kompozitní renální cíl: Zdvojnásobení sérového kreatininu, zahájení náhrady funkce ledvin nebo smrt v důsledku onemocnění ledvin</vt:lpstr>
      <vt:lpstr>Primární cíl: kombinace srdečního selhání nebo smrti z KV příčin</vt:lpstr>
      <vt:lpstr>Prezentace aplikace PowerPoint</vt:lpstr>
      <vt:lpstr>Léčba s omezením nákladů</vt:lpstr>
      <vt:lpstr>Závěr  </vt:lpstr>
      <vt:lpstr>Co z toho plyne? </vt:lpstr>
      <vt:lpstr>Děkuji za pozornost</vt:lpstr>
      <vt:lpstr>Prezentace aplikace PowerPoint</vt:lpstr>
      <vt:lpstr>Podmínky úhrady pro glifloziny a GLP-1 agonisty</vt:lpstr>
    </vt:vector>
  </TitlesOfParts>
  <Company>Mudskipp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idual risk</dc:title>
  <dc:creator>Shona Cowper</dc:creator>
  <cp:lastModifiedBy>Martin Ruzicka</cp:lastModifiedBy>
  <cp:revision>4375</cp:revision>
  <cp:lastPrinted>2018-10-25T07:00:36Z</cp:lastPrinted>
  <dcterms:created xsi:type="dcterms:W3CDTF">2011-06-23T12:48:57Z</dcterms:created>
  <dcterms:modified xsi:type="dcterms:W3CDTF">2019-01-29T13:5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3F5EF46898244ABC079C7FA52E7AF8</vt:lpwstr>
  </property>
</Properties>
</file>